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notesSlides/notesSlide1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4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5"/>
    <p:sldMasterId id="2147483674" r:id="rId6"/>
    <p:sldMasterId id="2147483648" r:id="rId7"/>
    <p:sldMasterId id="2147483676" r:id="rId8"/>
  </p:sldMasterIdLst>
  <p:notesMasterIdLst>
    <p:notesMasterId r:id="rId36"/>
  </p:notesMasterIdLst>
  <p:sldIdLst>
    <p:sldId id="273" r:id="rId9"/>
    <p:sldId id="274" r:id="rId10"/>
    <p:sldId id="300" r:id="rId11"/>
    <p:sldId id="276" r:id="rId12"/>
    <p:sldId id="277" r:id="rId13"/>
    <p:sldId id="278" r:id="rId14"/>
    <p:sldId id="279" r:id="rId15"/>
    <p:sldId id="280" r:id="rId16"/>
    <p:sldId id="281" r:id="rId17"/>
    <p:sldId id="282" r:id="rId18"/>
    <p:sldId id="283" r:id="rId19"/>
    <p:sldId id="284" r:id="rId20"/>
    <p:sldId id="285" r:id="rId21"/>
    <p:sldId id="286" r:id="rId22"/>
    <p:sldId id="287" r:id="rId23"/>
    <p:sldId id="288" r:id="rId24"/>
    <p:sldId id="289" r:id="rId25"/>
    <p:sldId id="290" r:id="rId26"/>
    <p:sldId id="291" r:id="rId27"/>
    <p:sldId id="292" r:id="rId28"/>
    <p:sldId id="293" r:id="rId29"/>
    <p:sldId id="294" r:id="rId30"/>
    <p:sldId id="295" r:id="rId31"/>
    <p:sldId id="268" r:id="rId32"/>
    <p:sldId id="297" r:id="rId33"/>
    <p:sldId id="298" r:id="rId34"/>
    <p:sldId id="299" r:id="rId35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k, Se Jin" initials="PSJ" lastIdx="2" clrIdx="0">
    <p:extLst>
      <p:ext uri="{19B8F6BF-5375-455C-9EA6-DF929625EA0E}">
        <p15:presenceInfo xmlns:p15="http://schemas.microsoft.com/office/powerpoint/2012/main" userId="S-1-5-21-1308705437-1779958508-1182739305-54638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16265"/>
    <a:srgbClr val="0A2652"/>
    <a:srgbClr val="080FBC"/>
    <a:srgbClr val="D1D1D1"/>
    <a:srgbClr val="EEB111"/>
    <a:srgbClr val="003E7E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98" autoAdjust="0"/>
    <p:restoredTop sz="77917" autoAdjust="0"/>
  </p:normalViewPr>
  <p:slideViewPr>
    <p:cSldViewPr>
      <p:cViewPr varScale="1">
        <p:scale>
          <a:sx n="58" d="100"/>
          <a:sy n="58" d="100"/>
        </p:scale>
        <p:origin x="1080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microsoft.com/office/2015/10/relationships/revisionInfo" Target="revisionInfo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9C0EC4F-8DAF-4580-A244-1083176B496B}" type="doc">
      <dgm:prSet loTypeId="urn:microsoft.com/office/officeart/2005/8/layout/lProcess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A7E8F399-98A9-429D-B9FB-21E58A279859}">
      <dgm:prSet phldrT="[Text]"/>
      <dgm:spPr/>
      <dgm:t>
        <a:bodyPr/>
        <a:lstStyle/>
        <a:p>
          <a:r>
            <a:rPr lang="en-US" dirty="0" smtClean="0"/>
            <a:t>Hypothesis</a:t>
          </a:r>
          <a:r>
            <a:rPr lang="en-US" baseline="0" dirty="0" smtClean="0"/>
            <a:t> 1</a:t>
          </a:r>
          <a:endParaRPr lang="en-US" dirty="0"/>
        </a:p>
      </dgm:t>
    </dgm:pt>
    <dgm:pt modelId="{CF00494C-1D96-4B98-BB5B-4D26B7061F3A}" type="parTrans" cxnId="{E5EAC453-21E9-412C-BDC2-97BD92EB03CF}">
      <dgm:prSet/>
      <dgm:spPr/>
      <dgm:t>
        <a:bodyPr/>
        <a:lstStyle/>
        <a:p>
          <a:endParaRPr lang="en-US"/>
        </a:p>
      </dgm:t>
    </dgm:pt>
    <dgm:pt modelId="{3450C0F8-DA8E-41D0-88B5-9AA1562F7EF3}" type="sibTrans" cxnId="{E5EAC453-21E9-412C-BDC2-97BD92EB03CF}">
      <dgm:prSet/>
      <dgm:spPr/>
      <dgm:t>
        <a:bodyPr/>
        <a:lstStyle/>
        <a:p>
          <a:endParaRPr lang="en-US"/>
        </a:p>
      </dgm:t>
    </dgm:pt>
    <dgm:pt modelId="{84EB4B26-1173-4EAB-B8E7-284E976AC928}">
      <dgm:prSet phldrT="[Text]" custT="1"/>
      <dgm:spPr/>
      <dgm:t>
        <a:bodyPr/>
        <a:lstStyle/>
        <a:p>
          <a:pPr algn="l"/>
          <a:r>
            <a:rPr lang="en-US" sz="1100" dirty="0" smtClean="0"/>
            <a:t>On</a:t>
          </a:r>
          <a:r>
            <a:rPr lang="en-US" sz="1100" baseline="0" dirty="0" smtClean="0"/>
            <a:t> the ground sensors can reliably measure winter variables that inflate municipal snow budgets</a:t>
          </a:r>
          <a:endParaRPr lang="en-US" sz="1100" dirty="0"/>
        </a:p>
      </dgm:t>
    </dgm:pt>
    <dgm:pt modelId="{8A540C96-CC27-4A1D-9575-18D499C458CF}" type="parTrans" cxnId="{EF432049-1DE6-4B68-920F-1D1A1EC5BCDB}">
      <dgm:prSet/>
      <dgm:spPr/>
      <dgm:t>
        <a:bodyPr/>
        <a:lstStyle/>
        <a:p>
          <a:endParaRPr lang="en-US"/>
        </a:p>
      </dgm:t>
    </dgm:pt>
    <dgm:pt modelId="{F9B4A397-5E1D-491D-AAE2-A6D7C535A34E}" type="sibTrans" cxnId="{EF432049-1DE6-4B68-920F-1D1A1EC5BCDB}">
      <dgm:prSet/>
      <dgm:spPr/>
      <dgm:t>
        <a:bodyPr/>
        <a:lstStyle/>
        <a:p>
          <a:endParaRPr lang="en-US"/>
        </a:p>
      </dgm:t>
    </dgm:pt>
    <dgm:pt modelId="{D7708A49-B7C0-4C53-B909-68FFC51B8BA5}">
      <dgm:prSet phldrT="[Text]"/>
      <dgm:spPr/>
      <dgm:t>
        <a:bodyPr/>
        <a:lstStyle/>
        <a:p>
          <a:r>
            <a:rPr lang="en-US" dirty="0" smtClean="0"/>
            <a:t>Hypothesis</a:t>
          </a:r>
          <a:r>
            <a:rPr lang="en-US" baseline="0" dirty="0" smtClean="0"/>
            <a:t> 2</a:t>
          </a:r>
          <a:endParaRPr lang="en-US" dirty="0"/>
        </a:p>
      </dgm:t>
    </dgm:pt>
    <dgm:pt modelId="{7A0E1CFA-7DE0-49AE-A56D-6513500B04AB}" type="parTrans" cxnId="{13F6BBA5-D6A2-49FC-B1CC-0EE006D75791}">
      <dgm:prSet/>
      <dgm:spPr/>
      <dgm:t>
        <a:bodyPr/>
        <a:lstStyle/>
        <a:p>
          <a:endParaRPr lang="en-US"/>
        </a:p>
      </dgm:t>
    </dgm:pt>
    <dgm:pt modelId="{2A493E7F-ADB3-4FDF-912A-F0FA10A5D814}" type="sibTrans" cxnId="{13F6BBA5-D6A2-49FC-B1CC-0EE006D75791}">
      <dgm:prSet/>
      <dgm:spPr/>
      <dgm:t>
        <a:bodyPr/>
        <a:lstStyle/>
        <a:p>
          <a:endParaRPr lang="en-US"/>
        </a:p>
      </dgm:t>
    </dgm:pt>
    <dgm:pt modelId="{1500F78F-D540-4057-A5EB-FB7A8262B3DD}">
      <dgm:prSet phldrT="[Text]" custT="1"/>
      <dgm:spPr/>
      <dgm:t>
        <a:bodyPr/>
        <a:lstStyle/>
        <a:p>
          <a:pPr algn="l"/>
          <a:r>
            <a:rPr lang="en-US" sz="1100" dirty="0" smtClean="0"/>
            <a:t>Liberty</a:t>
          </a:r>
          <a:r>
            <a:rPr lang="en-US" sz="1100" baseline="0" dirty="0" smtClean="0"/>
            <a:t> could predict cost overruns more accurately than our competitors  by using more variables than just inches of snow</a:t>
          </a:r>
          <a:endParaRPr lang="en-US" sz="1100" dirty="0"/>
        </a:p>
      </dgm:t>
    </dgm:pt>
    <dgm:pt modelId="{D6222FF4-5F99-4A4C-B458-C1214215F205}" type="parTrans" cxnId="{33F943EE-8DCA-40B2-A87A-29B26A5E9A12}">
      <dgm:prSet/>
      <dgm:spPr/>
      <dgm:t>
        <a:bodyPr/>
        <a:lstStyle/>
        <a:p>
          <a:endParaRPr lang="en-US"/>
        </a:p>
      </dgm:t>
    </dgm:pt>
    <dgm:pt modelId="{400C4AEB-7B59-4A19-9BBF-618734690BDC}" type="sibTrans" cxnId="{33F943EE-8DCA-40B2-A87A-29B26A5E9A12}">
      <dgm:prSet/>
      <dgm:spPr/>
      <dgm:t>
        <a:bodyPr/>
        <a:lstStyle/>
        <a:p>
          <a:endParaRPr lang="en-US"/>
        </a:p>
      </dgm:t>
    </dgm:pt>
    <dgm:pt modelId="{D91E70B3-B3F6-4D69-AA15-F9ED23F08726}" type="pres">
      <dgm:prSet presAssocID="{F9C0EC4F-8DAF-4580-A244-1083176B496B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424A518-56D6-4A88-97CE-DAFD502A42CB}" type="pres">
      <dgm:prSet presAssocID="{A7E8F399-98A9-429D-B9FB-21E58A279859}" presName="compNode" presStyleCnt="0"/>
      <dgm:spPr/>
      <dgm:t>
        <a:bodyPr/>
        <a:lstStyle/>
        <a:p>
          <a:endParaRPr lang="en-US"/>
        </a:p>
      </dgm:t>
    </dgm:pt>
    <dgm:pt modelId="{4F307FC3-FD68-4FF3-862A-0E90760495BC}" type="pres">
      <dgm:prSet presAssocID="{A7E8F399-98A9-429D-B9FB-21E58A279859}" presName="aNode" presStyleLbl="bgShp" presStyleIdx="0" presStyleCnt="2" custLinFactNeighborX="-104" custLinFactNeighborY="-20168"/>
      <dgm:spPr/>
      <dgm:t>
        <a:bodyPr/>
        <a:lstStyle/>
        <a:p>
          <a:endParaRPr lang="en-US"/>
        </a:p>
      </dgm:t>
    </dgm:pt>
    <dgm:pt modelId="{C36182A4-2EB1-4590-8903-494665F4932C}" type="pres">
      <dgm:prSet presAssocID="{A7E8F399-98A9-429D-B9FB-21E58A279859}" presName="textNode" presStyleLbl="bgShp" presStyleIdx="0" presStyleCnt="2"/>
      <dgm:spPr/>
      <dgm:t>
        <a:bodyPr/>
        <a:lstStyle/>
        <a:p>
          <a:endParaRPr lang="en-US"/>
        </a:p>
      </dgm:t>
    </dgm:pt>
    <dgm:pt modelId="{E6C61829-C26F-4DDA-B4CB-A0A03093F1DD}" type="pres">
      <dgm:prSet presAssocID="{A7E8F399-98A9-429D-B9FB-21E58A279859}" presName="compChildNode" presStyleCnt="0"/>
      <dgm:spPr/>
      <dgm:t>
        <a:bodyPr/>
        <a:lstStyle/>
        <a:p>
          <a:endParaRPr lang="en-US"/>
        </a:p>
      </dgm:t>
    </dgm:pt>
    <dgm:pt modelId="{E5995388-87E2-49C2-AD54-3B28620225C0}" type="pres">
      <dgm:prSet presAssocID="{A7E8F399-98A9-429D-B9FB-21E58A279859}" presName="theInnerList" presStyleCnt="0"/>
      <dgm:spPr/>
      <dgm:t>
        <a:bodyPr/>
        <a:lstStyle/>
        <a:p>
          <a:endParaRPr lang="en-US"/>
        </a:p>
      </dgm:t>
    </dgm:pt>
    <dgm:pt modelId="{B0100D3D-FD50-46C9-BE1C-39B946C281AD}" type="pres">
      <dgm:prSet presAssocID="{84EB4B26-1173-4EAB-B8E7-284E976AC928}" presName="child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27B6DD-0FAC-41B8-9C54-4D739FF52282}" type="pres">
      <dgm:prSet presAssocID="{A7E8F399-98A9-429D-B9FB-21E58A279859}" presName="aSpace" presStyleCnt="0"/>
      <dgm:spPr/>
      <dgm:t>
        <a:bodyPr/>
        <a:lstStyle/>
        <a:p>
          <a:endParaRPr lang="en-US"/>
        </a:p>
      </dgm:t>
    </dgm:pt>
    <dgm:pt modelId="{8F56E7E3-BF76-472F-A7CA-AAEDC8012B4F}" type="pres">
      <dgm:prSet presAssocID="{D7708A49-B7C0-4C53-B909-68FFC51B8BA5}" presName="compNode" presStyleCnt="0"/>
      <dgm:spPr/>
      <dgm:t>
        <a:bodyPr/>
        <a:lstStyle/>
        <a:p>
          <a:endParaRPr lang="en-US"/>
        </a:p>
      </dgm:t>
    </dgm:pt>
    <dgm:pt modelId="{DD5FA387-8061-466B-9668-15BD7356B803}" type="pres">
      <dgm:prSet presAssocID="{D7708A49-B7C0-4C53-B909-68FFC51B8BA5}" presName="aNode" presStyleLbl="bgShp" presStyleIdx="1" presStyleCnt="2"/>
      <dgm:spPr/>
      <dgm:t>
        <a:bodyPr/>
        <a:lstStyle/>
        <a:p>
          <a:endParaRPr lang="en-US"/>
        </a:p>
      </dgm:t>
    </dgm:pt>
    <dgm:pt modelId="{DDA6E7A0-5E0F-4A98-A12D-0969357410F0}" type="pres">
      <dgm:prSet presAssocID="{D7708A49-B7C0-4C53-B909-68FFC51B8BA5}" presName="textNode" presStyleLbl="bgShp" presStyleIdx="1" presStyleCnt="2"/>
      <dgm:spPr/>
      <dgm:t>
        <a:bodyPr/>
        <a:lstStyle/>
        <a:p>
          <a:endParaRPr lang="en-US"/>
        </a:p>
      </dgm:t>
    </dgm:pt>
    <dgm:pt modelId="{D0CF2BB8-2370-49B5-96E5-85AE1B715AA8}" type="pres">
      <dgm:prSet presAssocID="{D7708A49-B7C0-4C53-B909-68FFC51B8BA5}" presName="compChildNode" presStyleCnt="0"/>
      <dgm:spPr/>
      <dgm:t>
        <a:bodyPr/>
        <a:lstStyle/>
        <a:p>
          <a:endParaRPr lang="en-US"/>
        </a:p>
      </dgm:t>
    </dgm:pt>
    <dgm:pt modelId="{B4290056-C117-4D7F-A755-BCF0090476B6}" type="pres">
      <dgm:prSet presAssocID="{D7708A49-B7C0-4C53-B909-68FFC51B8BA5}" presName="theInnerList" presStyleCnt="0"/>
      <dgm:spPr/>
      <dgm:t>
        <a:bodyPr/>
        <a:lstStyle/>
        <a:p>
          <a:endParaRPr lang="en-US"/>
        </a:p>
      </dgm:t>
    </dgm:pt>
    <dgm:pt modelId="{FA44A709-F570-4DD2-9589-C619B20D29A4}" type="pres">
      <dgm:prSet presAssocID="{1500F78F-D540-4057-A5EB-FB7A8262B3DD}" presName="child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5EAC453-21E9-412C-BDC2-97BD92EB03CF}" srcId="{F9C0EC4F-8DAF-4580-A244-1083176B496B}" destId="{A7E8F399-98A9-429D-B9FB-21E58A279859}" srcOrd="0" destOrd="0" parTransId="{CF00494C-1D96-4B98-BB5B-4D26B7061F3A}" sibTransId="{3450C0F8-DA8E-41D0-88B5-9AA1562F7EF3}"/>
    <dgm:cxn modelId="{63409D5B-257D-440F-A5E5-25B19218407F}" type="presOf" srcId="{84EB4B26-1173-4EAB-B8E7-284E976AC928}" destId="{B0100D3D-FD50-46C9-BE1C-39B946C281AD}" srcOrd="0" destOrd="0" presId="urn:microsoft.com/office/officeart/2005/8/layout/lProcess2"/>
    <dgm:cxn modelId="{33F943EE-8DCA-40B2-A87A-29B26A5E9A12}" srcId="{D7708A49-B7C0-4C53-B909-68FFC51B8BA5}" destId="{1500F78F-D540-4057-A5EB-FB7A8262B3DD}" srcOrd="0" destOrd="0" parTransId="{D6222FF4-5F99-4A4C-B458-C1214215F205}" sibTransId="{400C4AEB-7B59-4A19-9BBF-618734690BDC}"/>
    <dgm:cxn modelId="{BE499E00-696E-4CBE-8D12-8DA29B851CD6}" type="presOf" srcId="{A7E8F399-98A9-429D-B9FB-21E58A279859}" destId="{C36182A4-2EB1-4590-8903-494665F4932C}" srcOrd="1" destOrd="0" presId="urn:microsoft.com/office/officeart/2005/8/layout/lProcess2"/>
    <dgm:cxn modelId="{CDCBBAC1-725B-48C7-8628-D8AFC137C01C}" type="presOf" srcId="{F9C0EC4F-8DAF-4580-A244-1083176B496B}" destId="{D91E70B3-B3F6-4D69-AA15-F9ED23F08726}" srcOrd="0" destOrd="0" presId="urn:microsoft.com/office/officeart/2005/8/layout/lProcess2"/>
    <dgm:cxn modelId="{AD3008E2-9EA3-4FC0-9B04-267C8C1988E7}" type="presOf" srcId="{1500F78F-D540-4057-A5EB-FB7A8262B3DD}" destId="{FA44A709-F570-4DD2-9589-C619B20D29A4}" srcOrd="0" destOrd="0" presId="urn:microsoft.com/office/officeart/2005/8/layout/lProcess2"/>
    <dgm:cxn modelId="{B251FD78-87BA-4121-9450-0EF35C6E3A05}" type="presOf" srcId="{D7708A49-B7C0-4C53-B909-68FFC51B8BA5}" destId="{DDA6E7A0-5E0F-4A98-A12D-0969357410F0}" srcOrd="1" destOrd="0" presId="urn:microsoft.com/office/officeart/2005/8/layout/lProcess2"/>
    <dgm:cxn modelId="{5BD54E08-F0DE-4D96-91F2-91ECE026DEC6}" type="presOf" srcId="{A7E8F399-98A9-429D-B9FB-21E58A279859}" destId="{4F307FC3-FD68-4FF3-862A-0E90760495BC}" srcOrd="0" destOrd="0" presId="urn:microsoft.com/office/officeart/2005/8/layout/lProcess2"/>
    <dgm:cxn modelId="{8452951B-95CB-4FB1-A180-5913B332BF5E}" type="presOf" srcId="{D7708A49-B7C0-4C53-B909-68FFC51B8BA5}" destId="{DD5FA387-8061-466B-9668-15BD7356B803}" srcOrd="0" destOrd="0" presId="urn:microsoft.com/office/officeart/2005/8/layout/lProcess2"/>
    <dgm:cxn modelId="{EF432049-1DE6-4B68-920F-1D1A1EC5BCDB}" srcId="{A7E8F399-98A9-429D-B9FB-21E58A279859}" destId="{84EB4B26-1173-4EAB-B8E7-284E976AC928}" srcOrd="0" destOrd="0" parTransId="{8A540C96-CC27-4A1D-9575-18D499C458CF}" sibTransId="{F9B4A397-5E1D-491D-AAE2-A6D7C535A34E}"/>
    <dgm:cxn modelId="{13F6BBA5-D6A2-49FC-B1CC-0EE006D75791}" srcId="{F9C0EC4F-8DAF-4580-A244-1083176B496B}" destId="{D7708A49-B7C0-4C53-B909-68FFC51B8BA5}" srcOrd="1" destOrd="0" parTransId="{7A0E1CFA-7DE0-49AE-A56D-6513500B04AB}" sibTransId="{2A493E7F-ADB3-4FDF-912A-F0FA10A5D814}"/>
    <dgm:cxn modelId="{B364C0EE-D747-48DA-95D3-62D4360951AB}" type="presParOf" srcId="{D91E70B3-B3F6-4D69-AA15-F9ED23F08726}" destId="{6424A518-56D6-4A88-97CE-DAFD502A42CB}" srcOrd="0" destOrd="0" presId="urn:microsoft.com/office/officeart/2005/8/layout/lProcess2"/>
    <dgm:cxn modelId="{8AC9C524-D6F3-48C1-9960-E47137F146C9}" type="presParOf" srcId="{6424A518-56D6-4A88-97CE-DAFD502A42CB}" destId="{4F307FC3-FD68-4FF3-862A-0E90760495BC}" srcOrd="0" destOrd="0" presId="urn:microsoft.com/office/officeart/2005/8/layout/lProcess2"/>
    <dgm:cxn modelId="{31C28268-D822-4D4F-9C66-0A3B5DA953E4}" type="presParOf" srcId="{6424A518-56D6-4A88-97CE-DAFD502A42CB}" destId="{C36182A4-2EB1-4590-8903-494665F4932C}" srcOrd="1" destOrd="0" presId="urn:microsoft.com/office/officeart/2005/8/layout/lProcess2"/>
    <dgm:cxn modelId="{19D18E44-CFC9-48DC-A880-3BD817F85B91}" type="presParOf" srcId="{6424A518-56D6-4A88-97CE-DAFD502A42CB}" destId="{E6C61829-C26F-4DDA-B4CB-A0A03093F1DD}" srcOrd="2" destOrd="0" presId="urn:microsoft.com/office/officeart/2005/8/layout/lProcess2"/>
    <dgm:cxn modelId="{7900230E-C79B-4261-B9C7-766BDA8DE513}" type="presParOf" srcId="{E6C61829-C26F-4DDA-B4CB-A0A03093F1DD}" destId="{E5995388-87E2-49C2-AD54-3B28620225C0}" srcOrd="0" destOrd="0" presId="urn:microsoft.com/office/officeart/2005/8/layout/lProcess2"/>
    <dgm:cxn modelId="{E35860E5-241C-41EA-B6E2-9EBBB9CC49B7}" type="presParOf" srcId="{E5995388-87E2-49C2-AD54-3B28620225C0}" destId="{B0100D3D-FD50-46C9-BE1C-39B946C281AD}" srcOrd="0" destOrd="0" presId="urn:microsoft.com/office/officeart/2005/8/layout/lProcess2"/>
    <dgm:cxn modelId="{C0ED64DE-2B23-4E5F-BD1B-F535F893CCFF}" type="presParOf" srcId="{D91E70B3-B3F6-4D69-AA15-F9ED23F08726}" destId="{B427B6DD-0FAC-41B8-9C54-4D739FF52282}" srcOrd="1" destOrd="0" presId="urn:microsoft.com/office/officeart/2005/8/layout/lProcess2"/>
    <dgm:cxn modelId="{889FEC30-70C0-4154-B8A6-A4694053A2DF}" type="presParOf" srcId="{D91E70B3-B3F6-4D69-AA15-F9ED23F08726}" destId="{8F56E7E3-BF76-472F-A7CA-AAEDC8012B4F}" srcOrd="2" destOrd="0" presId="urn:microsoft.com/office/officeart/2005/8/layout/lProcess2"/>
    <dgm:cxn modelId="{5FEAC61F-98E8-4A7A-A409-F65D3AEF6CAC}" type="presParOf" srcId="{8F56E7E3-BF76-472F-A7CA-AAEDC8012B4F}" destId="{DD5FA387-8061-466B-9668-15BD7356B803}" srcOrd="0" destOrd="0" presId="urn:microsoft.com/office/officeart/2005/8/layout/lProcess2"/>
    <dgm:cxn modelId="{56CF44DF-A260-4270-A284-907AFF79BFAF}" type="presParOf" srcId="{8F56E7E3-BF76-472F-A7CA-AAEDC8012B4F}" destId="{DDA6E7A0-5E0F-4A98-A12D-0969357410F0}" srcOrd="1" destOrd="0" presId="urn:microsoft.com/office/officeart/2005/8/layout/lProcess2"/>
    <dgm:cxn modelId="{9DC13F63-4352-4F58-935E-F21F441ABBBC}" type="presParOf" srcId="{8F56E7E3-BF76-472F-A7CA-AAEDC8012B4F}" destId="{D0CF2BB8-2370-49B5-96E5-85AE1B715AA8}" srcOrd="2" destOrd="0" presId="urn:microsoft.com/office/officeart/2005/8/layout/lProcess2"/>
    <dgm:cxn modelId="{749CE12F-1138-43B7-BBB0-3D6680DC9370}" type="presParOf" srcId="{D0CF2BB8-2370-49B5-96E5-85AE1B715AA8}" destId="{B4290056-C117-4D7F-A755-BCF0090476B6}" srcOrd="0" destOrd="0" presId="urn:microsoft.com/office/officeart/2005/8/layout/lProcess2"/>
    <dgm:cxn modelId="{FF72F49B-D36A-4E39-9186-FC7C6F86EDE2}" type="presParOf" srcId="{B4290056-C117-4D7F-A755-BCF0090476B6}" destId="{FA44A709-F570-4DD2-9589-C619B20D29A4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9C0EC4F-8DAF-4580-A244-1083176B496B}" type="doc">
      <dgm:prSet loTypeId="urn:microsoft.com/office/officeart/2005/8/layout/lProcess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A7E8F399-98A9-429D-B9FB-21E58A279859}">
      <dgm:prSet phldrT="[Text]"/>
      <dgm:spPr/>
      <dgm:t>
        <a:bodyPr/>
        <a:lstStyle/>
        <a:p>
          <a:r>
            <a:rPr lang="en-US" dirty="0" smtClean="0"/>
            <a:t>Hypothesis</a:t>
          </a:r>
          <a:r>
            <a:rPr lang="en-US" baseline="0" dirty="0" smtClean="0"/>
            <a:t> 1</a:t>
          </a:r>
          <a:endParaRPr lang="en-US" dirty="0"/>
        </a:p>
      </dgm:t>
    </dgm:pt>
    <dgm:pt modelId="{CF00494C-1D96-4B98-BB5B-4D26B7061F3A}" type="parTrans" cxnId="{E5EAC453-21E9-412C-BDC2-97BD92EB03CF}">
      <dgm:prSet/>
      <dgm:spPr/>
      <dgm:t>
        <a:bodyPr/>
        <a:lstStyle/>
        <a:p>
          <a:endParaRPr lang="en-US"/>
        </a:p>
      </dgm:t>
    </dgm:pt>
    <dgm:pt modelId="{3450C0F8-DA8E-41D0-88B5-9AA1562F7EF3}" type="sibTrans" cxnId="{E5EAC453-21E9-412C-BDC2-97BD92EB03CF}">
      <dgm:prSet/>
      <dgm:spPr/>
      <dgm:t>
        <a:bodyPr/>
        <a:lstStyle/>
        <a:p>
          <a:endParaRPr lang="en-US"/>
        </a:p>
      </dgm:t>
    </dgm:pt>
    <dgm:pt modelId="{84EB4B26-1173-4EAB-B8E7-284E976AC928}">
      <dgm:prSet phldrT="[Text]" custT="1"/>
      <dgm:spPr/>
      <dgm:t>
        <a:bodyPr/>
        <a:lstStyle/>
        <a:p>
          <a:pPr algn="l"/>
          <a:r>
            <a:rPr lang="en-US" sz="1100" dirty="0" smtClean="0"/>
            <a:t>On</a:t>
          </a:r>
          <a:r>
            <a:rPr lang="en-US" sz="1100" baseline="0" dirty="0" smtClean="0"/>
            <a:t> the ground sensors can reliably measure winter variables that inflate municipal snow budgets</a:t>
          </a:r>
          <a:endParaRPr lang="en-US" sz="1100" dirty="0"/>
        </a:p>
      </dgm:t>
    </dgm:pt>
    <dgm:pt modelId="{8A540C96-CC27-4A1D-9575-18D499C458CF}" type="parTrans" cxnId="{EF432049-1DE6-4B68-920F-1D1A1EC5BCDB}">
      <dgm:prSet/>
      <dgm:spPr/>
      <dgm:t>
        <a:bodyPr/>
        <a:lstStyle/>
        <a:p>
          <a:endParaRPr lang="en-US"/>
        </a:p>
      </dgm:t>
    </dgm:pt>
    <dgm:pt modelId="{F9B4A397-5E1D-491D-AAE2-A6D7C535A34E}" type="sibTrans" cxnId="{EF432049-1DE6-4B68-920F-1D1A1EC5BCDB}">
      <dgm:prSet/>
      <dgm:spPr/>
      <dgm:t>
        <a:bodyPr/>
        <a:lstStyle/>
        <a:p>
          <a:endParaRPr lang="en-US"/>
        </a:p>
      </dgm:t>
    </dgm:pt>
    <dgm:pt modelId="{D7708A49-B7C0-4C53-B909-68FFC51B8BA5}">
      <dgm:prSet phldrT="[Text]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en-US" dirty="0" smtClean="0"/>
            <a:t>Hypothesis</a:t>
          </a:r>
          <a:r>
            <a:rPr lang="en-US" baseline="0" dirty="0" smtClean="0"/>
            <a:t> 2</a:t>
          </a:r>
          <a:endParaRPr lang="en-US" dirty="0"/>
        </a:p>
      </dgm:t>
    </dgm:pt>
    <dgm:pt modelId="{7A0E1CFA-7DE0-49AE-A56D-6513500B04AB}" type="parTrans" cxnId="{13F6BBA5-D6A2-49FC-B1CC-0EE006D75791}">
      <dgm:prSet/>
      <dgm:spPr/>
      <dgm:t>
        <a:bodyPr/>
        <a:lstStyle/>
        <a:p>
          <a:endParaRPr lang="en-US"/>
        </a:p>
      </dgm:t>
    </dgm:pt>
    <dgm:pt modelId="{2A493E7F-ADB3-4FDF-912A-F0FA10A5D814}" type="sibTrans" cxnId="{13F6BBA5-D6A2-49FC-B1CC-0EE006D75791}">
      <dgm:prSet/>
      <dgm:spPr/>
      <dgm:t>
        <a:bodyPr/>
        <a:lstStyle/>
        <a:p>
          <a:endParaRPr lang="en-US"/>
        </a:p>
      </dgm:t>
    </dgm:pt>
    <dgm:pt modelId="{1500F78F-D540-4057-A5EB-FB7A8262B3DD}">
      <dgm:prSet phldrT="[Text]" custT="1"/>
      <dgm:spPr>
        <a:solidFill>
          <a:schemeClr val="bg1">
            <a:lumMod val="75000"/>
          </a:schemeClr>
        </a:solidFill>
      </dgm:spPr>
      <dgm:t>
        <a:bodyPr/>
        <a:lstStyle/>
        <a:p>
          <a:pPr algn="l"/>
          <a:r>
            <a:rPr lang="en-US" sz="1100" dirty="0" smtClean="0"/>
            <a:t>Liberty</a:t>
          </a:r>
          <a:r>
            <a:rPr lang="en-US" sz="1100" baseline="0" dirty="0" smtClean="0"/>
            <a:t> could predict cost overruns more accurately than our competitors  by using more variables than just inches of snow</a:t>
          </a:r>
          <a:endParaRPr lang="en-US" sz="1100" dirty="0"/>
        </a:p>
      </dgm:t>
    </dgm:pt>
    <dgm:pt modelId="{D6222FF4-5F99-4A4C-B458-C1214215F205}" type="parTrans" cxnId="{33F943EE-8DCA-40B2-A87A-29B26A5E9A12}">
      <dgm:prSet/>
      <dgm:spPr/>
      <dgm:t>
        <a:bodyPr/>
        <a:lstStyle/>
        <a:p>
          <a:endParaRPr lang="en-US"/>
        </a:p>
      </dgm:t>
    </dgm:pt>
    <dgm:pt modelId="{400C4AEB-7B59-4A19-9BBF-618734690BDC}" type="sibTrans" cxnId="{33F943EE-8DCA-40B2-A87A-29B26A5E9A12}">
      <dgm:prSet/>
      <dgm:spPr/>
      <dgm:t>
        <a:bodyPr/>
        <a:lstStyle/>
        <a:p>
          <a:endParaRPr lang="en-US"/>
        </a:p>
      </dgm:t>
    </dgm:pt>
    <dgm:pt modelId="{D91E70B3-B3F6-4D69-AA15-F9ED23F08726}" type="pres">
      <dgm:prSet presAssocID="{F9C0EC4F-8DAF-4580-A244-1083176B496B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424A518-56D6-4A88-97CE-DAFD502A42CB}" type="pres">
      <dgm:prSet presAssocID="{A7E8F399-98A9-429D-B9FB-21E58A279859}" presName="compNode" presStyleCnt="0"/>
      <dgm:spPr/>
      <dgm:t>
        <a:bodyPr/>
        <a:lstStyle/>
        <a:p>
          <a:endParaRPr lang="en-US"/>
        </a:p>
      </dgm:t>
    </dgm:pt>
    <dgm:pt modelId="{4F307FC3-FD68-4FF3-862A-0E90760495BC}" type="pres">
      <dgm:prSet presAssocID="{A7E8F399-98A9-429D-B9FB-21E58A279859}" presName="aNode" presStyleLbl="bgShp" presStyleIdx="0" presStyleCnt="2" custLinFactNeighborX="-104" custLinFactNeighborY="-20168"/>
      <dgm:spPr/>
      <dgm:t>
        <a:bodyPr/>
        <a:lstStyle/>
        <a:p>
          <a:endParaRPr lang="en-US"/>
        </a:p>
      </dgm:t>
    </dgm:pt>
    <dgm:pt modelId="{C36182A4-2EB1-4590-8903-494665F4932C}" type="pres">
      <dgm:prSet presAssocID="{A7E8F399-98A9-429D-B9FB-21E58A279859}" presName="textNode" presStyleLbl="bgShp" presStyleIdx="0" presStyleCnt="2"/>
      <dgm:spPr/>
      <dgm:t>
        <a:bodyPr/>
        <a:lstStyle/>
        <a:p>
          <a:endParaRPr lang="en-US"/>
        </a:p>
      </dgm:t>
    </dgm:pt>
    <dgm:pt modelId="{E6C61829-C26F-4DDA-B4CB-A0A03093F1DD}" type="pres">
      <dgm:prSet presAssocID="{A7E8F399-98A9-429D-B9FB-21E58A279859}" presName="compChildNode" presStyleCnt="0"/>
      <dgm:spPr/>
      <dgm:t>
        <a:bodyPr/>
        <a:lstStyle/>
        <a:p>
          <a:endParaRPr lang="en-US"/>
        </a:p>
      </dgm:t>
    </dgm:pt>
    <dgm:pt modelId="{E5995388-87E2-49C2-AD54-3B28620225C0}" type="pres">
      <dgm:prSet presAssocID="{A7E8F399-98A9-429D-B9FB-21E58A279859}" presName="theInnerList" presStyleCnt="0"/>
      <dgm:spPr/>
      <dgm:t>
        <a:bodyPr/>
        <a:lstStyle/>
        <a:p>
          <a:endParaRPr lang="en-US"/>
        </a:p>
      </dgm:t>
    </dgm:pt>
    <dgm:pt modelId="{B0100D3D-FD50-46C9-BE1C-39B946C281AD}" type="pres">
      <dgm:prSet presAssocID="{84EB4B26-1173-4EAB-B8E7-284E976AC928}" presName="child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27B6DD-0FAC-41B8-9C54-4D739FF52282}" type="pres">
      <dgm:prSet presAssocID="{A7E8F399-98A9-429D-B9FB-21E58A279859}" presName="aSpace" presStyleCnt="0"/>
      <dgm:spPr/>
      <dgm:t>
        <a:bodyPr/>
        <a:lstStyle/>
        <a:p>
          <a:endParaRPr lang="en-US"/>
        </a:p>
      </dgm:t>
    </dgm:pt>
    <dgm:pt modelId="{8F56E7E3-BF76-472F-A7CA-AAEDC8012B4F}" type="pres">
      <dgm:prSet presAssocID="{D7708A49-B7C0-4C53-B909-68FFC51B8BA5}" presName="compNode" presStyleCnt="0"/>
      <dgm:spPr/>
      <dgm:t>
        <a:bodyPr/>
        <a:lstStyle/>
        <a:p>
          <a:endParaRPr lang="en-US"/>
        </a:p>
      </dgm:t>
    </dgm:pt>
    <dgm:pt modelId="{DD5FA387-8061-466B-9668-15BD7356B803}" type="pres">
      <dgm:prSet presAssocID="{D7708A49-B7C0-4C53-B909-68FFC51B8BA5}" presName="aNode" presStyleLbl="bgShp" presStyleIdx="1" presStyleCnt="2"/>
      <dgm:spPr/>
      <dgm:t>
        <a:bodyPr/>
        <a:lstStyle/>
        <a:p>
          <a:endParaRPr lang="en-US"/>
        </a:p>
      </dgm:t>
    </dgm:pt>
    <dgm:pt modelId="{DDA6E7A0-5E0F-4A98-A12D-0969357410F0}" type="pres">
      <dgm:prSet presAssocID="{D7708A49-B7C0-4C53-B909-68FFC51B8BA5}" presName="textNode" presStyleLbl="bgShp" presStyleIdx="1" presStyleCnt="2"/>
      <dgm:spPr/>
      <dgm:t>
        <a:bodyPr/>
        <a:lstStyle/>
        <a:p>
          <a:endParaRPr lang="en-US"/>
        </a:p>
      </dgm:t>
    </dgm:pt>
    <dgm:pt modelId="{D0CF2BB8-2370-49B5-96E5-85AE1B715AA8}" type="pres">
      <dgm:prSet presAssocID="{D7708A49-B7C0-4C53-B909-68FFC51B8BA5}" presName="compChildNode" presStyleCnt="0"/>
      <dgm:spPr/>
      <dgm:t>
        <a:bodyPr/>
        <a:lstStyle/>
        <a:p>
          <a:endParaRPr lang="en-US"/>
        </a:p>
      </dgm:t>
    </dgm:pt>
    <dgm:pt modelId="{B4290056-C117-4D7F-A755-BCF0090476B6}" type="pres">
      <dgm:prSet presAssocID="{D7708A49-B7C0-4C53-B909-68FFC51B8BA5}" presName="theInnerList" presStyleCnt="0"/>
      <dgm:spPr/>
      <dgm:t>
        <a:bodyPr/>
        <a:lstStyle/>
        <a:p>
          <a:endParaRPr lang="en-US"/>
        </a:p>
      </dgm:t>
    </dgm:pt>
    <dgm:pt modelId="{FA44A709-F570-4DD2-9589-C619B20D29A4}" type="pres">
      <dgm:prSet presAssocID="{1500F78F-D540-4057-A5EB-FB7A8262B3DD}" presName="child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D2E776E-2623-4B27-9DC9-F826DDA3C28D}" type="presOf" srcId="{D7708A49-B7C0-4C53-B909-68FFC51B8BA5}" destId="{DD5FA387-8061-466B-9668-15BD7356B803}" srcOrd="0" destOrd="0" presId="urn:microsoft.com/office/officeart/2005/8/layout/lProcess2"/>
    <dgm:cxn modelId="{33F943EE-8DCA-40B2-A87A-29B26A5E9A12}" srcId="{D7708A49-B7C0-4C53-B909-68FFC51B8BA5}" destId="{1500F78F-D540-4057-A5EB-FB7A8262B3DD}" srcOrd="0" destOrd="0" parTransId="{D6222FF4-5F99-4A4C-B458-C1214215F205}" sibTransId="{400C4AEB-7B59-4A19-9BBF-618734690BDC}"/>
    <dgm:cxn modelId="{75959E11-4824-4323-B498-EFFE7FE5FFC1}" type="presOf" srcId="{F9C0EC4F-8DAF-4580-A244-1083176B496B}" destId="{D91E70B3-B3F6-4D69-AA15-F9ED23F08726}" srcOrd="0" destOrd="0" presId="urn:microsoft.com/office/officeart/2005/8/layout/lProcess2"/>
    <dgm:cxn modelId="{A2D77F5F-5B07-4F6A-9F11-067D080B8430}" type="presOf" srcId="{84EB4B26-1173-4EAB-B8E7-284E976AC928}" destId="{B0100D3D-FD50-46C9-BE1C-39B946C281AD}" srcOrd="0" destOrd="0" presId="urn:microsoft.com/office/officeart/2005/8/layout/lProcess2"/>
    <dgm:cxn modelId="{26CFC5BC-729D-41AB-A787-4F26661BFC28}" type="presOf" srcId="{A7E8F399-98A9-429D-B9FB-21E58A279859}" destId="{C36182A4-2EB1-4590-8903-494665F4932C}" srcOrd="1" destOrd="0" presId="urn:microsoft.com/office/officeart/2005/8/layout/lProcess2"/>
    <dgm:cxn modelId="{13F6BBA5-D6A2-49FC-B1CC-0EE006D75791}" srcId="{F9C0EC4F-8DAF-4580-A244-1083176B496B}" destId="{D7708A49-B7C0-4C53-B909-68FFC51B8BA5}" srcOrd="1" destOrd="0" parTransId="{7A0E1CFA-7DE0-49AE-A56D-6513500B04AB}" sibTransId="{2A493E7F-ADB3-4FDF-912A-F0FA10A5D814}"/>
    <dgm:cxn modelId="{BDC22390-AF3C-422B-81CB-BB5FB2697834}" type="presOf" srcId="{1500F78F-D540-4057-A5EB-FB7A8262B3DD}" destId="{FA44A709-F570-4DD2-9589-C619B20D29A4}" srcOrd="0" destOrd="0" presId="urn:microsoft.com/office/officeart/2005/8/layout/lProcess2"/>
    <dgm:cxn modelId="{BB2492A7-76DE-4E13-BD1E-D5D0B141B7AD}" type="presOf" srcId="{A7E8F399-98A9-429D-B9FB-21E58A279859}" destId="{4F307FC3-FD68-4FF3-862A-0E90760495BC}" srcOrd="0" destOrd="0" presId="urn:microsoft.com/office/officeart/2005/8/layout/lProcess2"/>
    <dgm:cxn modelId="{2E3F675F-77DA-4FBB-919C-94E9BA389C92}" type="presOf" srcId="{D7708A49-B7C0-4C53-B909-68FFC51B8BA5}" destId="{DDA6E7A0-5E0F-4A98-A12D-0969357410F0}" srcOrd="1" destOrd="0" presId="urn:microsoft.com/office/officeart/2005/8/layout/lProcess2"/>
    <dgm:cxn modelId="{EF432049-1DE6-4B68-920F-1D1A1EC5BCDB}" srcId="{A7E8F399-98A9-429D-B9FB-21E58A279859}" destId="{84EB4B26-1173-4EAB-B8E7-284E976AC928}" srcOrd="0" destOrd="0" parTransId="{8A540C96-CC27-4A1D-9575-18D499C458CF}" sibTransId="{F9B4A397-5E1D-491D-AAE2-A6D7C535A34E}"/>
    <dgm:cxn modelId="{E5EAC453-21E9-412C-BDC2-97BD92EB03CF}" srcId="{F9C0EC4F-8DAF-4580-A244-1083176B496B}" destId="{A7E8F399-98A9-429D-B9FB-21E58A279859}" srcOrd="0" destOrd="0" parTransId="{CF00494C-1D96-4B98-BB5B-4D26B7061F3A}" sibTransId="{3450C0F8-DA8E-41D0-88B5-9AA1562F7EF3}"/>
    <dgm:cxn modelId="{F8D79CD4-8650-4406-8DD4-F942F55D18C1}" type="presParOf" srcId="{D91E70B3-B3F6-4D69-AA15-F9ED23F08726}" destId="{6424A518-56D6-4A88-97CE-DAFD502A42CB}" srcOrd="0" destOrd="0" presId="urn:microsoft.com/office/officeart/2005/8/layout/lProcess2"/>
    <dgm:cxn modelId="{026F90D5-35B4-419E-8A2E-CD513B493866}" type="presParOf" srcId="{6424A518-56D6-4A88-97CE-DAFD502A42CB}" destId="{4F307FC3-FD68-4FF3-862A-0E90760495BC}" srcOrd="0" destOrd="0" presId="urn:microsoft.com/office/officeart/2005/8/layout/lProcess2"/>
    <dgm:cxn modelId="{992A2E18-FD60-4F75-892B-74A789EED12B}" type="presParOf" srcId="{6424A518-56D6-4A88-97CE-DAFD502A42CB}" destId="{C36182A4-2EB1-4590-8903-494665F4932C}" srcOrd="1" destOrd="0" presId="urn:microsoft.com/office/officeart/2005/8/layout/lProcess2"/>
    <dgm:cxn modelId="{3FB027FE-9991-4FF7-AA78-E4357ED8C38C}" type="presParOf" srcId="{6424A518-56D6-4A88-97CE-DAFD502A42CB}" destId="{E6C61829-C26F-4DDA-B4CB-A0A03093F1DD}" srcOrd="2" destOrd="0" presId="urn:microsoft.com/office/officeart/2005/8/layout/lProcess2"/>
    <dgm:cxn modelId="{BADC34FC-8106-4FCC-8C80-53FAEE38B394}" type="presParOf" srcId="{E6C61829-C26F-4DDA-B4CB-A0A03093F1DD}" destId="{E5995388-87E2-49C2-AD54-3B28620225C0}" srcOrd="0" destOrd="0" presId="urn:microsoft.com/office/officeart/2005/8/layout/lProcess2"/>
    <dgm:cxn modelId="{A68072FD-F195-4532-8ED3-A84CA09F7092}" type="presParOf" srcId="{E5995388-87E2-49C2-AD54-3B28620225C0}" destId="{B0100D3D-FD50-46C9-BE1C-39B946C281AD}" srcOrd="0" destOrd="0" presId="urn:microsoft.com/office/officeart/2005/8/layout/lProcess2"/>
    <dgm:cxn modelId="{5336CAC4-3057-4B5B-9DE7-9D4ECC3EBFFC}" type="presParOf" srcId="{D91E70B3-B3F6-4D69-AA15-F9ED23F08726}" destId="{B427B6DD-0FAC-41B8-9C54-4D739FF52282}" srcOrd="1" destOrd="0" presId="urn:microsoft.com/office/officeart/2005/8/layout/lProcess2"/>
    <dgm:cxn modelId="{71C9E346-29A4-4016-8D5D-8907EED43CBA}" type="presParOf" srcId="{D91E70B3-B3F6-4D69-AA15-F9ED23F08726}" destId="{8F56E7E3-BF76-472F-A7CA-AAEDC8012B4F}" srcOrd="2" destOrd="0" presId="urn:microsoft.com/office/officeart/2005/8/layout/lProcess2"/>
    <dgm:cxn modelId="{55284D29-08C9-4AEC-9CFB-D2DEBC65105B}" type="presParOf" srcId="{8F56E7E3-BF76-472F-A7CA-AAEDC8012B4F}" destId="{DD5FA387-8061-466B-9668-15BD7356B803}" srcOrd="0" destOrd="0" presId="urn:microsoft.com/office/officeart/2005/8/layout/lProcess2"/>
    <dgm:cxn modelId="{1B7AD138-07E8-4A38-8DAB-60BCA8E1EDDC}" type="presParOf" srcId="{8F56E7E3-BF76-472F-A7CA-AAEDC8012B4F}" destId="{DDA6E7A0-5E0F-4A98-A12D-0969357410F0}" srcOrd="1" destOrd="0" presId="urn:microsoft.com/office/officeart/2005/8/layout/lProcess2"/>
    <dgm:cxn modelId="{345F1048-5711-47B1-B302-B56AC0A3C9BC}" type="presParOf" srcId="{8F56E7E3-BF76-472F-A7CA-AAEDC8012B4F}" destId="{D0CF2BB8-2370-49B5-96E5-85AE1B715AA8}" srcOrd="2" destOrd="0" presId="urn:microsoft.com/office/officeart/2005/8/layout/lProcess2"/>
    <dgm:cxn modelId="{ACADE82B-8E2B-4C23-A1BA-674121B9A311}" type="presParOf" srcId="{D0CF2BB8-2370-49B5-96E5-85AE1B715AA8}" destId="{B4290056-C117-4D7F-A755-BCF0090476B6}" srcOrd="0" destOrd="0" presId="urn:microsoft.com/office/officeart/2005/8/layout/lProcess2"/>
    <dgm:cxn modelId="{95C14BEB-B1E1-46AD-B5D5-8F06A4C8B932}" type="presParOf" srcId="{B4290056-C117-4D7F-A755-BCF0090476B6}" destId="{FA44A709-F570-4DD2-9589-C619B20D29A4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FCAF9D4-5F47-4B05-8F9A-524F5BC6A952}" type="doc">
      <dgm:prSet loTypeId="urn:microsoft.com/office/officeart/2011/layout/InterconnectedBlockProcess" loCatId="process" qsTypeId="urn:microsoft.com/office/officeart/2005/8/quickstyle/simple1" qsCatId="simple" csTypeId="urn:microsoft.com/office/officeart/2005/8/colors/accent3_3" csCatId="accent3" phldr="1"/>
      <dgm:spPr/>
      <dgm:t>
        <a:bodyPr/>
        <a:lstStyle/>
        <a:p>
          <a:endParaRPr lang="en-US"/>
        </a:p>
      </dgm:t>
    </dgm:pt>
    <dgm:pt modelId="{44C45793-7258-4E78-A30B-B479F278050E}" type="pres">
      <dgm:prSet presAssocID="{5FCAF9D4-5F47-4B05-8F9A-524F5BC6A952}" presName="Name0" presStyleCnt="0">
        <dgm:presLayoutVars>
          <dgm:chMax val="7"/>
          <dgm:chPref val="5"/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</dgm:ptLst>
  <dgm:cxnLst>
    <dgm:cxn modelId="{B3B99F91-9863-4FC9-B508-548F9BC69142}" type="presOf" srcId="{5FCAF9D4-5F47-4B05-8F9A-524F5BC6A952}" destId="{44C45793-7258-4E78-A30B-B479F278050E}" srcOrd="0" destOrd="0" presId="urn:microsoft.com/office/officeart/2011/layout/InterconnectedBlock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9C0EC4F-8DAF-4580-A244-1083176B496B}" type="doc">
      <dgm:prSet loTypeId="urn:microsoft.com/office/officeart/2005/8/layout/lProcess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A7E8F399-98A9-429D-B9FB-21E58A279859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en-US" dirty="0" smtClean="0"/>
            <a:t>Hypothesis</a:t>
          </a:r>
          <a:r>
            <a:rPr lang="en-US" baseline="0" dirty="0" smtClean="0"/>
            <a:t> 1</a:t>
          </a:r>
          <a:endParaRPr lang="en-US" dirty="0"/>
        </a:p>
      </dgm:t>
    </dgm:pt>
    <dgm:pt modelId="{CF00494C-1D96-4B98-BB5B-4D26B7061F3A}" type="parTrans" cxnId="{E5EAC453-21E9-412C-BDC2-97BD92EB03CF}">
      <dgm:prSet/>
      <dgm:spPr/>
      <dgm:t>
        <a:bodyPr/>
        <a:lstStyle/>
        <a:p>
          <a:endParaRPr lang="en-US"/>
        </a:p>
      </dgm:t>
    </dgm:pt>
    <dgm:pt modelId="{3450C0F8-DA8E-41D0-88B5-9AA1562F7EF3}" type="sibTrans" cxnId="{E5EAC453-21E9-412C-BDC2-97BD92EB03CF}">
      <dgm:prSet/>
      <dgm:spPr/>
      <dgm:t>
        <a:bodyPr/>
        <a:lstStyle/>
        <a:p>
          <a:endParaRPr lang="en-US"/>
        </a:p>
      </dgm:t>
    </dgm:pt>
    <dgm:pt modelId="{84EB4B26-1173-4EAB-B8E7-284E976AC928}">
      <dgm:prSet phldrT="[Text]" custT="1"/>
      <dgm:spPr>
        <a:solidFill>
          <a:schemeClr val="bg1">
            <a:lumMod val="75000"/>
          </a:schemeClr>
        </a:solidFill>
      </dgm:spPr>
      <dgm:t>
        <a:bodyPr/>
        <a:lstStyle/>
        <a:p>
          <a:pPr algn="l"/>
          <a:r>
            <a:rPr lang="en-US" sz="1100" dirty="0" smtClean="0"/>
            <a:t>On</a:t>
          </a:r>
          <a:r>
            <a:rPr lang="en-US" sz="1100" baseline="0" dirty="0" smtClean="0"/>
            <a:t> the ground sensors can reliably measure winter variables that inflate municipal snow budgets</a:t>
          </a:r>
          <a:endParaRPr lang="en-US" sz="1100" dirty="0"/>
        </a:p>
      </dgm:t>
    </dgm:pt>
    <dgm:pt modelId="{8A540C96-CC27-4A1D-9575-18D499C458CF}" type="parTrans" cxnId="{EF432049-1DE6-4B68-920F-1D1A1EC5BCDB}">
      <dgm:prSet/>
      <dgm:spPr/>
      <dgm:t>
        <a:bodyPr/>
        <a:lstStyle/>
        <a:p>
          <a:endParaRPr lang="en-US"/>
        </a:p>
      </dgm:t>
    </dgm:pt>
    <dgm:pt modelId="{F9B4A397-5E1D-491D-AAE2-A6D7C535A34E}" type="sibTrans" cxnId="{EF432049-1DE6-4B68-920F-1D1A1EC5BCDB}">
      <dgm:prSet/>
      <dgm:spPr/>
      <dgm:t>
        <a:bodyPr/>
        <a:lstStyle/>
        <a:p>
          <a:endParaRPr lang="en-US"/>
        </a:p>
      </dgm:t>
    </dgm:pt>
    <dgm:pt modelId="{D7708A49-B7C0-4C53-B909-68FFC51B8BA5}">
      <dgm:prSet phldrT="[Text]"/>
      <dgm:spPr/>
      <dgm:t>
        <a:bodyPr/>
        <a:lstStyle/>
        <a:p>
          <a:r>
            <a:rPr lang="en-US" dirty="0" smtClean="0"/>
            <a:t>Hypothesis</a:t>
          </a:r>
          <a:r>
            <a:rPr lang="en-US" baseline="0" dirty="0" smtClean="0"/>
            <a:t> 2</a:t>
          </a:r>
          <a:endParaRPr lang="en-US" dirty="0"/>
        </a:p>
      </dgm:t>
    </dgm:pt>
    <dgm:pt modelId="{7A0E1CFA-7DE0-49AE-A56D-6513500B04AB}" type="parTrans" cxnId="{13F6BBA5-D6A2-49FC-B1CC-0EE006D75791}">
      <dgm:prSet/>
      <dgm:spPr/>
      <dgm:t>
        <a:bodyPr/>
        <a:lstStyle/>
        <a:p>
          <a:endParaRPr lang="en-US"/>
        </a:p>
      </dgm:t>
    </dgm:pt>
    <dgm:pt modelId="{2A493E7F-ADB3-4FDF-912A-F0FA10A5D814}" type="sibTrans" cxnId="{13F6BBA5-D6A2-49FC-B1CC-0EE006D75791}">
      <dgm:prSet/>
      <dgm:spPr/>
      <dgm:t>
        <a:bodyPr/>
        <a:lstStyle/>
        <a:p>
          <a:endParaRPr lang="en-US"/>
        </a:p>
      </dgm:t>
    </dgm:pt>
    <dgm:pt modelId="{1500F78F-D540-4057-A5EB-FB7A8262B3DD}">
      <dgm:prSet phldrT="[Text]" custT="1"/>
      <dgm:spPr/>
      <dgm:t>
        <a:bodyPr/>
        <a:lstStyle/>
        <a:p>
          <a:pPr algn="l"/>
          <a:r>
            <a:rPr lang="en-US" sz="1100" dirty="0" smtClean="0"/>
            <a:t>Liberty</a:t>
          </a:r>
          <a:r>
            <a:rPr lang="en-US" sz="1100" baseline="0" dirty="0" smtClean="0"/>
            <a:t> could predict cost overruns more accurately than our competitors  by using more variables than just inches of snow</a:t>
          </a:r>
          <a:endParaRPr lang="en-US" sz="1100" dirty="0"/>
        </a:p>
      </dgm:t>
    </dgm:pt>
    <dgm:pt modelId="{D6222FF4-5F99-4A4C-B458-C1214215F205}" type="parTrans" cxnId="{33F943EE-8DCA-40B2-A87A-29B26A5E9A12}">
      <dgm:prSet/>
      <dgm:spPr/>
      <dgm:t>
        <a:bodyPr/>
        <a:lstStyle/>
        <a:p>
          <a:endParaRPr lang="en-US"/>
        </a:p>
      </dgm:t>
    </dgm:pt>
    <dgm:pt modelId="{400C4AEB-7B59-4A19-9BBF-618734690BDC}" type="sibTrans" cxnId="{33F943EE-8DCA-40B2-A87A-29B26A5E9A12}">
      <dgm:prSet/>
      <dgm:spPr/>
      <dgm:t>
        <a:bodyPr/>
        <a:lstStyle/>
        <a:p>
          <a:endParaRPr lang="en-US"/>
        </a:p>
      </dgm:t>
    </dgm:pt>
    <dgm:pt modelId="{D91E70B3-B3F6-4D69-AA15-F9ED23F08726}" type="pres">
      <dgm:prSet presAssocID="{F9C0EC4F-8DAF-4580-A244-1083176B496B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424A518-56D6-4A88-97CE-DAFD502A42CB}" type="pres">
      <dgm:prSet presAssocID="{A7E8F399-98A9-429D-B9FB-21E58A279859}" presName="compNode" presStyleCnt="0"/>
      <dgm:spPr/>
      <dgm:t>
        <a:bodyPr/>
        <a:lstStyle/>
        <a:p>
          <a:endParaRPr lang="en-US"/>
        </a:p>
      </dgm:t>
    </dgm:pt>
    <dgm:pt modelId="{4F307FC3-FD68-4FF3-862A-0E90760495BC}" type="pres">
      <dgm:prSet presAssocID="{A7E8F399-98A9-429D-B9FB-21E58A279859}" presName="aNode" presStyleLbl="bgShp" presStyleIdx="0" presStyleCnt="2" custLinFactNeighborX="-104" custLinFactNeighborY="-20168"/>
      <dgm:spPr/>
      <dgm:t>
        <a:bodyPr/>
        <a:lstStyle/>
        <a:p>
          <a:endParaRPr lang="en-US"/>
        </a:p>
      </dgm:t>
    </dgm:pt>
    <dgm:pt modelId="{C36182A4-2EB1-4590-8903-494665F4932C}" type="pres">
      <dgm:prSet presAssocID="{A7E8F399-98A9-429D-B9FB-21E58A279859}" presName="textNode" presStyleLbl="bgShp" presStyleIdx="0" presStyleCnt="2"/>
      <dgm:spPr/>
      <dgm:t>
        <a:bodyPr/>
        <a:lstStyle/>
        <a:p>
          <a:endParaRPr lang="en-US"/>
        </a:p>
      </dgm:t>
    </dgm:pt>
    <dgm:pt modelId="{E6C61829-C26F-4DDA-B4CB-A0A03093F1DD}" type="pres">
      <dgm:prSet presAssocID="{A7E8F399-98A9-429D-B9FB-21E58A279859}" presName="compChildNode" presStyleCnt="0"/>
      <dgm:spPr/>
      <dgm:t>
        <a:bodyPr/>
        <a:lstStyle/>
        <a:p>
          <a:endParaRPr lang="en-US"/>
        </a:p>
      </dgm:t>
    </dgm:pt>
    <dgm:pt modelId="{E5995388-87E2-49C2-AD54-3B28620225C0}" type="pres">
      <dgm:prSet presAssocID="{A7E8F399-98A9-429D-B9FB-21E58A279859}" presName="theInnerList" presStyleCnt="0"/>
      <dgm:spPr/>
      <dgm:t>
        <a:bodyPr/>
        <a:lstStyle/>
        <a:p>
          <a:endParaRPr lang="en-US"/>
        </a:p>
      </dgm:t>
    </dgm:pt>
    <dgm:pt modelId="{B0100D3D-FD50-46C9-BE1C-39B946C281AD}" type="pres">
      <dgm:prSet presAssocID="{84EB4B26-1173-4EAB-B8E7-284E976AC928}" presName="child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27B6DD-0FAC-41B8-9C54-4D739FF52282}" type="pres">
      <dgm:prSet presAssocID="{A7E8F399-98A9-429D-B9FB-21E58A279859}" presName="aSpace" presStyleCnt="0"/>
      <dgm:spPr/>
      <dgm:t>
        <a:bodyPr/>
        <a:lstStyle/>
        <a:p>
          <a:endParaRPr lang="en-US"/>
        </a:p>
      </dgm:t>
    </dgm:pt>
    <dgm:pt modelId="{8F56E7E3-BF76-472F-A7CA-AAEDC8012B4F}" type="pres">
      <dgm:prSet presAssocID="{D7708A49-B7C0-4C53-B909-68FFC51B8BA5}" presName="compNode" presStyleCnt="0"/>
      <dgm:spPr/>
      <dgm:t>
        <a:bodyPr/>
        <a:lstStyle/>
        <a:p>
          <a:endParaRPr lang="en-US"/>
        </a:p>
      </dgm:t>
    </dgm:pt>
    <dgm:pt modelId="{DD5FA387-8061-466B-9668-15BD7356B803}" type="pres">
      <dgm:prSet presAssocID="{D7708A49-B7C0-4C53-B909-68FFC51B8BA5}" presName="aNode" presStyleLbl="bgShp" presStyleIdx="1" presStyleCnt="2"/>
      <dgm:spPr/>
      <dgm:t>
        <a:bodyPr/>
        <a:lstStyle/>
        <a:p>
          <a:endParaRPr lang="en-US"/>
        </a:p>
      </dgm:t>
    </dgm:pt>
    <dgm:pt modelId="{DDA6E7A0-5E0F-4A98-A12D-0969357410F0}" type="pres">
      <dgm:prSet presAssocID="{D7708A49-B7C0-4C53-B909-68FFC51B8BA5}" presName="textNode" presStyleLbl="bgShp" presStyleIdx="1" presStyleCnt="2"/>
      <dgm:spPr/>
      <dgm:t>
        <a:bodyPr/>
        <a:lstStyle/>
        <a:p>
          <a:endParaRPr lang="en-US"/>
        </a:p>
      </dgm:t>
    </dgm:pt>
    <dgm:pt modelId="{D0CF2BB8-2370-49B5-96E5-85AE1B715AA8}" type="pres">
      <dgm:prSet presAssocID="{D7708A49-B7C0-4C53-B909-68FFC51B8BA5}" presName="compChildNode" presStyleCnt="0"/>
      <dgm:spPr/>
      <dgm:t>
        <a:bodyPr/>
        <a:lstStyle/>
        <a:p>
          <a:endParaRPr lang="en-US"/>
        </a:p>
      </dgm:t>
    </dgm:pt>
    <dgm:pt modelId="{B4290056-C117-4D7F-A755-BCF0090476B6}" type="pres">
      <dgm:prSet presAssocID="{D7708A49-B7C0-4C53-B909-68FFC51B8BA5}" presName="theInnerList" presStyleCnt="0"/>
      <dgm:spPr/>
      <dgm:t>
        <a:bodyPr/>
        <a:lstStyle/>
        <a:p>
          <a:endParaRPr lang="en-US"/>
        </a:p>
      </dgm:t>
    </dgm:pt>
    <dgm:pt modelId="{FA44A709-F570-4DD2-9589-C619B20D29A4}" type="pres">
      <dgm:prSet presAssocID="{1500F78F-D540-4057-A5EB-FB7A8262B3DD}" presName="child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3F943EE-8DCA-40B2-A87A-29B26A5E9A12}" srcId="{D7708A49-B7C0-4C53-B909-68FFC51B8BA5}" destId="{1500F78F-D540-4057-A5EB-FB7A8262B3DD}" srcOrd="0" destOrd="0" parTransId="{D6222FF4-5F99-4A4C-B458-C1214215F205}" sibTransId="{400C4AEB-7B59-4A19-9BBF-618734690BDC}"/>
    <dgm:cxn modelId="{405F2451-8483-4075-BB12-10D041ACA3F2}" type="presOf" srcId="{F9C0EC4F-8DAF-4580-A244-1083176B496B}" destId="{D91E70B3-B3F6-4D69-AA15-F9ED23F08726}" srcOrd="0" destOrd="0" presId="urn:microsoft.com/office/officeart/2005/8/layout/lProcess2"/>
    <dgm:cxn modelId="{AC5B2A9D-C4D2-48D2-A434-4C812F40350F}" type="presOf" srcId="{84EB4B26-1173-4EAB-B8E7-284E976AC928}" destId="{B0100D3D-FD50-46C9-BE1C-39B946C281AD}" srcOrd="0" destOrd="0" presId="urn:microsoft.com/office/officeart/2005/8/layout/lProcess2"/>
    <dgm:cxn modelId="{AF563137-469D-4930-A284-8AF793079951}" type="presOf" srcId="{A7E8F399-98A9-429D-B9FB-21E58A279859}" destId="{4F307FC3-FD68-4FF3-862A-0E90760495BC}" srcOrd="0" destOrd="0" presId="urn:microsoft.com/office/officeart/2005/8/layout/lProcess2"/>
    <dgm:cxn modelId="{13F6BBA5-D6A2-49FC-B1CC-0EE006D75791}" srcId="{F9C0EC4F-8DAF-4580-A244-1083176B496B}" destId="{D7708A49-B7C0-4C53-B909-68FFC51B8BA5}" srcOrd="1" destOrd="0" parTransId="{7A0E1CFA-7DE0-49AE-A56D-6513500B04AB}" sibTransId="{2A493E7F-ADB3-4FDF-912A-F0FA10A5D814}"/>
    <dgm:cxn modelId="{D1A13BB4-4B6C-4222-B745-B31C0082414A}" type="presOf" srcId="{D7708A49-B7C0-4C53-B909-68FFC51B8BA5}" destId="{DDA6E7A0-5E0F-4A98-A12D-0969357410F0}" srcOrd="1" destOrd="0" presId="urn:microsoft.com/office/officeart/2005/8/layout/lProcess2"/>
    <dgm:cxn modelId="{088A8F83-95F3-42FD-B7F3-F6ADD05EF61C}" type="presOf" srcId="{A7E8F399-98A9-429D-B9FB-21E58A279859}" destId="{C36182A4-2EB1-4590-8903-494665F4932C}" srcOrd="1" destOrd="0" presId="urn:microsoft.com/office/officeart/2005/8/layout/lProcess2"/>
    <dgm:cxn modelId="{957B175C-7049-496A-8C6B-E6F69F9E2EBC}" type="presOf" srcId="{D7708A49-B7C0-4C53-B909-68FFC51B8BA5}" destId="{DD5FA387-8061-466B-9668-15BD7356B803}" srcOrd="0" destOrd="0" presId="urn:microsoft.com/office/officeart/2005/8/layout/lProcess2"/>
    <dgm:cxn modelId="{1D9C7EF2-7F17-4B73-AA5F-CECDAD7B1EB0}" type="presOf" srcId="{1500F78F-D540-4057-A5EB-FB7A8262B3DD}" destId="{FA44A709-F570-4DD2-9589-C619B20D29A4}" srcOrd="0" destOrd="0" presId="urn:microsoft.com/office/officeart/2005/8/layout/lProcess2"/>
    <dgm:cxn modelId="{EF432049-1DE6-4B68-920F-1D1A1EC5BCDB}" srcId="{A7E8F399-98A9-429D-B9FB-21E58A279859}" destId="{84EB4B26-1173-4EAB-B8E7-284E976AC928}" srcOrd="0" destOrd="0" parTransId="{8A540C96-CC27-4A1D-9575-18D499C458CF}" sibTransId="{F9B4A397-5E1D-491D-AAE2-A6D7C535A34E}"/>
    <dgm:cxn modelId="{E5EAC453-21E9-412C-BDC2-97BD92EB03CF}" srcId="{F9C0EC4F-8DAF-4580-A244-1083176B496B}" destId="{A7E8F399-98A9-429D-B9FB-21E58A279859}" srcOrd="0" destOrd="0" parTransId="{CF00494C-1D96-4B98-BB5B-4D26B7061F3A}" sibTransId="{3450C0F8-DA8E-41D0-88B5-9AA1562F7EF3}"/>
    <dgm:cxn modelId="{1F4039B9-691B-41F9-8A7B-623D622E9836}" type="presParOf" srcId="{D91E70B3-B3F6-4D69-AA15-F9ED23F08726}" destId="{6424A518-56D6-4A88-97CE-DAFD502A42CB}" srcOrd="0" destOrd="0" presId="urn:microsoft.com/office/officeart/2005/8/layout/lProcess2"/>
    <dgm:cxn modelId="{BDB5EF2E-E17A-472C-B450-14673E0E6CD9}" type="presParOf" srcId="{6424A518-56D6-4A88-97CE-DAFD502A42CB}" destId="{4F307FC3-FD68-4FF3-862A-0E90760495BC}" srcOrd="0" destOrd="0" presId="urn:microsoft.com/office/officeart/2005/8/layout/lProcess2"/>
    <dgm:cxn modelId="{CB264AD0-31B5-4D34-8765-20ABC2922448}" type="presParOf" srcId="{6424A518-56D6-4A88-97CE-DAFD502A42CB}" destId="{C36182A4-2EB1-4590-8903-494665F4932C}" srcOrd="1" destOrd="0" presId="urn:microsoft.com/office/officeart/2005/8/layout/lProcess2"/>
    <dgm:cxn modelId="{D7E3B233-3C6A-47B0-B110-A64CD6F75E3F}" type="presParOf" srcId="{6424A518-56D6-4A88-97CE-DAFD502A42CB}" destId="{E6C61829-C26F-4DDA-B4CB-A0A03093F1DD}" srcOrd="2" destOrd="0" presId="urn:microsoft.com/office/officeart/2005/8/layout/lProcess2"/>
    <dgm:cxn modelId="{11DEA2EF-5D6A-48D0-87C7-4301DB1B8989}" type="presParOf" srcId="{E6C61829-C26F-4DDA-B4CB-A0A03093F1DD}" destId="{E5995388-87E2-49C2-AD54-3B28620225C0}" srcOrd="0" destOrd="0" presId="urn:microsoft.com/office/officeart/2005/8/layout/lProcess2"/>
    <dgm:cxn modelId="{C07ADF9E-3300-484C-89B5-13913DE8B132}" type="presParOf" srcId="{E5995388-87E2-49C2-AD54-3B28620225C0}" destId="{B0100D3D-FD50-46C9-BE1C-39B946C281AD}" srcOrd="0" destOrd="0" presId="urn:microsoft.com/office/officeart/2005/8/layout/lProcess2"/>
    <dgm:cxn modelId="{A614230B-BD39-4142-9FFD-F34E972D0F17}" type="presParOf" srcId="{D91E70B3-B3F6-4D69-AA15-F9ED23F08726}" destId="{B427B6DD-0FAC-41B8-9C54-4D739FF52282}" srcOrd="1" destOrd="0" presId="urn:microsoft.com/office/officeart/2005/8/layout/lProcess2"/>
    <dgm:cxn modelId="{656DC4A7-5E22-4EC3-8D5F-D8D7812A62C5}" type="presParOf" srcId="{D91E70B3-B3F6-4D69-AA15-F9ED23F08726}" destId="{8F56E7E3-BF76-472F-A7CA-AAEDC8012B4F}" srcOrd="2" destOrd="0" presId="urn:microsoft.com/office/officeart/2005/8/layout/lProcess2"/>
    <dgm:cxn modelId="{7C2C9B4A-2408-4831-B3A5-1DB8AC510F9B}" type="presParOf" srcId="{8F56E7E3-BF76-472F-A7CA-AAEDC8012B4F}" destId="{DD5FA387-8061-466B-9668-15BD7356B803}" srcOrd="0" destOrd="0" presId="urn:microsoft.com/office/officeart/2005/8/layout/lProcess2"/>
    <dgm:cxn modelId="{1232AB3B-5C1F-450E-BAAD-87881FCD968B}" type="presParOf" srcId="{8F56E7E3-BF76-472F-A7CA-AAEDC8012B4F}" destId="{DDA6E7A0-5E0F-4A98-A12D-0969357410F0}" srcOrd="1" destOrd="0" presId="urn:microsoft.com/office/officeart/2005/8/layout/lProcess2"/>
    <dgm:cxn modelId="{20C9398E-66A0-4BA3-BF91-8F995D07D996}" type="presParOf" srcId="{8F56E7E3-BF76-472F-A7CA-AAEDC8012B4F}" destId="{D0CF2BB8-2370-49B5-96E5-85AE1B715AA8}" srcOrd="2" destOrd="0" presId="urn:microsoft.com/office/officeart/2005/8/layout/lProcess2"/>
    <dgm:cxn modelId="{FD2E2513-F475-4125-9C63-8983C08985B0}" type="presParOf" srcId="{D0CF2BB8-2370-49B5-96E5-85AE1B715AA8}" destId="{B4290056-C117-4D7F-A755-BCF0090476B6}" srcOrd="0" destOrd="0" presId="urn:microsoft.com/office/officeart/2005/8/layout/lProcess2"/>
    <dgm:cxn modelId="{49B4E13A-F09D-4478-BD03-478D432AA98B}" type="presParOf" srcId="{B4290056-C117-4D7F-A755-BCF0090476B6}" destId="{FA44A709-F570-4DD2-9589-C619B20D29A4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0C2394E-C3BF-4F17-80E0-9495446699FA}" type="doc">
      <dgm:prSet loTypeId="urn:microsoft.com/office/officeart/2005/8/layout/lProcess2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E4BF7304-340B-4AA2-A4D2-D84ABF80DDBA}">
      <dgm:prSet phldrT="[Text]"/>
      <dgm:spPr/>
      <dgm:t>
        <a:bodyPr/>
        <a:lstStyle/>
        <a:p>
          <a:r>
            <a:rPr lang="en-US" dirty="0" smtClean="0"/>
            <a:t>Foreign</a:t>
          </a:r>
          <a:endParaRPr lang="en-US" dirty="0"/>
        </a:p>
      </dgm:t>
    </dgm:pt>
    <dgm:pt modelId="{31CF7C12-8C48-4759-93AD-369D49C835EB}" type="parTrans" cxnId="{C14F78E7-6DA6-4931-88FF-A89BBCD8B419}">
      <dgm:prSet/>
      <dgm:spPr/>
      <dgm:t>
        <a:bodyPr/>
        <a:lstStyle/>
        <a:p>
          <a:endParaRPr lang="en-US"/>
        </a:p>
      </dgm:t>
    </dgm:pt>
    <dgm:pt modelId="{8A2AAC0C-D801-4A7F-AB89-F879DF88E3AF}" type="sibTrans" cxnId="{C14F78E7-6DA6-4931-88FF-A89BBCD8B419}">
      <dgm:prSet/>
      <dgm:spPr/>
      <dgm:t>
        <a:bodyPr/>
        <a:lstStyle/>
        <a:p>
          <a:endParaRPr lang="en-US"/>
        </a:p>
      </dgm:t>
    </dgm:pt>
    <dgm:pt modelId="{93A76BDB-B7D7-4D61-811C-204328479F0A}">
      <dgm:prSet phldrT="[Text]" custT="1"/>
      <dgm:spPr/>
      <dgm:t>
        <a:bodyPr anchor="t"/>
        <a:lstStyle/>
        <a:p>
          <a:pPr algn="l"/>
          <a:r>
            <a:rPr lang="en-US" sz="1100" dirty="0" smtClean="0"/>
            <a:t>- Sophisticated models coupled with parametric capabilities already exist</a:t>
          </a:r>
        </a:p>
        <a:p>
          <a:pPr algn="l"/>
          <a:endParaRPr lang="en-US" sz="1100" dirty="0" smtClean="0"/>
        </a:p>
        <a:p>
          <a:pPr algn="l"/>
          <a:r>
            <a:rPr lang="en-US" sz="1100" dirty="0" smtClean="0"/>
            <a:t>- Established markets, with firms already showing a track record of success</a:t>
          </a:r>
        </a:p>
        <a:p>
          <a:pPr algn="l"/>
          <a:endParaRPr lang="en-US" sz="1100" dirty="0"/>
        </a:p>
      </dgm:t>
    </dgm:pt>
    <dgm:pt modelId="{807B68A3-A755-4DD7-860F-FE1653F26418}" type="parTrans" cxnId="{71CF15DA-500D-4CD9-8773-D81B3CD08D6A}">
      <dgm:prSet/>
      <dgm:spPr/>
      <dgm:t>
        <a:bodyPr/>
        <a:lstStyle/>
        <a:p>
          <a:endParaRPr lang="en-US"/>
        </a:p>
      </dgm:t>
    </dgm:pt>
    <dgm:pt modelId="{C923E3EE-301C-418C-AD0F-0375C3085F1E}" type="sibTrans" cxnId="{71CF15DA-500D-4CD9-8773-D81B3CD08D6A}">
      <dgm:prSet/>
      <dgm:spPr/>
      <dgm:t>
        <a:bodyPr/>
        <a:lstStyle/>
        <a:p>
          <a:endParaRPr lang="en-US"/>
        </a:p>
      </dgm:t>
    </dgm:pt>
    <dgm:pt modelId="{C9530658-058E-44BB-8CD3-C3AAAF9CDDBF}">
      <dgm:prSet phldrT="[Text]" custT="1"/>
      <dgm:spPr/>
      <dgm:t>
        <a:bodyPr/>
        <a:lstStyle/>
        <a:p>
          <a:pPr algn="l"/>
          <a:r>
            <a:rPr lang="en-US" sz="1100" dirty="0" smtClean="0"/>
            <a:t>- Arduous U.S. insurance regulations </a:t>
          </a:r>
          <a:endParaRPr lang="en-US" sz="1100" dirty="0"/>
        </a:p>
      </dgm:t>
    </dgm:pt>
    <dgm:pt modelId="{E545444A-6A47-426B-B945-2F2EE26E267E}" type="parTrans" cxnId="{AC2961D1-4BE3-4E25-895D-F80EA34DCED0}">
      <dgm:prSet/>
      <dgm:spPr/>
      <dgm:t>
        <a:bodyPr/>
        <a:lstStyle/>
        <a:p>
          <a:endParaRPr lang="en-US"/>
        </a:p>
      </dgm:t>
    </dgm:pt>
    <dgm:pt modelId="{D6A33F20-E49A-427A-8E08-4F9E3B0A3229}" type="sibTrans" cxnId="{AC2961D1-4BE3-4E25-895D-F80EA34DCED0}">
      <dgm:prSet/>
      <dgm:spPr/>
      <dgm:t>
        <a:bodyPr/>
        <a:lstStyle/>
        <a:p>
          <a:endParaRPr lang="en-US"/>
        </a:p>
      </dgm:t>
    </dgm:pt>
    <dgm:pt modelId="{4B5F2B7E-5445-44CD-9C1D-79EC7CE77714}">
      <dgm:prSet phldrT="[Text]"/>
      <dgm:spPr/>
      <dgm:t>
        <a:bodyPr/>
        <a:lstStyle/>
        <a:p>
          <a:r>
            <a:rPr lang="en-US" dirty="0" smtClean="0"/>
            <a:t>Domestic</a:t>
          </a:r>
          <a:endParaRPr lang="en-US" dirty="0"/>
        </a:p>
      </dgm:t>
    </dgm:pt>
    <dgm:pt modelId="{0A8F2C73-764E-4FF8-8B38-80B121746F8B}" type="parTrans" cxnId="{C8469DDD-A103-4267-B35D-1CBD544694BB}">
      <dgm:prSet/>
      <dgm:spPr/>
      <dgm:t>
        <a:bodyPr/>
        <a:lstStyle/>
        <a:p>
          <a:endParaRPr lang="en-US"/>
        </a:p>
      </dgm:t>
    </dgm:pt>
    <dgm:pt modelId="{5479D91F-7124-47C2-9902-C3D5098D2D57}" type="sibTrans" cxnId="{C8469DDD-A103-4267-B35D-1CBD544694BB}">
      <dgm:prSet/>
      <dgm:spPr/>
      <dgm:t>
        <a:bodyPr/>
        <a:lstStyle/>
        <a:p>
          <a:endParaRPr lang="en-US"/>
        </a:p>
      </dgm:t>
    </dgm:pt>
    <dgm:pt modelId="{B7FFA8EC-1E1E-4EA9-9C1E-58E27F09972A}">
      <dgm:prSet phldrT="[Text]" custT="1"/>
      <dgm:spPr/>
      <dgm:t>
        <a:bodyPr anchor="t"/>
        <a:lstStyle/>
        <a:p>
          <a:pPr algn="l"/>
          <a:r>
            <a:rPr lang="en-US" sz="1100" dirty="0" smtClean="0"/>
            <a:t>-  Product offering of same sophistication, is already on the market</a:t>
          </a:r>
        </a:p>
        <a:p>
          <a:pPr algn="l"/>
          <a:endParaRPr lang="en-US" sz="1100" dirty="0" smtClean="0"/>
        </a:p>
        <a:p>
          <a:pPr algn="l"/>
          <a:r>
            <a:rPr lang="en-US" sz="1100" dirty="0" smtClean="0"/>
            <a:t>- Early movers already have foothold on snow insurance market</a:t>
          </a:r>
        </a:p>
        <a:p>
          <a:pPr algn="l"/>
          <a:endParaRPr lang="en-US" sz="1100" dirty="0"/>
        </a:p>
      </dgm:t>
    </dgm:pt>
    <dgm:pt modelId="{028379C3-2A01-4469-A96E-93B6804A37F8}" type="parTrans" cxnId="{6F1A21C2-76B9-4D8C-8ECD-4C91461D07C9}">
      <dgm:prSet/>
      <dgm:spPr/>
      <dgm:t>
        <a:bodyPr/>
        <a:lstStyle/>
        <a:p>
          <a:endParaRPr lang="en-US"/>
        </a:p>
      </dgm:t>
    </dgm:pt>
    <dgm:pt modelId="{47C4D7DB-8B76-4F7F-8212-424D11EA3E1B}" type="sibTrans" cxnId="{6F1A21C2-76B9-4D8C-8ECD-4C91461D07C9}">
      <dgm:prSet/>
      <dgm:spPr/>
      <dgm:t>
        <a:bodyPr/>
        <a:lstStyle/>
        <a:p>
          <a:endParaRPr lang="en-US"/>
        </a:p>
      </dgm:t>
    </dgm:pt>
    <dgm:pt modelId="{F2AC8C5A-9FF3-49C2-885B-42292523E8E2}">
      <dgm:prSet phldrT="[Text]" custT="1"/>
      <dgm:spPr/>
      <dgm:t>
        <a:bodyPr/>
        <a:lstStyle/>
        <a:p>
          <a:pPr algn="l"/>
          <a:r>
            <a:rPr lang="en-US" sz="1100" dirty="0" smtClean="0"/>
            <a:t>- Liberty’s scale potentially enables undercutting</a:t>
          </a:r>
          <a:endParaRPr lang="en-US" sz="1100" dirty="0"/>
        </a:p>
      </dgm:t>
    </dgm:pt>
    <dgm:pt modelId="{B1117D17-604F-4307-8945-970C370D927F}" type="parTrans" cxnId="{9A642473-5448-4013-B817-8022EC56577E}">
      <dgm:prSet/>
      <dgm:spPr/>
      <dgm:t>
        <a:bodyPr/>
        <a:lstStyle/>
        <a:p>
          <a:endParaRPr lang="en-US"/>
        </a:p>
      </dgm:t>
    </dgm:pt>
    <dgm:pt modelId="{D261D862-1FBF-4B3D-90B8-2F773909840E}" type="sibTrans" cxnId="{9A642473-5448-4013-B817-8022EC56577E}">
      <dgm:prSet/>
      <dgm:spPr/>
      <dgm:t>
        <a:bodyPr/>
        <a:lstStyle/>
        <a:p>
          <a:endParaRPr lang="en-US"/>
        </a:p>
      </dgm:t>
    </dgm:pt>
    <dgm:pt modelId="{17DFADA0-167B-4B91-BC91-E6E72C3CC672}" type="pres">
      <dgm:prSet presAssocID="{90C2394E-C3BF-4F17-80E0-9495446699FA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252F188-0D2C-4607-B7C1-EE56F2F9E35A}" type="pres">
      <dgm:prSet presAssocID="{E4BF7304-340B-4AA2-A4D2-D84ABF80DDBA}" presName="compNode" presStyleCnt="0"/>
      <dgm:spPr/>
      <dgm:t>
        <a:bodyPr/>
        <a:lstStyle/>
        <a:p>
          <a:endParaRPr lang="en-US"/>
        </a:p>
      </dgm:t>
    </dgm:pt>
    <dgm:pt modelId="{8D6649DE-32BA-48FF-8342-26CC0BAD13F3}" type="pres">
      <dgm:prSet presAssocID="{E4BF7304-340B-4AA2-A4D2-D84ABF80DDBA}" presName="aNode" presStyleLbl="bgShp" presStyleIdx="0" presStyleCnt="2"/>
      <dgm:spPr/>
      <dgm:t>
        <a:bodyPr/>
        <a:lstStyle/>
        <a:p>
          <a:endParaRPr lang="en-US"/>
        </a:p>
      </dgm:t>
    </dgm:pt>
    <dgm:pt modelId="{C5A2BAF7-39BD-4F74-9B79-205CE8006332}" type="pres">
      <dgm:prSet presAssocID="{E4BF7304-340B-4AA2-A4D2-D84ABF80DDBA}" presName="textNode" presStyleLbl="bgShp" presStyleIdx="0" presStyleCnt="2"/>
      <dgm:spPr/>
      <dgm:t>
        <a:bodyPr/>
        <a:lstStyle/>
        <a:p>
          <a:endParaRPr lang="en-US"/>
        </a:p>
      </dgm:t>
    </dgm:pt>
    <dgm:pt modelId="{9A5C1186-E8E6-4FB0-9A34-CACC9D433105}" type="pres">
      <dgm:prSet presAssocID="{E4BF7304-340B-4AA2-A4D2-D84ABF80DDBA}" presName="compChildNode" presStyleCnt="0"/>
      <dgm:spPr/>
      <dgm:t>
        <a:bodyPr/>
        <a:lstStyle/>
        <a:p>
          <a:endParaRPr lang="en-US"/>
        </a:p>
      </dgm:t>
    </dgm:pt>
    <dgm:pt modelId="{C4893313-40BE-4315-A20A-4A15CAB71751}" type="pres">
      <dgm:prSet presAssocID="{E4BF7304-340B-4AA2-A4D2-D84ABF80DDBA}" presName="theInnerList" presStyleCnt="0"/>
      <dgm:spPr/>
      <dgm:t>
        <a:bodyPr/>
        <a:lstStyle/>
        <a:p>
          <a:endParaRPr lang="en-US"/>
        </a:p>
      </dgm:t>
    </dgm:pt>
    <dgm:pt modelId="{1BF481B3-F3CE-4C18-A2A5-CF892F42E449}" type="pres">
      <dgm:prSet presAssocID="{93A76BDB-B7D7-4D61-811C-204328479F0A}" presName="childNode" presStyleLbl="node1" presStyleIdx="0" presStyleCnt="4" custScaleY="26159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F5C1F9-CDE9-449F-A4BD-0455DCBDC370}" type="pres">
      <dgm:prSet presAssocID="{93A76BDB-B7D7-4D61-811C-204328479F0A}" presName="aSpace2" presStyleCnt="0"/>
      <dgm:spPr/>
      <dgm:t>
        <a:bodyPr/>
        <a:lstStyle/>
        <a:p>
          <a:endParaRPr lang="en-US"/>
        </a:p>
      </dgm:t>
    </dgm:pt>
    <dgm:pt modelId="{409D5A97-A940-4C56-A69C-C3F37287E813}" type="pres">
      <dgm:prSet presAssocID="{C9530658-058E-44BB-8CD3-C3AAAF9CDDBF}" presName="child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3426E8-58D3-4690-964B-31812D153C84}" type="pres">
      <dgm:prSet presAssocID="{E4BF7304-340B-4AA2-A4D2-D84ABF80DDBA}" presName="aSpace" presStyleCnt="0"/>
      <dgm:spPr/>
      <dgm:t>
        <a:bodyPr/>
        <a:lstStyle/>
        <a:p>
          <a:endParaRPr lang="en-US"/>
        </a:p>
      </dgm:t>
    </dgm:pt>
    <dgm:pt modelId="{CE32920E-3932-4CE3-B7F0-5212301EFDEE}" type="pres">
      <dgm:prSet presAssocID="{4B5F2B7E-5445-44CD-9C1D-79EC7CE77714}" presName="compNode" presStyleCnt="0"/>
      <dgm:spPr/>
      <dgm:t>
        <a:bodyPr/>
        <a:lstStyle/>
        <a:p>
          <a:endParaRPr lang="en-US"/>
        </a:p>
      </dgm:t>
    </dgm:pt>
    <dgm:pt modelId="{D9067006-DDF5-4B3F-8FF3-00F62CC966D8}" type="pres">
      <dgm:prSet presAssocID="{4B5F2B7E-5445-44CD-9C1D-79EC7CE77714}" presName="aNode" presStyleLbl="bgShp" presStyleIdx="1" presStyleCnt="2"/>
      <dgm:spPr/>
      <dgm:t>
        <a:bodyPr/>
        <a:lstStyle/>
        <a:p>
          <a:endParaRPr lang="en-US"/>
        </a:p>
      </dgm:t>
    </dgm:pt>
    <dgm:pt modelId="{FE4C0D55-60F9-45F5-B544-1ACC07FC2A48}" type="pres">
      <dgm:prSet presAssocID="{4B5F2B7E-5445-44CD-9C1D-79EC7CE77714}" presName="textNode" presStyleLbl="bgShp" presStyleIdx="1" presStyleCnt="2"/>
      <dgm:spPr/>
      <dgm:t>
        <a:bodyPr/>
        <a:lstStyle/>
        <a:p>
          <a:endParaRPr lang="en-US"/>
        </a:p>
      </dgm:t>
    </dgm:pt>
    <dgm:pt modelId="{111B21E8-753C-4FD3-94DF-C6A86D6A0AE4}" type="pres">
      <dgm:prSet presAssocID="{4B5F2B7E-5445-44CD-9C1D-79EC7CE77714}" presName="compChildNode" presStyleCnt="0"/>
      <dgm:spPr/>
      <dgm:t>
        <a:bodyPr/>
        <a:lstStyle/>
        <a:p>
          <a:endParaRPr lang="en-US"/>
        </a:p>
      </dgm:t>
    </dgm:pt>
    <dgm:pt modelId="{CB911461-D314-4909-A268-63DABCAC1A5C}" type="pres">
      <dgm:prSet presAssocID="{4B5F2B7E-5445-44CD-9C1D-79EC7CE77714}" presName="theInnerList" presStyleCnt="0"/>
      <dgm:spPr/>
      <dgm:t>
        <a:bodyPr/>
        <a:lstStyle/>
        <a:p>
          <a:endParaRPr lang="en-US"/>
        </a:p>
      </dgm:t>
    </dgm:pt>
    <dgm:pt modelId="{5EC410D4-32EC-4CC8-B3EE-17E22091E7EE}" type="pres">
      <dgm:prSet presAssocID="{B7FFA8EC-1E1E-4EA9-9C1E-58E27F09972A}" presName="childNode" presStyleLbl="node1" presStyleIdx="2" presStyleCnt="4" custScaleY="26168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69671E-BA54-4A74-8781-36B333644A22}" type="pres">
      <dgm:prSet presAssocID="{B7FFA8EC-1E1E-4EA9-9C1E-58E27F09972A}" presName="aSpace2" presStyleCnt="0"/>
      <dgm:spPr/>
      <dgm:t>
        <a:bodyPr/>
        <a:lstStyle/>
        <a:p>
          <a:endParaRPr lang="en-US"/>
        </a:p>
      </dgm:t>
    </dgm:pt>
    <dgm:pt modelId="{7E9383CF-6A72-4789-B497-83EFAB18CEE4}" type="pres">
      <dgm:prSet presAssocID="{F2AC8C5A-9FF3-49C2-885B-42292523E8E2}" presName="child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F1A21C2-76B9-4D8C-8ECD-4C91461D07C9}" srcId="{4B5F2B7E-5445-44CD-9C1D-79EC7CE77714}" destId="{B7FFA8EC-1E1E-4EA9-9C1E-58E27F09972A}" srcOrd="0" destOrd="0" parTransId="{028379C3-2A01-4469-A96E-93B6804A37F8}" sibTransId="{47C4D7DB-8B76-4F7F-8212-424D11EA3E1B}"/>
    <dgm:cxn modelId="{C14F78E7-6DA6-4931-88FF-A89BBCD8B419}" srcId="{90C2394E-C3BF-4F17-80E0-9495446699FA}" destId="{E4BF7304-340B-4AA2-A4D2-D84ABF80DDBA}" srcOrd="0" destOrd="0" parTransId="{31CF7C12-8C48-4759-93AD-369D49C835EB}" sibTransId="{8A2AAC0C-D801-4A7F-AB89-F879DF88E3AF}"/>
    <dgm:cxn modelId="{B124AD06-7A92-42C0-AEC7-28B1091EB1C5}" type="presOf" srcId="{E4BF7304-340B-4AA2-A4D2-D84ABF80DDBA}" destId="{8D6649DE-32BA-48FF-8342-26CC0BAD13F3}" srcOrd="0" destOrd="0" presId="urn:microsoft.com/office/officeart/2005/8/layout/lProcess2"/>
    <dgm:cxn modelId="{AC2961D1-4BE3-4E25-895D-F80EA34DCED0}" srcId="{E4BF7304-340B-4AA2-A4D2-D84ABF80DDBA}" destId="{C9530658-058E-44BB-8CD3-C3AAAF9CDDBF}" srcOrd="1" destOrd="0" parTransId="{E545444A-6A47-426B-B945-2F2EE26E267E}" sibTransId="{D6A33F20-E49A-427A-8E08-4F9E3B0A3229}"/>
    <dgm:cxn modelId="{54857058-006B-487A-B21A-89D594415E23}" type="presOf" srcId="{90C2394E-C3BF-4F17-80E0-9495446699FA}" destId="{17DFADA0-167B-4B91-BC91-E6E72C3CC672}" srcOrd="0" destOrd="0" presId="urn:microsoft.com/office/officeart/2005/8/layout/lProcess2"/>
    <dgm:cxn modelId="{36782E59-B874-4B1A-9E8D-EF1F8B0BFBC6}" type="presOf" srcId="{93A76BDB-B7D7-4D61-811C-204328479F0A}" destId="{1BF481B3-F3CE-4C18-A2A5-CF892F42E449}" srcOrd="0" destOrd="0" presId="urn:microsoft.com/office/officeart/2005/8/layout/lProcess2"/>
    <dgm:cxn modelId="{4A0ED1B7-F299-42E5-AB28-DFED602C8A30}" type="presOf" srcId="{B7FFA8EC-1E1E-4EA9-9C1E-58E27F09972A}" destId="{5EC410D4-32EC-4CC8-B3EE-17E22091E7EE}" srcOrd="0" destOrd="0" presId="urn:microsoft.com/office/officeart/2005/8/layout/lProcess2"/>
    <dgm:cxn modelId="{CCDE4BD1-BF1A-41F2-9B8C-57FFE575E320}" type="presOf" srcId="{4B5F2B7E-5445-44CD-9C1D-79EC7CE77714}" destId="{FE4C0D55-60F9-45F5-B544-1ACC07FC2A48}" srcOrd="1" destOrd="0" presId="urn:microsoft.com/office/officeart/2005/8/layout/lProcess2"/>
    <dgm:cxn modelId="{C8469DDD-A103-4267-B35D-1CBD544694BB}" srcId="{90C2394E-C3BF-4F17-80E0-9495446699FA}" destId="{4B5F2B7E-5445-44CD-9C1D-79EC7CE77714}" srcOrd="1" destOrd="0" parTransId="{0A8F2C73-764E-4FF8-8B38-80B121746F8B}" sibTransId="{5479D91F-7124-47C2-9902-C3D5098D2D57}"/>
    <dgm:cxn modelId="{71CF15DA-500D-4CD9-8773-D81B3CD08D6A}" srcId="{E4BF7304-340B-4AA2-A4D2-D84ABF80DDBA}" destId="{93A76BDB-B7D7-4D61-811C-204328479F0A}" srcOrd="0" destOrd="0" parTransId="{807B68A3-A755-4DD7-860F-FE1653F26418}" sibTransId="{C923E3EE-301C-418C-AD0F-0375C3085F1E}"/>
    <dgm:cxn modelId="{9A642473-5448-4013-B817-8022EC56577E}" srcId="{4B5F2B7E-5445-44CD-9C1D-79EC7CE77714}" destId="{F2AC8C5A-9FF3-49C2-885B-42292523E8E2}" srcOrd="1" destOrd="0" parTransId="{B1117D17-604F-4307-8945-970C370D927F}" sibTransId="{D261D862-1FBF-4B3D-90B8-2F773909840E}"/>
    <dgm:cxn modelId="{102D2FD1-C714-48E6-84A4-04EF01A1BC6F}" type="presOf" srcId="{4B5F2B7E-5445-44CD-9C1D-79EC7CE77714}" destId="{D9067006-DDF5-4B3F-8FF3-00F62CC966D8}" srcOrd="0" destOrd="0" presId="urn:microsoft.com/office/officeart/2005/8/layout/lProcess2"/>
    <dgm:cxn modelId="{61C284C9-EAB2-4187-BD94-F9DC58DA3DEE}" type="presOf" srcId="{F2AC8C5A-9FF3-49C2-885B-42292523E8E2}" destId="{7E9383CF-6A72-4789-B497-83EFAB18CEE4}" srcOrd="0" destOrd="0" presId="urn:microsoft.com/office/officeart/2005/8/layout/lProcess2"/>
    <dgm:cxn modelId="{A31A64A9-B293-45EB-A803-AC797FA5792C}" type="presOf" srcId="{C9530658-058E-44BB-8CD3-C3AAAF9CDDBF}" destId="{409D5A97-A940-4C56-A69C-C3F37287E813}" srcOrd="0" destOrd="0" presId="urn:microsoft.com/office/officeart/2005/8/layout/lProcess2"/>
    <dgm:cxn modelId="{DEB6AE9B-8E39-44A5-8613-7D4624D644E8}" type="presOf" srcId="{E4BF7304-340B-4AA2-A4D2-D84ABF80DDBA}" destId="{C5A2BAF7-39BD-4F74-9B79-205CE8006332}" srcOrd="1" destOrd="0" presId="urn:microsoft.com/office/officeart/2005/8/layout/lProcess2"/>
    <dgm:cxn modelId="{6FCE60B9-2980-4767-833A-318BBB23B807}" type="presParOf" srcId="{17DFADA0-167B-4B91-BC91-E6E72C3CC672}" destId="{A252F188-0D2C-4607-B7C1-EE56F2F9E35A}" srcOrd="0" destOrd="0" presId="urn:microsoft.com/office/officeart/2005/8/layout/lProcess2"/>
    <dgm:cxn modelId="{DBD74A07-B262-451D-915F-278C8351971A}" type="presParOf" srcId="{A252F188-0D2C-4607-B7C1-EE56F2F9E35A}" destId="{8D6649DE-32BA-48FF-8342-26CC0BAD13F3}" srcOrd="0" destOrd="0" presId="urn:microsoft.com/office/officeart/2005/8/layout/lProcess2"/>
    <dgm:cxn modelId="{E30E0C8C-7FF9-47A3-BF96-FF3EA0CBE85B}" type="presParOf" srcId="{A252F188-0D2C-4607-B7C1-EE56F2F9E35A}" destId="{C5A2BAF7-39BD-4F74-9B79-205CE8006332}" srcOrd="1" destOrd="0" presId="urn:microsoft.com/office/officeart/2005/8/layout/lProcess2"/>
    <dgm:cxn modelId="{C1AAAAD6-EF05-47FB-96C6-30FA81233BEF}" type="presParOf" srcId="{A252F188-0D2C-4607-B7C1-EE56F2F9E35A}" destId="{9A5C1186-E8E6-4FB0-9A34-CACC9D433105}" srcOrd="2" destOrd="0" presId="urn:microsoft.com/office/officeart/2005/8/layout/lProcess2"/>
    <dgm:cxn modelId="{2FE97CE4-8AA0-466E-BCED-2CCB1DACD3CC}" type="presParOf" srcId="{9A5C1186-E8E6-4FB0-9A34-CACC9D433105}" destId="{C4893313-40BE-4315-A20A-4A15CAB71751}" srcOrd="0" destOrd="0" presId="urn:microsoft.com/office/officeart/2005/8/layout/lProcess2"/>
    <dgm:cxn modelId="{F2BFC9C1-B113-4AB8-8475-9F8B1ACE6277}" type="presParOf" srcId="{C4893313-40BE-4315-A20A-4A15CAB71751}" destId="{1BF481B3-F3CE-4C18-A2A5-CF892F42E449}" srcOrd="0" destOrd="0" presId="urn:microsoft.com/office/officeart/2005/8/layout/lProcess2"/>
    <dgm:cxn modelId="{96D73F17-10D2-40FC-BF49-5A1DC26CFB9D}" type="presParOf" srcId="{C4893313-40BE-4315-A20A-4A15CAB71751}" destId="{8EF5C1F9-CDE9-449F-A4BD-0455DCBDC370}" srcOrd="1" destOrd="0" presId="urn:microsoft.com/office/officeart/2005/8/layout/lProcess2"/>
    <dgm:cxn modelId="{352A148B-2FE0-4565-B6F4-814FCA019568}" type="presParOf" srcId="{C4893313-40BE-4315-A20A-4A15CAB71751}" destId="{409D5A97-A940-4C56-A69C-C3F37287E813}" srcOrd="2" destOrd="0" presId="urn:microsoft.com/office/officeart/2005/8/layout/lProcess2"/>
    <dgm:cxn modelId="{B6834105-FB66-493B-9108-80D7E693B76D}" type="presParOf" srcId="{17DFADA0-167B-4B91-BC91-E6E72C3CC672}" destId="{C83426E8-58D3-4690-964B-31812D153C84}" srcOrd="1" destOrd="0" presId="urn:microsoft.com/office/officeart/2005/8/layout/lProcess2"/>
    <dgm:cxn modelId="{4E9328C5-FBA4-478D-B520-88CA281A2E9B}" type="presParOf" srcId="{17DFADA0-167B-4B91-BC91-E6E72C3CC672}" destId="{CE32920E-3932-4CE3-B7F0-5212301EFDEE}" srcOrd="2" destOrd="0" presId="urn:microsoft.com/office/officeart/2005/8/layout/lProcess2"/>
    <dgm:cxn modelId="{CA05BC36-EBD7-42E2-A050-4E5795ED06E0}" type="presParOf" srcId="{CE32920E-3932-4CE3-B7F0-5212301EFDEE}" destId="{D9067006-DDF5-4B3F-8FF3-00F62CC966D8}" srcOrd="0" destOrd="0" presId="urn:microsoft.com/office/officeart/2005/8/layout/lProcess2"/>
    <dgm:cxn modelId="{A3D59220-3B71-4FC2-B939-0A99DFEDE11E}" type="presParOf" srcId="{CE32920E-3932-4CE3-B7F0-5212301EFDEE}" destId="{FE4C0D55-60F9-45F5-B544-1ACC07FC2A48}" srcOrd="1" destOrd="0" presId="urn:microsoft.com/office/officeart/2005/8/layout/lProcess2"/>
    <dgm:cxn modelId="{FDF16AA2-E9A6-4786-AA4F-B279F1FBEA69}" type="presParOf" srcId="{CE32920E-3932-4CE3-B7F0-5212301EFDEE}" destId="{111B21E8-753C-4FD3-94DF-C6A86D6A0AE4}" srcOrd="2" destOrd="0" presId="urn:microsoft.com/office/officeart/2005/8/layout/lProcess2"/>
    <dgm:cxn modelId="{51FD0FAA-045D-4E32-8CC6-78AA1E153B5A}" type="presParOf" srcId="{111B21E8-753C-4FD3-94DF-C6A86D6A0AE4}" destId="{CB911461-D314-4909-A268-63DABCAC1A5C}" srcOrd="0" destOrd="0" presId="urn:microsoft.com/office/officeart/2005/8/layout/lProcess2"/>
    <dgm:cxn modelId="{9703191F-7DAB-478B-BF97-99D8A0B51908}" type="presParOf" srcId="{CB911461-D314-4909-A268-63DABCAC1A5C}" destId="{5EC410D4-32EC-4CC8-B3EE-17E22091E7EE}" srcOrd="0" destOrd="0" presId="urn:microsoft.com/office/officeart/2005/8/layout/lProcess2"/>
    <dgm:cxn modelId="{4EB33622-DA6B-49AD-98C1-1F467790CD41}" type="presParOf" srcId="{CB911461-D314-4909-A268-63DABCAC1A5C}" destId="{BB69671E-BA54-4A74-8781-36B333644A22}" srcOrd="1" destOrd="0" presId="urn:microsoft.com/office/officeart/2005/8/layout/lProcess2"/>
    <dgm:cxn modelId="{2DDA4AAD-369D-4157-95FE-8BFD8A8894C8}" type="presParOf" srcId="{CB911461-D314-4909-A268-63DABCAC1A5C}" destId="{7E9383CF-6A72-4789-B497-83EFAB18CEE4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28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C06B1A6-7B17-4AF4-AD6E-8B4DD90227BD}" type="doc">
      <dgm:prSet loTypeId="urn:microsoft.com/office/officeart/2005/8/layout/vList2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F036C673-D953-4764-962D-BD181A830860}">
      <dgm:prSet phldrT="[Text]"/>
      <dgm:spPr/>
      <dgm:t>
        <a:bodyPr/>
        <a:lstStyle/>
        <a:p>
          <a:r>
            <a:rPr lang="en-US" dirty="0" smtClean="0"/>
            <a:t>Liberty Mutual</a:t>
          </a:r>
          <a:endParaRPr lang="en-US" dirty="0"/>
        </a:p>
      </dgm:t>
    </dgm:pt>
    <dgm:pt modelId="{D2BF82FF-BA53-4080-BD07-EC0671B7D864}" type="parTrans" cxnId="{47EBE3BC-432E-40E7-8F5F-DBD954FC1823}">
      <dgm:prSet/>
      <dgm:spPr/>
      <dgm:t>
        <a:bodyPr/>
        <a:lstStyle/>
        <a:p>
          <a:endParaRPr lang="en-US"/>
        </a:p>
      </dgm:t>
    </dgm:pt>
    <dgm:pt modelId="{077DDF04-339F-4C90-9A0B-C191E70F1048}" type="sibTrans" cxnId="{47EBE3BC-432E-40E7-8F5F-DBD954FC1823}">
      <dgm:prSet/>
      <dgm:spPr/>
      <dgm:t>
        <a:bodyPr/>
        <a:lstStyle/>
        <a:p>
          <a:endParaRPr lang="en-US"/>
        </a:p>
      </dgm:t>
    </dgm:pt>
    <dgm:pt modelId="{DC98E520-D162-406C-9097-77FE2C68749A}">
      <dgm:prSet phldrT="[Text]"/>
      <dgm:spPr/>
      <dgm:t>
        <a:bodyPr/>
        <a:lstStyle/>
        <a:p>
          <a:r>
            <a:rPr lang="en-US" b="1" dirty="0" smtClean="0"/>
            <a:t>$11.1K </a:t>
          </a:r>
          <a:r>
            <a:rPr lang="en-US" dirty="0" smtClean="0"/>
            <a:t>in premiums</a:t>
          </a:r>
          <a:endParaRPr lang="en-US" dirty="0"/>
        </a:p>
      </dgm:t>
    </dgm:pt>
    <dgm:pt modelId="{5A4AEC49-A105-4296-AEF3-C1EB8A52CB67}" type="parTrans" cxnId="{A8D58CE6-5BDF-4E32-BCC6-171246692E8F}">
      <dgm:prSet/>
      <dgm:spPr/>
      <dgm:t>
        <a:bodyPr/>
        <a:lstStyle/>
        <a:p>
          <a:endParaRPr lang="en-US"/>
        </a:p>
      </dgm:t>
    </dgm:pt>
    <dgm:pt modelId="{58A3DBE1-217C-4768-8CF1-EB9B36CF1EFD}" type="sibTrans" cxnId="{A8D58CE6-5BDF-4E32-BCC6-171246692E8F}">
      <dgm:prSet/>
      <dgm:spPr/>
      <dgm:t>
        <a:bodyPr/>
        <a:lstStyle/>
        <a:p>
          <a:endParaRPr lang="en-US"/>
        </a:p>
      </dgm:t>
    </dgm:pt>
    <dgm:pt modelId="{D4D935BB-8B1A-47A4-976F-9582FC97A163}">
      <dgm:prSet phldrT="[Text]"/>
      <dgm:spPr/>
      <dgm:t>
        <a:bodyPr/>
        <a:lstStyle/>
        <a:p>
          <a:r>
            <a:rPr lang="en-US" dirty="0" smtClean="0"/>
            <a:t>New Bedford’s current provider</a:t>
          </a:r>
          <a:endParaRPr lang="en-US" dirty="0"/>
        </a:p>
      </dgm:t>
    </dgm:pt>
    <dgm:pt modelId="{87848480-114E-4054-8743-F0377C08F00A}" type="parTrans" cxnId="{790D1BFD-15FB-443B-A271-47BFC0D84411}">
      <dgm:prSet/>
      <dgm:spPr/>
      <dgm:t>
        <a:bodyPr/>
        <a:lstStyle/>
        <a:p>
          <a:endParaRPr lang="en-US"/>
        </a:p>
      </dgm:t>
    </dgm:pt>
    <dgm:pt modelId="{3BDBDD20-5031-44CB-9C3A-5152DF27FCD7}" type="sibTrans" cxnId="{790D1BFD-15FB-443B-A271-47BFC0D84411}">
      <dgm:prSet/>
      <dgm:spPr/>
      <dgm:t>
        <a:bodyPr/>
        <a:lstStyle/>
        <a:p>
          <a:endParaRPr lang="en-US"/>
        </a:p>
      </dgm:t>
    </dgm:pt>
    <dgm:pt modelId="{5005FEA6-6C3D-4467-A02E-4E8D8F3DDE13}">
      <dgm:prSet phldrT="[Text]"/>
      <dgm:spPr/>
      <dgm:t>
        <a:bodyPr/>
        <a:lstStyle/>
        <a:p>
          <a:r>
            <a:rPr lang="en-US" b="1" dirty="0" smtClean="0"/>
            <a:t>$13K </a:t>
          </a:r>
          <a:r>
            <a:rPr lang="en-US" dirty="0" smtClean="0"/>
            <a:t>in premiums</a:t>
          </a:r>
          <a:endParaRPr lang="en-US" dirty="0"/>
        </a:p>
      </dgm:t>
    </dgm:pt>
    <dgm:pt modelId="{35931937-A83C-4D1C-AAB9-8D6B2611F100}" type="parTrans" cxnId="{1AF34AA9-0B1D-460E-BD26-BC050BB10B4C}">
      <dgm:prSet/>
      <dgm:spPr/>
      <dgm:t>
        <a:bodyPr/>
        <a:lstStyle/>
        <a:p>
          <a:endParaRPr lang="en-US"/>
        </a:p>
      </dgm:t>
    </dgm:pt>
    <dgm:pt modelId="{BC1DF0E0-5713-4E17-8DFE-E8DBDB130667}" type="sibTrans" cxnId="{1AF34AA9-0B1D-460E-BD26-BC050BB10B4C}">
      <dgm:prSet/>
      <dgm:spPr/>
      <dgm:t>
        <a:bodyPr/>
        <a:lstStyle/>
        <a:p>
          <a:endParaRPr lang="en-US"/>
        </a:p>
      </dgm:t>
    </dgm:pt>
    <dgm:pt modelId="{C974F9DB-4520-454F-B7AB-CDFBC5CD4FB6}">
      <dgm:prSet phldrT="[Text]"/>
      <dgm:spPr/>
      <dgm:t>
        <a:bodyPr/>
        <a:lstStyle/>
        <a:p>
          <a:endParaRPr lang="en-US" dirty="0"/>
        </a:p>
      </dgm:t>
    </dgm:pt>
    <dgm:pt modelId="{499D5DA4-8CC2-4188-8F3F-6A450D17F4C0}" type="parTrans" cxnId="{62CDC203-6434-4DBF-BA3B-11688498A279}">
      <dgm:prSet/>
      <dgm:spPr/>
      <dgm:t>
        <a:bodyPr/>
        <a:lstStyle/>
        <a:p>
          <a:endParaRPr lang="en-US"/>
        </a:p>
      </dgm:t>
    </dgm:pt>
    <dgm:pt modelId="{BC9F8858-41F7-469C-A58E-2E616923C1E1}" type="sibTrans" cxnId="{62CDC203-6434-4DBF-BA3B-11688498A279}">
      <dgm:prSet/>
      <dgm:spPr/>
      <dgm:t>
        <a:bodyPr/>
        <a:lstStyle/>
        <a:p>
          <a:endParaRPr lang="en-US"/>
        </a:p>
      </dgm:t>
    </dgm:pt>
    <dgm:pt modelId="{27CA5DA0-07A7-4949-9109-0900AB35D5F9}">
      <dgm:prSet phldrT="[Text]"/>
      <dgm:spPr/>
      <dgm:t>
        <a:bodyPr/>
        <a:lstStyle/>
        <a:p>
          <a:r>
            <a:rPr lang="en-US" dirty="0" smtClean="0"/>
            <a:t>$2,500 per snow inch between </a:t>
          </a:r>
          <a:r>
            <a:rPr lang="en-US" b="1" dirty="0" smtClean="0"/>
            <a:t>55</a:t>
          </a:r>
          <a:r>
            <a:rPr lang="en-US" dirty="0" smtClean="0"/>
            <a:t> – 82 inches</a:t>
          </a:r>
          <a:endParaRPr lang="en-US" dirty="0"/>
        </a:p>
      </dgm:t>
    </dgm:pt>
    <dgm:pt modelId="{08D679B8-69B6-4889-972C-E41A620EE46A}" type="parTrans" cxnId="{AD26C8F5-DF47-46AB-BA8C-2AF582260A15}">
      <dgm:prSet/>
      <dgm:spPr/>
      <dgm:t>
        <a:bodyPr/>
        <a:lstStyle/>
        <a:p>
          <a:endParaRPr lang="en-US"/>
        </a:p>
      </dgm:t>
    </dgm:pt>
    <dgm:pt modelId="{F2BCEA08-D4AA-4343-8531-8DE1E9E0E95A}" type="sibTrans" cxnId="{AD26C8F5-DF47-46AB-BA8C-2AF582260A15}">
      <dgm:prSet/>
      <dgm:spPr/>
      <dgm:t>
        <a:bodyPr/>
        <a:lstStyle/>
        <a:p>
          <a:endParaRPr lang="en-US"/>
        </a:p>
      </dgm:t>
    </dgm:pt>
    <dgm:pt modelId="{EBC9B04F-CBC4-42F7-B928-61CE02C756AA}">
      <dgm:prSet phldrT="[Text]"/>
      <dgm:spPr/>
      <dgm:t>
        <a:bodyPr/>
        <a:lstStyle/>
        <a:p>
          <a:r>
            <a:rPr lang="en-US" dirty="0" smtClean="0"/>
            <a:t>ELR of 65%</a:t>
          </a:r>
          <a:endParaRPr lang="en-US" dirty="0"/>
        </a:p>
      </dgm:t>
    </dgm:pt>
    <dgm:pt modelId="{8701F811-954F-40FA-935C-D46C7ADC876B}" type="parTrans" cxnId="{EFC11BB2-008C-4330-9E35-CD5FF3F539A8}">
      <dgm:prSet/>
      <dgm:spPr/>
      <dgm:t>
        <a:bodyPr/>
        <a:lstStyle/>
        <a:p>
          <a:endParaRPr lang="en-US"/>
        </a:p>
      </dgm:t>
    </dgm:pt>
    <dgm:pt modelId="{5F105F0E-49C2-47D1-8B39-556A022407B6}" type="sibTrans" cxnId="{EFC11BB2-008C-4330-9E35-CD5FF3F539A8}">
      <dgm:prSet/>
      <dgm:spPr/>
      <dgm:t>
        <a:bodyPr/>
        <a:lstStyle/>
        <a:p>
          <a:endParaRPr lang="en-US"/>
        </a:p>
      </dgm:t>
    </dgm:pt>
    <dgm:pt modelId="{ED3EE1BE-0308-4AD8-B024-85EE051EFCA1}">
      <dgm:prSet phldrT="[Text]"/>
      <dgm:spPr/>
      <dgm:t>
        <a:bodyPr/>
        <a:lstStyle/>
        <a:p>
          <a:r>
            <a:rPr lang="en-US" dirty="0" smtClean="0"/>
            <a:t>$2,500 per snow inch above </a:t>
          </a:r>
          <a:r>
            <a:rPr lang="en-US" b="1" dirty="0" smtClean="0"/>
            <a:t>55</a:t>
          </a:r>
          <a:endParaRPr lang="en-US" b="1" dirty="0"/>
        </a:p>
      </dgm:t>
    </dgm:pt>
    <dgm:pt modelId="{61709B6C-C9E6-4DFC-BB7C-8C135E155BE4}" type="parTrans" cxnId="{91D47CAE-7ACD-4BFC-9711-8AEEA0C5C7F3}">
      <dgm:prSet/>
      <dgm:spPr/>
      <dgm:t>
        <a:bodyPr/>
        <a:lstStyle/>
        <a:p>
          <a:endParaRPr lang="en-US"/>
        </a:p>
      </dgm:t>
    </dgm:pt>
    <dgm:pt modelId="{7B8F9EBA-C232-415F-A15A-15F5C7EF7B4C}" type="sibTrans" cxnId="{91D47CAE-7ACD-4BFC-9711-8AEEA0C5C7F3}">
      <dgm:prSet/>
      <dgm:spPr/>
      <dgm:t>
        <a:bodyPr/>
        <a:lstStyle/>
        <a:p>
          <a:endParaRPr lang="en-US"/>
        </a:p>
      </dgm:t>
    </dgm:pt>
    <dgm:pt modelId="{14CE7232-5CC2-42BD-A6CA-FEB1588EB6DC}" type="pres">
      <dgm:prSet presAssocID="{FC06B1A6-7B17-4AF4-AD6E-8B4DD90227B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326D585-A32A-43D1-A153-F652B6866266}" type="pres">
      <dgm:prSet presAssocID="{F036C673-D953-4764-962D-BD181A830860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A55D107-3D3B-45C5-993F-AA9F893B94EC}" type="pres">
      <dgm:prSet presAssocID="{F036C673-D953-4764-962D-BD181A830860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4319BFB-69E2-4405-8835-457C08C6EB2B}" type="pres">
      <dgm:prSet presAssocID="{D4D935BB-8B1A-47A4-976F-9582FC97A163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065525-DFF2-4A7D-8CCD-E6A26C2F04C0}" type="pres">
      <dgm:prSet presAssocID="{D4D935BB-8B1A-47A4-976F-9582FC97A163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71EECC4-3033-4673-9A43-C4A83E5A1F09}" type="presOf" srcId="{27CA5DA0-07A7-4949-9109-0900AB35D5F9}" destId="{DA55D107-3D3B-45C5-993F-AA9F893B94EC}" srcOrd="0" destOrd="1" presId="urn:microsoft.com/office/officeart/2005/8/layout/vList2"/>
    <dgm:cxn modelId="{AD26C8F5-DF47-46AB-BA8C-2AF582260A15}" srcId="{F036C673-D953-4764-962D-BD181A830860}" destId="{27CA5DA0-07A7-4949-9109-0900AB35D5F9}" srcOrd="1" destOrd="0" parTransId="{08D679B8-69B6-4889-972C-E41A620EE46A}" sibTransId="{F2BCEA08-D4AA-4343-8531-8DE1E9E0E95A}"/>
    <dgm:cxn modelId="{0B045A86-3514-4220-B5AC-39DEE38A6ADF}" type="presOf" srcId="{F036C673-D953-4764-962D-BD181A830860}" destId="{9326D585-A32A-43D1-A153-F652B6866266}" srcOrd="0" destOrd="0" presId="urn:microsoft.com/office/officeart/2005/8/layout/vList2"/>
    <dgm:cxn modelId="{6337DCF4-33FC-4B3B-943F-89885F6D2FC4}" type="presOf" srcId="{EBC9B04F-CBC4-42F7-B928-61CE02C756AA}" destId="{DA55D107-3D3B-45C5-993F-AA9F893B94EC}" srcOrd="0" destOrd="2" presId="urn:microsoft.com/office/officeart/2005/8/layout/vList2"/>
    <dgm:cxn modelId="{055F978F-E73B-41EC-AB61-1DAD58DD6937}" type="presOf" srcId="{C974F9DB-4520-454F-B7AB-CDFBC5CD4FB6}" destId="{DA55D107-3D3B-45C5-993F-AA9F893B94EC}" srcOrd="0" destOrd="3" presId="urn:microsoft.com/office/officeart/2005/8/layout/vList2"/>
    <dgm:cxn modelId="{A8D58CE6-5BDF-4E32-BCC6-171246692E8F}" srcId="{F036C673-D953-4764-962D-BD181A830860}" destId="{DC98E520-D162-406C-9097-77FE2C68749A}" srcOrd="0" destOrd="0" parTransId="{5A4AEC49-A105-4296-AEF3-C1EB8A52CB67}" sibTransId="{58A3DBE1-217C-4768-8CF1-EB9B36CF1EFD}"/>
    <dgm:cxn modelId="{6BF464F5-B173-4D58-BC22-7FA78E6ABE51}" type="presOf" srcId="{FC06B1A6-7B17-4AF4-AD6E-8B4DD90227BD}" destId="{14CE7232-5CC2-42BD-A6CA-FEB1588EB6DC}" srcOrd="0" destOrd="0" presId="urn:microsoft.com/office/officeart/2005/8/layout/vList2"/>
    <dgm:cxn modelId="{91D47CAE-7ACD-4BFC-9711-8AEEA0C5C7F3}" srcId="{D4D935BB-8B1A-47A4-976F-9582FC97A163}" destId="{ED3EE1BE-0308-4AD8-B024-85EE051EFCA1}" srcOrd="1" destOrd="0" parTransId="{61709B6C-C9E6-4DFC-BB7C-8C135E155BE4}" sibTransId="{7B8F9EBA-C232-415F-A15A-15F5C7EF7B4C}"/>
    <dgm:cxn modelId="{EAE1BC82-C8DC-4EF6-99B9-A80B1B9EB496}" type="presOf" srcId="{DC98E520-D162-406C-9097-77FE2C68749A}" destId="{DA55D107-3D3B-45C5-993F-AA9F893B94EC}" srcOrd="0" destOrd="0" presId="urn:microsoft.com/office/officeart/2005/8/layout/vList2"/>
    <dgm:cxn modelId="{92FFECFA-611E-441A-BB56-F566926A1C1C}" type="presOf" srcId="{D4D935BB-8B1A-47A4-976F-9582FC97A163}" destId="{14319BFB-69E2-4405-8835-457C08C6EB2B}" srcOrd="0" destOrd="0" presId="urn:microsoft.com/office/officeart/2005/8/layout/vList2"/>
    <dgm:cxn modelId="{37638952-D00F-406E-81CA-BFAB777CF132}" type="presOf" srcId="{ED3EE1BE-0308-4AD8-B024-85EE051EFCA1}" destId="{FF065525-DFF2-4A7D-8CCD-E6A26C2F04C0}" srcOrd="0" destOrd="1" presId="urn:microsoft.com/office/officeart/2005/8/layout/vList2"/>
    <dgm:cxn modelId="{1AF34AA9-0B1D-460E-BD26-BC050BB10B4C}" srcId="{D4D935BB-8B1A-47A4-976F-9582FC97A163}" destId="{5005FEA6-6C3D-4467-A02E-4E8D8F3DDE13}" srcOrd="0" destOrd="0" parTransId="{35931937-A83C-4D1C-AAB9-8D6B2611F100}" sibTransId="{BC1DF0E0-5713-4E17-8DFE-E8DBDB130667}"/>
    <dgm:cxn modelId="{13B44F72-CB3F-4929-931F-03D1C27F9C9A}" type="presOf" srcId="{5005FEA6-6C3D-4467-A02E-4E8D8F3DDE13}" destId="{FF065525-DFF2-4A7D-8CCD-E6A26C2F04C0}" srcOrd="0" destOrd="0" presId="urn:microsoft.com/office/officeart/2005/8/layout/vList2"/>
    <dgm:cxn modelId="{EFC11BB2-008C-4330-9E35-CD5FF3F539A8}" srcId="{F036C673-D953-4764-962D-BD181A830860}" destId="{EBC9B04F-CBC4-42F7-B928-61CE02C756AA}" srcOrd="2" destOrd="0" parTransId="{8701F811-954F-40FA-935C-D46C7ADC876B}" sibTransId="{5F105F0E-49C2-47D1-8B39-556A022407B6}"/>
    <dgm:cxn modelId="{790D1BFD-15FB-443B-A271-47BFC0D84411}" srcId="{FC06B1A6-7B17-4AF4-AD6E-8B4DD90227BD}" destId="{D4D935BB-8B1A-47A4-976F-9582FC97A163}" srcOrd="1" destOrd="0" parTransId="{87848480-114E-4054-8743-F0377C08F00A}" sibTransId="{3BDBDD20-5031-44CB-9C3A-5152DF27FCD7}"/>
    <dgm:cxn modelId="{47EBE3BC-432E-40E7-8F5F-DBD954FC1823}" srcId="{FC06B1A6-7B17-4AF4-AD6E-8B4DD90227BD}" destId="{F036C673-D953-4764-962D-BD181A830860}" srcOrd="0" destOrd="0" parTransId="{D2BF82FF-BA53-4080-BD07-EC0671B7D864}" sibTransId="{077DDF04-339F-4C90-9A0B-C191E70F1048}"/>
    <dgm:cxn modelId="{62CDC203-6434-4DBF-BA3B-11688498A279}" srcId="{F036C673-D953-4764-962D-BD181A830860}" destId="{C974F9DB-4520-454F-B7AB-CDFBC5CD4FB6}" srcOrd="3" destOrd="0" parTransId="{499D5DA4-8CC2-4188-8F3F-6A450D17F4C0}" sibTransId="{BC9F8858-41F7-469C-A58E-2E616923C1E1}"/>
    <dgm:cxn modelId="{6076917E-ACD9-468B-9F21-373961031656}" type="presParOf" srcId="{14CE7232-5CC2-42BD-A6CA-FEB1588EB6DC}" destId="{9326D585-A32A-43D1-A153-F652B6866266}" srcOrd="0" destOrd="0" presId="urn:microsoft.com/office/officeart/2005/8/layout/vList2"/>
    <dgm:cxn modelId="{60426ECF-CEF2-4C3B-BA58-3A9442B7ABBA}" type="presParOf" srcId="{14CE7232-5CC2-42BD-A6CA-FEB1588EB6DC}" destId="{DA55D107-3D3B-45C5-993F-AA9F893B94EC}" srcOrd="1" destOrd="0" presId="urn:microsoft.com/office/officeart/2005/8/layout/vList2"/>
    <dgm:cxn modelId="{720E8F2C-3706-4316-BF59-BA4078C7BD1C}" type="presParOf" srcId="{14CE7232-5CC2-42BD-A6CA-FEB1588EB6DC}" destId="{14319BFB-69E2-4405-8835-457C08C6EB2B}" srcOrd="2" destOrd="0" presId="urn:microsoft.com/office/officeart/2005/8/layout/vList2"/>
    <dgm:cxn modelId="{D512F9E9-1F45-4A46-8062-D9835BA3BE5F}" type="presParOf" srcId="{14CE7232-5CC2-42BD-A6CA-FEB1588EB6DC}" destId="{FF065525-DFF2-4A7D-8CCD-E6A26C2F04C0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7E006EA7-901B-4C10-9DB7-2FBA760F98B8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AD768460-20AB-4AD7-AE6F-4C50FC5014F0}">
      <dgm:prSet phldrT="[Text]" custT="1"/>
      <dgm:spPr/>
      <dgm:t>
        <a:bodyPr/>
        <a:lstStyle/>
        <a:p>
          <a:r>
            <a:rPr lang="en-US" sz="1600" dirty="0" err="1" smtClean="0"/>
            <a:t>Chema</a:t>
          </a:r>
          <a:r>
            <a:rPr lang="en-US" sz="1600" dirty="0" smtClean="0"/>
            <a:t> Luengo</a:t>
          </a:r>
        </a:p>
      </dgm:t>
    </dgm:pt>
    <dgm:pt modelId="{043C7CF7-BA9F-4AE8-8D97-3FCA26C53062}" type="parTrans" cxnId="{7DF229F3-96CA-4EEC-BD9B-F298B37E49F1}">
      <dgm:prSet/>
      <dgm:spPr/>
      <dgm:t>
        <a:bodyPr/>
        <a:lstStyle/>
        <a:p>
          <a:endParaRPr lang="en-US" sz="1600"/>
        </a:p>
      </dgm:t>
    </dgm:pt>
    <dgm:pt modelId="{E9BBC7E8-ED37-4A83-BCFE-ACE0AFCA35F6}" type="sibTrans" cxnId="{7DF229F3-96CA-4EEC-BD9B-F298B37E49F1}">
      <dgm:prSet/>
      <dgm:spPr/>
      <dgm:t>
        <a:bodyPr/>
        <a:lstStyle/>
        <a:p>
          <a:endParaRPr lang="en-US" sz="1600"/>
        </a:p>
      </dgm:t>
    </dgm:pt>
    <dgm:pt modelId="{069C7ADD-9824-40C7-AB76-EE4AEA8BE81A}">
      <dgm:prSet phldrT="[Text]" custT="1"/>
      <dgm:spPr/>
      <dgm:t>
        <a:bodyPr/>
        <a:lstStyle/>
        <a:p>
          <a:r>
            <a:rPr lang="en-US" sz="1600" dirty="0" smtClean="0"/>
            <a:t>Jacob Auchincloss</a:t>
          </a:r>
          <a:endParaRPr lang="en-US" sz="1600" dirty="0"/>
        </a:p>
      </dgm:t>
    </dgm:pt>
    <dgm:pt modelId="{BA0DC3A2-0C93-4C7E-B69C-FC3E2CB4D7DD}" type="parTrans" cxnId="{4368DD99-1E11-45D9-8D75-4785C218DA0F}">
      <dgm:prSet/>
      <dgm:spPr/>
      <dgm:t>
        <a:bodyPr/>
        <a:lstStyle/>
        <a:p>
          <a:endParaRPr lang="en-US" sz="1600"/>
        </a:p>
      </dgm:t>
    </dgm:pt>
    <dgm:pt modelId="{40889AD2-6435-4613-91F5-0F8665BB8272}" type="sibTrans" cxnId="{4368DD99-1E11-45D9-8D75-4785C218DA0F}">
      <dgm:prSet/>
      <dgm:spPr/>
      <dgm:t>
        <a:bodyPr/>
        <a:lstStyle/>
        <a:p>
          <a:endParaRPr lang="en-US" sz="1600"/>
        </a:p>
      </dgm:t>
    </dgm:pt>
    <dgm:pt modelId="{EDF5FD8E-1843-4847-844A-0E68BA44998F}">
      <dgm:prSet phldrT="[Text]" custT="1"/>
      <dgm:spPr/>
      <dgm:t>
        <a:bodyPr/>
        <a:lstStyle/>
        <a:p>
          <a:r>
            <a:rPr lang="en-US" sz="1600" dirty="0" smtClean="0"/>
            <a:t>Robert Elliott</a:t>
          </a:r>
          <a:endParaRPr lang="en-US" sz="1600" dirty="0"/>
        </a:p>
      </dgm:t>
    </dgm:pt>
    <dgm:pt modelId="{8A50B6DC-802E-4329-8C2A-B18C2605B201}" type="parTrans" cxnId="{D1E74259-C7AA-44A2-B3F0-1FFBC5BAD749}">
      <dgm:prSet/>
      <dgm:spPr/>
      <dgm:t>
        <a:bodyPr/>
        <a:lstStyle/>
        <a:p>
          <a:endParaRPr lang="en-US" sz="1600"/>
        </a:p>
      </dgm:t>
    </dgm:pt>
    <dgm:pt modelId="{EA66A27C-2775-4701-90D0-56FCD3AE355C}" type="sibTrans" cxnId="{D1E74259-C7AA-44A2-B3F0-1FFBC5BAD749}">
      <dgm:prSet/>
      <dgm:spPr/>
      <dgm:t>
        <a:bodyPr/>
        <a:lstStyle/>
        <a:p>
          <a:endParaRPr lang="en-US" sz="1600"/>
        </a:p>
      </dgm:t>
    </dgm:pt>
    <dgm:pt modelId="{F61D938C-8BCD-439F-9867-360F1F1525BC}">
      <dgm:prSet phldrT="[Text]" custT="1"/>
      <dgm:spPr/>
      <dgm:t>
        <a:bodyPr/>
        <a:lstStyle/>
        <a:p>
          <a:r>
            <a:rPr lang="en-US" sz="1600" dirty="0" smtClean="0"/>
            <a:t>Scott </a:t>
          </a:r>
          <a:r>
            <a:rPr lang="en-US" sz="1600" dirty="0" err="1" smtClean="0"/>
            <a:t>Gorlin</a:t>
          </a:r>
          <a:endParaRPr lang="en-US" sz="1600" dirty="0"/>
        </a:p>
      </dgm:t>
    </dgm:pt>
    <dgm:pt modelId="{BB2B0902-331D-4BE5-8D3D-A1E007F24A4F}" type="parTrans" cxnId="{FCEEF0B9-7D86-46B7-94B6-A0AF650CE3C4}">
      <dgm:prSet/>
      <dgm:spPr/>
      <dgm:t>
        <a:bodyPr/>
        <a:lstStyle/>
        <a:p>
          <a:endParaRPr lang="en-US" sz="1600"/>
        </a:p>
      </dgm:t>
    </dgm:pt>
    <dgm:pt modelId="{AA2F0839-C712-4E98-ABA9-ECCE6F4EC100}" type="sibTrans" cxnId="{FCEEF0B9-7D86-46B7-94B6-A0AF650CE3C4}">
      <dgm:prSet/>
      <dgm:spPr/>
      <dgm:t>
        <a:bodyPr/>
        <a:lstStyle/>
        <a:p>
          <a:endParaRPr lang="en-US" sz="1600"/>
        </a:p>
      </dgm:t>
    </dgm:pt>
    <dgm:pt modelId="{AF8BB900-2E33-4308-8B59-314A93E8459A}">
      <dgm:prSet phldrT="[Text]" custT="1"/>
      <dgm:spPr/>
      <dgm:t>
        <a:bodyPr/>
        <a:lstStyle/>
        <a:p>
          <a:r>
            <a:rPr lang="en-US" sz="1600" baseline="0" dirty="0" smtClean="0"/>
            <a:t>William Ma</a:t>
          </a:r>
          <a:endParaRPr lang="en-US" sz="1600" dirty="0" smtClean="0"/>
        </a:p>
      </dgm:t>
    </dgm:pt>
    <dgm:pt modelId="{2401D6DF-D2D2-444B-A718-CD500A68F000}" type="parTrans" cxnId="{1B7E0E29-E293-4F9D-9BD3-8D19AABEE302}">
      <dgm:prSet/>
      <dgm:spPr/>
      <dgm:t>
        <a:bodyPr/>
        <a:lstStyle/>
        <a:p>
          <a:endParaRPr lang="en-US" sz="1600"/>
        </a:p>
      </dgm:t>
    </dgm:pt>
    <dgm:pt modelId="{D3570984-875B-4CD8-8E38-CA94DC1C66D6}" type="sibTrans" cxnId="{1B7E0E29-E293-4F9D-9BD3-8D19AABEE302}">
      <dgm:prSet/>
      <dgm:spPr/>
      <dgm:t>
        <a:bodyPr/>
        <a:lstStyle/>
        <a:p>
          <a:endParaRPr lang="en-US" sz="1600"/>
        </a:p>
      </dgm:t>
    </dgm:pt>
    <dgm:pt modelId="{78EBBD20-0D1E-4320-9212-756A989F7173}">
      <dgm:prSet phldrT="[Text]" custT="1"/>
      <dgm:spPr/>
      <dgm:t>
        <a:bodyPr/>
        <a:lstStyle/>
        <a:p>
          <a:r>
            <a:rPr lang="en-US" sz="1600" dirty="0" smtClean="0"/>
            <a:t>Se Jin</a:t>
          </a:r>
          <a:r>
            <a:rPr lang="en-US" sz="1600" baseline="0" dirty="0" smtClean="0"/>
            <a:t> Park</a:t>
          </a:r>
          <a:endParaRPr lang="en-US" sz="1600" dirty="0"/>
        </a:p>
      </dgm:t>
    </dgm:pt>
    <dgm:pt modelId="{E1320E65-8BA5-4CE5-8324-FCA37DC018A9}" type="parTrans" cxnId="{04F9B540-8371-4C80-9C96-850A2420B455}">
      <dgm:prSet/>
      <dgm:spPr/>
      <dgm:t>
        <a:bodyPr/>
        <a:lstStyle/>
        <a:p>
          <a:endParaRPr lang="en-US" sz="1600"/>
        </a:p>
      </dgm:t>
    </dgm:pt>
    <dgm:pt modelId="{C575F2DF-468A-4890-BF73-033BBA3AB284}" type="sibTrans" cxnId="{04F9B540-8371-4C80-9C96-850A2420B455}">
      <dgm:prSet/>
      <dgm:spPr/>
      <dgm:t>
        <a:bodyPr/>
        <a:lstStyle/>
        <a:p>
          <a:endParaRPr lang="en-US" sz="1600"/>
        </a:p>
      </dgm:t>
    </dgm:pt>
    <dgm:pt modelId="{2184C2AB-7B1A-463D-A950-51D6944E38AA}">
      <dgm:prSet phldrT="[Text]" custT="1"/>
      <dgm:spPr/>
      <dgm:t>
        <a:bodyPr/>
        <a:lstStyle/>
        <a:p>
          <a:r>
            <a:rPr lang="en-US" sz="1600" dirty="0" smtClean="0"/>
            <a:t>Brenton </a:t>
          </a:r>
          <a:r>
            <a:rPr lang="en-US" sz="1600" dirty="0" err="1" smtClean="0"/>
            <a:t>Sellati</a:t>
          </a:r>
          <a:endParaRPr lang="en-US" sz="1600" dirty="0"/>
        </a:p>
      </dgm:t>
    </dgm:pt>
    <dgm:pt modelId="{A84492AC-ADE2-4F93-B294-C7E008652462}" type="parTrans" cxnId="{4CD8948E-0972-415E-BD21-E27D9F2B1B1B}">
      <dgm:prSet/>
      <dgm:spPr/>
      <dgm:t>
        <a:bodyPr/>
        <a:lstStyle/>
        <a:p>
          <a:endParaRPr lang="en-US" sz="1600"/>
        </a:p>
      </dgm:t>
    </dgm:pt>
    <dgm:pt modelId="{15EDAED1-9CC4-406D-8894-3717B0E4A9AA}" type="sibTrans" cxnId="{4CD8948E-0972-415E-BD21-E27D9F2B1B1B}">
      <dgm:prSet/>
      <dgm:spPr/>
      <dgm:t>
        <a:bodyPr/>
        <a:lstStyle/>
        <a:p>
          <a:endParaRPr lang="en-US" sz="1600"/>
        </a:p>
      </dgm:t>
    </dgm:pt>
    <dgm:pt modelId="{A6394B5C-1335-44ED-8E43-6115A09683FD}">
      <dgm:prSet phldrT="[Text]" custT="1"/>
      <dgm:spPr/>
      <dgm:t>
        <a:bodyPr/>
        <a:lstStyle/>
        <a:p>
          <a:r>
            <a:rPr lang="en-US" sz="1600" dirty="0" smtClean="0"/>
            <a:t>Chelsea Patel</a:t>
          </a:r>
          <a:endParaRPr lang="en-US" sz="1600" dirty="0"/>
        </a:p>
      </dgm:t>
    </dgm:pt>
    <dgm:pt modelId="{3C70CCB1-4F68-4898-B0D2-FF4EBE807CB3}" type="sibTrans" cxnId="{95DCBBF4-1251-452E-9FD5-E18C9E4E94E0}">
      <dgm:prSet/>
      <dgm:spPr/>
      <dgm:t>
        <a:bodyPr/>
        <a:lstStyle/>
        <a:p>
          <a:endParaRPr lang="en-US" sz="1600"/>
        </a:p>
      </dgm:t>
    </dgm:pt>
    <dgm:pt modelId="{91089EFE-291D-4D8B-BE79-2C98E57B7402}" type="parTrans" cxnId="{95DCBBF4-1251-452E-9FD5-E18C9E4E94E0}">
      <dgm:prSet/>
      <dgm:spPr/>
      <dgm:t>
        <a:bodyPr/>
        <a:lstStyle/>
        <a:p>
          <a:endParaRPr lang="en-US" sz="1600"/>
        </a:p>
      </dgm:t>
    </dgm:pt>
    <dgm:pt modelId="{BB329C8E-1064-4A9D-9F52-C05CC4B01F79}">
      <dgm:prSet phldrT="[Text]" custT="1"/>
      <dgm:spPr/>
      <dgm:t>
        <a:bodyPr/>
        <a:lstStyle/>
        <a:p>
          <a:r>
            <a:rPr lang="en-US" sz="1600" dirty="0" smtClean="0"/>
            <a:t>Kelsie</a:t>
          </a:r>
          <a:r>
            <a:rPr lang="en-US" sz="1600" baseline="0" dirty="0" smtClean="0"/>
            <a:t> Marr</a:t>
          </a:r>
          <a:endParaRPr lang="en-US" sz="1600" dirty="0"/>
        </a:p>
      </dgm:t>
    </dgm:pt>
    <dgm:pt modelId="{F69AA11D-51E9-460D-9836-D65CB0FA979D}" type="parTrans" cxnId="{56210527-3EA7-463A-86C1-9535B2D5E5B3}">
      <dgm:prSet/>
      <dgm:spPr/>
      <dgm:t>
        <a:bodyPr/>
        <a:lstStyle/>
        <a:p>
          <a:endParaRPr lang="en-US"/>
        </a:p>
      </dgm:t>
    </dgm:pt>
    <dgm:pt modelId="{85B48204-5B31-4746-ACA7-095961FEC454}" type="sibTrans" cxnId="{56210527-3EA7-463A-86C1-9535B2D5E5B3}">
      <dgm:prSet/>
      <dgm:spPr/>
      <dgm:t>
        <a:bodyPr/>
        <a:lstStyle/>
        <a:p>
          <a:endParaRPr lang="en-US"/>
        </a:p>
      </dgm:t>
    </dgm:pt>
    <dgm:pt modelId="{538C51B9-107A-4EC2-9DF0-C0BC0F91366C}" type="pres">
      <dgm:prSet presAssocID="{7E006EA7-901B-4C10-9DB7-2FBA760F98B8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BD0C870-46DF-4EBA-922A-78DFE65A3768}" type="pres">
      <dgm:prSet presAssocID="{AF8BB900-2E33-4308-8B59-314A93E8459A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A0835D6-6208-412F-9C6F-B38210732F45}" type="pres">
      <dgm:prSet presAssocID="{D3570984-875B-4CD8-8E38-CA94DC1C66D6}" presName="sibTrans" presStyleCnt="0"/>
      <dgm:spPr/>
    </dgm:pt>
    <dgm:pt modelId="{BF1DFA1C-5769-490B-95D0-2ACD5BD3D06A}" type="pres">
      <dgm:prSet presAssocID="{AD768460-20AB-4AD7-AE6F-4C50FC5014F0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430AFF7-4568-4630-AA82-98D67854D227}" type="pres">
      <dgm:prSet presAssocID="{E9BBC7E8-ED37-4A83-BCFE-ACE0AFCA35F6}" presName="sibTrans" presStyleCnt="0"/>
      <dgm:spPr/>
    </dgm:pt>
    <dgm:pt modelId="{46D588A7-FFA8-4768-875E-81A3A774233A}" type="pres">
      <dgm:prSet presAssocID="{069C7ADD-9824-40C7-AB76-EE4AEA8BE81A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A6088DC-32FE-4D9C-B683-352DBEF72584}" type="pres">
      <dgm:prSet presAssocID="{40889AD2-6435-4613-91F5-0F8665BB8272}" presName="sibTrans" presStyleCnt="0"/>
      <dgm:spPr/>
    </dgm:pt>
    <dgm:pt modelId="{190274CF-B18B-432F-822B-50F6A5C395DC}" type="pres">
      <dgm:prSet presAssocID="{78EBBD20-0D1E-4320-9212-756A989F7173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6FA4BA-B169-454F-B5FC-69720BC68043}" type="pres">
      <dgm:prSet presAssocID="{C575F2DF-468A-4890-BF73-033BBA3AB284}" presName="sibTrans" presStyleCnt="0"/>
      <dgm:spPr/>
    </dgm:pt>
    <dgm:pt modelId="{9F2B423E-E617-4460-82E5-31146757A533}" type="pres">
      <dgm:prSet presAssocID="{EDF5FD8E-1843-4847-844A-0E68BA44998F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2B3B764-033F-408A-B255-92B474F1F097}" type="pres">
      <dgm:prSet presAssocID="{EA66A27C-2775-4701-90D0-56FCD3AE355C}" presName="sibTrans" presStyleCnt="0"/>
      <dgm:spPr/>
    </dgm:pt>
    <dgm:pt modelId="{B487D4CE-E5F4-4586-A659-B662A3F38D08}" type="pres">
      <dgm:prSet presAssocID="{F61D938C-8BCD-439F-9867-360F1F1525BC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C19335-5B93-494B-B35D-F22CB4FBE796}" type="pres">
      <dgm:prSet presAssocID="{AA2F0839-C712-4E98-ABA9-ECCE6F4EC100}" presName="sibTrans" presStyleCnt="0"/>
      <dgm:spPr/>
    </dgm:pt>
    <dgm:pt modelId="{11270E06-C1F9-4A2E-99B1-D542E79517E5}" type="pres">
      <dgm:prSet presAssocID="{2184C2AB-7B1A-463D-A950-51D6944E38AA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2ADDD0B-20A5-42F0-9E80-7F8DD1FF06D9}" type="pres">
      <dgm:prSet presAssocID="{15EDAED1-9CC4-406D-8894-3717B0E4A9AA}" presName="sibTrans" presStyleCnt="0"/>
      <dgm:spPr/>
    </dgm:pt>
    <dgm:pt modelId="{2E97BD64-4E22-4255-B112-7D9B8E6FFEA7}" type="pres">
      <dgm:prSet presAssocID="{A6394B5C-1335-44ED-8E43-6115A09683FD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1D3080-FAA0-44E3-ABD4-5575542B4492}" type="pres">
      <dgm:prSet presAssocID="{3C70CCB1-4F68-4898-B0D2-FF4EBE807CB3}" presName="sibTrans" presStyleCnt="0"/>
      <dgm:spPr/>
    </dgm:pt>
    <dgm:pt modelId="{7E219026-A3B6-4815-9988-B027A706331C}" type="pres">
      <dgm:prSet presAssocID="{BB329C8E-1064-4A9D-9F52-C05CC4B01F79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DF229F3-96CA-4EEC-BD9B-F298B37E49F1}" srcId="{7E006EA7-901B-4C10-9DB7-2FBA760F98B8}" destId="{AD768460-20AB-4AD7-AE6F-4C50FC5014F0}" srcOrd="1" destOrd="0" parTransId="{043C7CF7-BA9F-4AE8-8D97-3FCA26C53062}" sibTransId="{E9BBC7E8-ED37-4A83-BCFE-ACE0AFCA35F6}"/>
    <dgm:cxn modelId="{1B7E0E29-E293-4F9D-9BD3-8D19AABEE302}" srcId="{7E006EA7-901B-4C10-9DB7-2FBA760F98B8}" destId="{AF8BB900-2E33-4308-8B59-314A93E8459A}" srcOrd="0" destOrd="0" parTransId="{2401D6DF-D2D2-444B-A718-CD500A68F000}" sibTransId="{D3570984-875B-4CD8-8E38-CA94DC1C66D6}"/>
    <dgm:cxn modelId="{D9354DAF-482B-4064-BC2A-BBC419B633E2}" type="presOf" srcId="{7E006EA7-901B-4C10-9DB7-2FBA760F98B8}" destId="{538C51B9-107A-4EC2-9DF0-C0BC0F91366C}" srcOrd="0" destOrd="0" presId="urn:microsoft.com/office/officeart/2005/8/layout/default"/>
    <dgm:cxn modelId="{922A046C-88C5-49C5-A5AD-F9EC3AE5AAAC}" type="presOf" srcId="{BB329C8E-1064-4A9D-9F52-C05CC4B01F79}" destId="{7E219026-A3B6-4815-9988-B027A706331C}" srcOrd="0" destOrd="0" presId="urn:microsoft.com/office/officeart/2005/8/layout/default"/>
    <dgm:cxn modelId="{C46E6AE3-AF18-4B77-A7E8-BA541F50E023}" type="presOf" srcId="{F61D938C-8BCD-439F-9867-360F1F1525BC}" destId="{B487D4CE-E5F4-4586-A659-B662A3F38D08}" srcOrd="0" destOrd="0" presId="urn:microsoft.com/office/officeart/2005/8/layout/default"/>
    <dgm:cxn modelId="{B5B7D2C6-F3CD-4F28-B109-DFA4ACBFF114}" type="presOf" srcId="{A6394B5C-1335-44ED-8E43-6115A09683FD}" destId="{2E97BD64-4E22-4255-B112-7D9B8E6FFEA7}" srcOrd="0" destOrd="0" presId="urn:microsoft.com/office/officeart/2005/8/layout/default"/>
    <dgm:cxn modelId="{4CD8948E-0972-415E-BD21-E27D9F2B1B1B}" srcId="{7E006EA7-901B-4C10-9DB7-2FBA760F98B8}" destId="{2184C2AB-7B1A-463D-A950-51D6944E38AA}" srcOrd="6" destOrd="0" parTransId="{A84492AC-ADE2-4F93-B294-C7E008652462}" sibTransId="{15EDAED1-9CC4-406D-8894-3717B0E4A9AA}"/>
    <dgm:cxn modelId="{FCEEF0B9-7D86-46B7-94B6-A0AF650CE3C4}" srcId="{7E006EA7-901B-4C10-9DB7-2FBA760F98B8}" destId="{F61D938C-8BCD-439F-9867-360F1F1525BC}" srcOrd="5" destOrd="0" parTransId="{BB2B0902-331D-4BE5-8D3D-A1E007F24A4F}" sibTransId="{AA2F0839-C712-4E98-ABA9-ECCE6F4EC100}"/>
    <dgm:cxn modelId="{E3B5A20F-6A17-4241-A277-085835E1F1B8}" type="presOf" srcId="{EDF5FD8E-1843-4847-844A-0E68BA44998F}" destId="{9F2B423E-E617-4460-82E5-31146757A533}" srcOrd="0" destOrd="0" presId="urn:microsoft.com/office/officeart/2005/8/layout/default"/>
    <dgm:cxn modelId="{4368DD99-1E11-45D9-8D75-4785C218DA0F}" srcId="{7E006EA7-901B-4C10-9DB7-2FBA760F98B8}" destId="{069C7ADD-9824-40C7-AB76-EE4AEA8BE81A}" srcOrd="2" destOrd="0" parTransId="{BA0DC3A2-0C93-4C7E-B69C-FC3E2CB4D7DD}" sibTransId="{40889AD2-6435-4613-91F5-0F8665BB8272}"/>
    <dgm:cxn modelId="{04F9B540-8371-4C80-9C96-850A2420B455}" srcId="{7E006EA7-901B-4C10-9DB7-2FBA760F98B8}" destId="{78EBBD20-0D1E-4320-9212-756A989F7173}" srcOrd="3" destOrd="0" parTransId="{E1320E65-8BA5-4CE5-8324-FCA37DC018A9}" sibTransId="{C575F2DF-468A-4890-BF73-033BBA3AB284}"/>
    <dgm:cxn modelId="{863BEA7A-AFCE-489C-BA6D-0B8907AFB56A}" type="presOf" srcId="{78EBBD20-0D1E-4320-9212-756A989F7173}" destId="{190274CF-B18B-432F-822B-50F6A5C395DC}" srcOrd="0" destOrd="0" presId="urn:microsoft.com/office/officeart/2005/8/layout/default"/>
    <dgm:cxn modelId="{DB23EC56-8864-4F0E-84A4-CC05C03F6DED}" type="presOf" srcId="{AD768460-20AB-4AD7-AE6F-4C50FC5014F0}" destId="{BF1DFA1C-5769-490B-95D0-2ACD5BD3D06A}" srcOrd="0" destOrd="0" presId="urn:microsoft.com/office/officeart/2005/8/layout/default"/>
    <dgm:cxn modelId="{B6422C8F-366D-4840-9862-8652527987D2}" type="presOf" srcId="{2184C2AB-7B1A-463D-A950-51D6944E38AA}" destId="{11270E06-C1F9-4A2E-99B1-D542E79517E5}" srcOrd="0" destOrd="0" presId="urn:microsoft.com/office/officeart/2005/8/layout/default"/>
    <dgm:cxn modelId="{D1E74259-C7AA-44A2-B3F0-1FFBC5BAD749}" srcId="{7E006EA7-901B-4C10-9DB7-2FBA760F98B8}" destId="{EDF5FD8E-1843-4847-844A-0E68BA44998F}" srcOrd="4" destOrd="0" parTransId="{8A50B6DC-802E-4329-8C2A-B18C2605B201}" sibTransId="{EA66A27C-2775-4701-90D0-56FCD3AE355C}"/>
    <dgm:cxn modelId="{95DCBBF4-1251-452E-9FD5-E18C9E4E94E0}" srcId="{7E006EA7-901B-4C10-9DB7-2FBA760F98B8}" destId="{A6394B5C-1335-44ED-8E43-6115A09683FD}" srcOrd="7" destOrd="0" parTransId="{91089EFE-291D-4D8B-BE79-2C98E57B7402}" sibTransId="{3C70CCB1-4F68-4898-B0D2-FF4EBE807CB3}"/>
    <dgm:cxn modelId="{56210527-3EA7-463A-86C1-9535B2D5E5B3}" srcId="{7E006EA7-901B-4C10-9DB7-2FBA760F98B8}" destId="{BB329C8E-1064-4A9D-9F52-C05CC4B01F79}" srcOrd="8" destOrd="0" parTransId="{F69AA11D-51E9-460D-9836-D65CB0FA979D}" sibTransId="{85B48204-5B31-4746-ACA7-095961FEC454}"/>
    <dgm:cxn modelId="{AD77EA4F-39E5-4E7A-9766-D2AB2146D09B}" type="presOf" srcId="{069C7ADD-9824-40C7-AB76-EE4AEA8BE81A}" destId="{46D588A7-FFA8-4768-875E-81A3A774233A}" srcOrd="0" destOrd="0" presId="urn:microsoft.com/office/officeart/2005/8/layout/default"/>
    <dgm:cxn modelId="{CEDFF5A8-3576-4E72-B643-2B119F8F49C6}" type="presOf" srcId="{AF8BB900-2E33-4308-8B59-314A93E8459A}" destId="{9BD0C870-46DF-4EBA-922A-78DFE65A3768}" srcOrd="0" destOrd="0" presId="urn:microsoft.com/office/officeart/2005/8/layout/default"/>
    <dgm:cxn modelId="{8D076F61-FEBC-437C-BB53-F172354700F2}" type="presParOf" srcId="{538C51B9-107A-4EC2-9DF0-C0BC0F91366C}" destId="{9BD0C870-46DF-4EBA-922A-78DFE65A3768}" srcOrd="0" destOrd="0" presId="urn:microsoft.com/office/officeart/2005/8/layout/default"/>
    <dgm:cxn modelId="{3A86ECA4-759A-48AA-8039-801D395858AC}" type="presParOf" srcId="{538C51B9-107A-4EC2-9DF0-C0BC0F91366C}" destId="{1A0835D6-6208-412F-9C6F-B38210732F45}" srcOrd="1" destOrd="0" presId="urn:microsoft.com/office/officeart/2005/8/layout/default"/>
    <dgm:cxn modelId="{8C32AA28-9A52-45B0-B619-91E530C63C40}" type="presParOf" srcId="{538C51B9-107A-4EC2-9DF0-C0BC0F91366C}" destId="{BF1DFA1C-5769-490B-95D0-2ACD5BD3D06A}" srcOrd="2" destOrd="0" presId="urn:microsoft.com/office/officeart/2005/8/layout/default"/>
    <dgm:cxn modelId="{CFE00631-A062-4C2B-AFED-74DD4E886864}" type="presParOf" srcId="{538C51B9-107A-4EC2-9DF0-C0BC0F91366C}" destId="{1430AFF7-4568-4630-AA82-98D67854D227}" srcOrd="3" destOrd="0" presId="urn:microsoft.com/office/officeart/2005/8/layout/default"/>
    <dgm:cxn modelId="{1810390B-833B-4649-8C36-28A6CDE0B809}" type="presParOf" srcId="{538C51B9-107A-4EC2-9DF0-C0BC0F91366C}" destId="{46D588A7-FFA8-4768-875E-81A3A774233A}" srcOrd="4" destOrd="0" presId="urn:microsoft.com/office/officeart/2005/8/layout/default"/>
    <dgm:cxn modelId="{A7B82B9A-879A-415A-943A-505638AACEA0}" type="presParOf" srcId="{538C51B9-107A-4EC2-9DF0-C0BC0F91366C}" destId="{3A6088DC-32FE-4D9C-B683-352DBEF72584}" srcOrd="5" destOrd="0" presId="urn:microsoft.com/office/officeart/2005/8/layout/default"/>
    <dgm:cxn modelId="{D1BC2F5D-80C7-4E04-A4C5-35E004593A12}" type="presParOf" srcId="{538C51B9-107A-4EC2-9DF0-C0BC0F91366C}" destId="{190274CF-B18B-432F-822B-50F6A5C395DC}" srcOrd="6" destOrd="0" presId="urn:microsoft.com/office/officeart/2005/8/layout/default"/>
    <dgm:cxn modelId="{C0C3D8B1-47D4-4AD0-8FF2-7268DBEE811D}" type="presParOf" srcId="{538C51B9-107A-4EC2-9DF0-C0BC0F91366C}" destId="{BB6FA4BA-B169-454F-B5FC-69720BC68043}" srcOrd="7" destOrd="0" presId="urn:microsoft.com/office/officeart/2005/8/layout/default"/>
    <dgm:cxn modelId="{C79DCA16-DB25-485F-A976-5084254F6372}" type="presParOf" srcId="{538C51B9-107A-4EC2-9DF0-C0BC0F91366C}" destId="{9F2B423E-E617-4460-82E5-31146757A533}" srcOrd="8" destOrd="0" presId="urn:microsoft.com/office/officeart/2005/8/layout/default"/>
    <dgm:cxn modelId="{B899BF8E-10C1-4F28-9BF1-12CDCD84AF04}" type="presParOf" srcId="{538C51B9-107A-4EC2-9DF0-C0BC0F91366C}" destId="{E2B3B764-033F-408A-B255-92B474F1F097}" srcOrd="9" destOrd="0" presId="urn:microsoft.com/office/officeart/2005/8/layout/default"/>
    <dgm:cxn modelId="{8F5FFC05-18BB-4D15-AC0A-020353DD4FB4}" type="presParOf" srcId="{538C51B9-107A-4EC2-9DF0-C0BC0F91366C}" destId="{B487D4CE-E5F4-4586-A659-B662A3F38D08}" srcOrd="10" destOrd="0" presId="urn:microsoft.com/office/officeart/2005/8/layout/default"/>
    <dgm:cxn modelId="{B17B035C-73FB-4D65-AF29-3C525C63E8FD}" type="presParOf" srcId="{538C51B9-107A-4EC2-9DF0-C0BC0F91366C}" destId="{91C19335-5B93-494B-B35D-F22CB4FBE796}" srcOrd="11" destOrd="0" presId="urn:microsoft.com/office/officeart/2005/8/layout/default"/>
    <dgm:cxn modelId="{7D8B1CDD-89B4-4A74-9E5B-37545B4C6A86}" type="presParOf" srcId="{538C51B9-107A-4EC2-9DF0-C0BC0F91366C}" destId="{11270E06-C1F9-4A2E-99B1-D542E79517E5}" srcOrd="12" destOrd="0" presId="urn:microsoft.com/office/officeart/2005/8/layout/default"/>
    <dgm:cxn modelId="{84F23B1F-4C2B-4448-BCA8-6562A4FA3CBF}" type="presParOf" srcId="{538C51B9-107A-4EC2-9DF0-C0BC0F91366C}" destId="{F2ADDD0B-20A5-42F0-9E80-7F8DD1FF06D9}" srcOrd="13" destOrd="0" presId="urn:microsoft.com/office/officeart/2005/8/layout/default"/>
    <dgm:cxn modelId="{485D6050-FF08-4584-8F7B-5CA06E845B0C}" type="presParOf" srcId="{538C51B9-107A-4EC2-9DF0-C0BC0F91366C}" destId="{2E97BD64-4E22-4255-B112-7D9B8E6FFEA7}" srcOrd="14" destOrd="0" presId="urn:microsoft.com/office/officeart/2005/8/layout/default"/>
    <dgm:cxn modelId="{B7DFD743-0F4B-4647-B418-1CB947C8FCEF}" type="presParOf" srcId="{538C51B9-107A-4EC2-9DF0-C0BC0F91366C}" destId="{791D3080-FAA0-44E3-ABD4-5575542B4492}" srcOrd="15" destOrd="0" presId="urn:microsoft.com/office/officeart/2005/8/layout/default"/>
    <dgm:cxn modelId="{D1C7C2BB-E549-4D55-B868-62BFF4E80F77}" type="presParOf" srcId="{538C51B9-107A-4EC2-9DF0-C0BC0F91366C}" destId="{7E219026-A3B6-4815-9988-B027A706331C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A0B277FA-3DCA-4B12-AA92-C06C3298C223}" type="doc">
      <dgm:prSet loTypeId="urn:microsoft.com/office/officeart/2005/8/layout/chevron1" loCatId="process" qsTypeId="urn:microsoft.com/office/officeart/2005/8/quickstyle/simple1" qsCatId="simple" csTypeId="urn:microsoft.com/office/officeart/2005/8/colors/accent2_2" csCatId="accent2" phldr="1"/>
      <dgm:spPr/>
    </dgm:pt>
    <dgm:pt modelId="{A6E776F8-BDC2-422E-B2D3-CF0FBE4F0C6A}">
      <dgm:prSet phldrT="[Text]" custT="1"/>
      <dgm:spPr>
        <a:ln w="19050">
          <a:noFill/>
        </a:ln>
      </dgm:spPr>
      <dgm:t>
        <a:bodyPr/>
        <a:lstStyle/>
        <a:p>
          <a:r>
            <a:rPr lang="en-US" sz="1000" b="0" i="0" dirty="0" smtClean="0"/>
            <a:t>A Job-to-be-Done is stable over time </a:t>
          </a:r>
          <a:endParaRPr lang="en-US" sz="1000" b="0" dirty="0">
            <a:latin typeface="+mj-lt"/>
            <a:cs typeface="Calibri" panose="020F0502020204030204" pitchFamily="34" charset="0"/>
          </a:endParaRPr>
        </a:p>
      </dgm:t>
    </dgm:pt>
    <dgm:pt modelId="{E7117A03-66BE-47E7-B17A-6F73D58F9D6B}" type="parTrans" cxnId="{91A83E53-C971-420F-871C-D5D0CF7B724B}">
      <dgm:prSet/>
      <dgm:spPr/>
      <dgm:t>
        <a:bodyPr/>
        <a:lstStyle/>
        <a:p>
          <a:endParaRPr lang="en-US" sz="1600" b="0">
            <a:latin typeface="+mj-lt"/>
            <a:cs typeface="Calibri" panose="020F0502020204030204" pitchFamily="34" charset="0"/>
          </a:endParaRPr>
        </a:p>
      </dgm:t>
    </dgm:pt>
    <dgm:pt modelId="{1B199E0C-6ED0-4CC1-930F-2B2DEA6821DF}" type="sibTrans" cxnId="{91A83E53-C971-420F-871C-D5D0CF7B724B}">
      <dgm:prSet/>
      <dgm:spPr/>
      <dgm:t>
        <a:bodyPr/>
        <a:lstStyle/>
        <a:p>
          <a:endParaRPr lang="en-US" sz="1600" b="0">
            <a:latin typeface="+mj-lt"/>
            <a:cs typeface="Calibri" panose="020F0502020204030204" pitchFamily="34" charset="0"/>
          </a:endParaRPr>
        </a:p>
      </dgm:t>
    </dgm:pt>
    <dgm:pt modelId="{E3212DC3-F8C4-4DA8-86A4-6C20D0AE1160}">
      <dgm:prSet phldrT="[Text]" custT="1"/>
      <dgm:spPr>
        <a:ln w="57150">
          <a:noFill/>
          <a:prstDash val="sysDash"/>
        </a:ln>
      </dgm:spPr>
      <dgm:t>
        <a:bodyPr/>
        <a:lstStyle/>
        <a:p>
          <a:r>
            <a:rPr lang="en-US" sz="1000" b="0" i="0" dirty="0" smtClean="0"/>
            <a:t>Make “job” the unit of analysis</a:t>
          </a:r>
          <a:endParaRPr lang="en-US" sz="1000" b="0" dirty="0">
            <a:latin typeface="+mj-lt"/>
            <a:cs typeface="Calibri" panose="020F0502020204030204" pitchFamily="34" charset="0"/>
          </a:endParaRPr>
        </a:p>
      </dgm:t>
    </dgm:pt>
    <dgm:pt modelId="{60AEDDDF-48D7-4373-8ABD-0911E2208A5A}" type="parTrans" cxnId="{28735FA3-061C-47B5-B63B-EB0A1BE0CA67}">
      <dgm:prSet/>
      <dgm:spPr/>
      <dgm:t>
        <a:bodyPr/>
        <a:lstStyle/>
        <a:p>
          <a:endParaRPr lang="en-US" sz="1600" b="0">
            <a:latin typeface="+mj-lt"/>
            <a:cs typeface="Calibri" panose="020F0502020204030204" pitchFamily="34" charset="0"/>
          </a:endParaRPr>
        </a:p>
      </dgm:t>
    </dgm:pt>
    <dgm:pt modelId="{2E490333-6E04-4D94-A726-771BC1BE4E06}" type="sibTrans" cxnId="{28735FA3-061C-47B5-B63B-EB0A1BE0CA67}">
      <dgm:prSet/>
      <dgm:spPr/>
      <dgm:t>
        <a:bodyPr/>
        <a:lstStyle/>
        <a:p>
          <a:endParaRPr lang="en-US" sz="1600" b="0">
            <a:latin typeface="+mj-lt"/>
            <a:cs typeface="Calibri" panose="020F0502020204030204" pitchFamily="34" charset="0"/>
          </a:endParaRPr>
        </a:p>
      </dgm:t>
    </dgm:pt>
    <dgm:pt modelId="{93391DD0-444A-4091-8C36-1524A1DB8A26}">
      <dgm:prSet phldrT="[Text]" custT="1"/>
      <dgm:spPr>
        <a:ln>
          <a:noFill/>
        </a:ln>
      </dgm:spPr>
      <dgm:t>
        <a:bodyPr/>
        <a:lstStyle/>
        <a:p>
          <a:r>
            <a:rPr lang="en-US" sz="1000" b="0" i="0" dirty="0" smtClean="0"/>
            <a:t>People want  to get job done better/cheaper</a:t>
          </a:r>
          <a:endParaRPr lang="en-US" sz="1000" b="0" dirty="0">
            <a:latin typeface="+mj-lt"/>
            <a:cs typeface="Calibri" panose="020F0502020204030204" pitchFamily="34" charset="0"/>
          </a:endParaRPr>
        </a:p>
      </dgm:t>
    </dgm:pt>
    <dgm:pt modelId="{97CFC865-50F7-4E27-8EF1-564C10C388B5}" type="parTrans" cxnId="{20281FB8-F7EC-483C-A431-C5BE633680D5}">
      <dgm:prSet/>
      <dgm:spPr/>
      <dgm:t>
        <a:bodyPr/>
        <a:lstStyle/>
        <a:p>
          <a:endParaRPr lang="en-US" sz="1600" b="0">
            <a:latin typeface="+mj-lt"/>
            <a:cs typeface="Calibri" panose="020F0502020204030204" pitchFamily="34" charset="0"/>
          </a:endParaRPr>
        </a:p>
      </dgm:t>
    </dgm:pt>
    <dgm:pt modelId="{80DD8ADC-4072-48B5-A009-B5101B5591A9}" type="sibTrans" cxnId="{20281FB8-F7EC-483C-A431-C5BE633680D5}">
      <dgm:prSet/>
      <dgm:spPr/>
      <dgm:t>
        <a:bodyPr/>
        <a:lstStyle/>
        <a:p>
          <a:endParaRPr lang="en-US" sz="1600" b="0">
            <a:latin typeface="+mj-lt"/>
            <a:cs typeface="Calibri" panose="020F0502020204030204" pitchFamily="34" charset="0"/>
          </a:endParaRPr>
        </a:p>
      </dgm:t>
    </dgm:pt>
    <dgm:pt modelId="{9A31502E-05F8-4F87-8E1A-F3A339A0C700}">
      <dgm:prSet phldrT="[Text]" custT="1"/>
      <dgm:spPr>
        <a:ln>
          <a:noFill/>
        </a:ln>
      </dgm:spPr>
      <dgm:t>
        <a:bodyPr/>
        <a:lstStyle/>
        <a:p>
          <a:r>
            <a:rPr lang="en-US" sz="1000" b="0" i="0" dirty="0" smtClean="0"/>
            <a:t>A Job-to-be-Done is solution agnostic</a:t>
          </a:r>
          <a:endParaRPr lang="en-US" sz="1000" b="0" dirty="0">
            <a:latin typeface="+mj-lt"/>
            <a:cs typeface="Calibri" panose="020F0502020204030204" pitchFamily="34" charset="0"/>
          </a:endParaRPr>
        </a:p>
      </dgm:t>
    </dgm:pt>
    <dgm:pt modelId="{8F4C55D2-2A1B-4374-84E8-19A1A435DD21}" type="parTrans" cxnId="{79630578-FF19-4926-992C-B986CA58B757}">
      <dgm:prSet/>
      <dgm:spPr/>
      <dgm:t>
        <a:bodyPr/>
        <a:lstStyle/>
        <a:p>
          <a:endParaRPr lang="en-US" sz="1600" b="0">
            <a:latin typeface="+mj-lt"/>
            <a:cs typeface="Calibri" panose="020F0502020204030204" pitchFamily="34" charset="0"/>
          </a:endParaRPr>
        </a:p>
      </dgm:t>
    </dgm:pt>
    <dgm:pt modelId="{79C95BBE-9862-4C6F-8165-37AC873517AC}" type="sibTrans" cxnId="{79630578-FF19-4926-992C-B986CA58B757}">
      <dgm:prSet/>
      <dgm:spPr/>
      <dgm:t>
        <a:bodyPr/>
        <a:lstStyle/>
        <a:p>
          <a:endParaRPr lang="en-US" sz="1600" b="0">
            <a:latin typeface="+mj-lt"/>
            <a:cs typeface="Calibri" panose="020F0502020204030204" pitchFamily="34" charset="0"/>
          </a:endParaRPr>
        </a:p>
      </dgm:t>
    </dgm:pt>
    <dgm:pt modelId="{69FA6A27-0B57-4829-9CDA-84DA371658A7}">
      <dgm:prSet phldrT="[Text]" custT="1"/>
      <dgm:spPr>
        <a:ln w="57150">
          <a:noFill/>
          <a:prstDash val="sysDash"/>
        </a:ln>
      </dgm:spPr>
      <dgm:t>
        <a:bodyPr/>
        <a:lstStyle/>
        <a:p>
          <a:r>
            <a:rPr lang="en-US" sz="1000" b="0" dirty="0" smtClean="0">
              <a:latin typeface="+mj-lt"/>
              <a:cs typeface="Calibri" panose="020F0502020204030204" pitchFamily="34" charset="0"/>
            </a:rPr>
            <a:t>Defining</a:t>
          </a:r>
          <a:r>
            <a:rPr lang="en-US" sz="1000" b="0" baseline="0" dirty="0" smtClean="0">
              <a:latin typeface="+mj-lt"/>
              <a:cs typeface="Calibri" panose="020F0502020204030204" pitchFamily="34" charset="0"/>
            </a:rPr>
            <a:t> a Job</a:t>
          </a:r>
          <a:endParaRPr lang="en-US" sz="1000" b="0" dirty="0">
            <a:latin typeface="+mj-lt"/>
            <a:cs typeface="Calibri" panose="020F0502020204030204" pitchFamily="34" charset="0"/>
          </a:endParaRPr>
        </a:p>
      </dgm:t>
    </dgm:pt>
    <dgm:pt modelId="{D12E3541-CF80-4695-BD58-9AAE7CC2B93A}" type="parTrans" cxnId="{91FB2324-33AE-4B6F-9B88-FB3EA51DA5C8}">
      <dgm:prSet/>
      <dgm:spPr/>
      <dgm:t>
        <a:bodyPr/>
        <a:lstStyle/>
        <a:p>
          <a:endParaRPr lang="en-US" sz="1600" b="0"/>
        </a:p>
      </dgm:t>
    </dgm:pt>
    <dgm:pt modelId="{94B62CFC-3059-49EF-AF18-D067B9576E5B}" type="sibTrans" cxnId="{91FB2324-33AE-4B6F-9B88-FB3EA51DA5C8}">
      <dgm:prSet/>
      <dgm:spPr/>
      <dgm:t>
        <a:bodyPr/>
        <a:lstStyle/>
        <a:p>
          <a:endParaRPr lang="en-US" sz="1600" b="0"/>
        </a:p>
      </dgm:t>
    </dgm:pt>
    <dgm:pt modelId="{B2591909-86E8-4E87-831D-343E082D833D}">
      <dgm:prSet phldrT="[Text]" custT="1"/>
      <dgm:spPr>
        <a:ln w="19050">
          <a:noFill/>
        </a:ln>
      </dgm:spPr>
      <dgm:t>
        <a:bodyPr/>
        <a:lstStyle/>
        <a:p>
          <a:r>
            <a:rPr lang="en-US" sz="1000" b="0" i="0" dirty="0" smtClean="0"/>
            <a:t>Jobs have emotional and social faces</a:t>
          </a:r>
          <a:endParaRPr lang="en-US" sz="1000" b="0" dirty="0">
            <a:latin typeface="+mj-lt"/>
            <a:cs typeface="Calibri" panose="020F0502020204030204" pitchFamily="34" charset="0"/>
          </a:endParaRPr>
        </a:p>
      </dgm:t>
    </dgm:pt>
    <dgm:pt modelId="{567B8E1E-5A7B-4E99-9744-0DEE3C637569}" type="parTrans" cxnId="{EA4B8F24-53DA-4D56-8D5F-9F15C045FE2F}">
      <dgm:prSet/>
      <dgm:spPr/>
      <dgm:t>
        <a:bodyPr/>
        <a:lstStyle/>
        <a:p>
          <a:endParaRPr lang="en-US" sz="1600" b="0"/>
        </a:p>
      </dgm:t>
    </dgm:pt>
    <dgm:pt modelId="{A7F06FB8-0FDF-49DE-9F79-D2BEA7CA290B}" type="sibTrans" cxnId="{EA4B8F24-53DA-4D56-8D5F-9F15C045FE2F}">
      <dgm:prSet/>
      <dgm:spPr/>
      <dgm:t>
        <a:bodyPr/>
        <a:lstStyle/>
        <a:p>
          <a:endParaRPr lang="en-US" sz="1600" b="0"/>
        </a:p>
      </dgm:t>
    </dgm:pt>
    <dgm:pt modelId="{9990172C-86AF-466B-BF96-DD87D57F788E}" type="pres">
      <dgm:prSet presAssocID="{A0B277FA-3DCA-4B12-AA92-C06C3298C223}" presName="Name0" presStyleCnt="0">
        <dgm:presLayoutVars>
          <dgm:dir/>
          <dgm:animLvl val="lvl"/>
          <dgm:resizeHandles val="exact"/>
        </dgm:presLayoutVars>
      </dgm:prSet>
      <dgm:spPr/>
    </dgm:pt>
    <dgm:pt modelId="{100FE0A6-75B1-4CD8-9248-F71B57CBF283}" type="pres">
      <dgm:prSet presAssocID="{69FA6A27-0B57-4829-9CDA-84DA371658A7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83C2FB-6DE9-4BE4-A54D-B084EE376112}" type="pres">
      <dgm:prSet presAssocID="{94B62CFC-3059-49EF-AF18-D067B9576E5B}" presName="parTxOnlySpace" presStyleCnt="0"/>
      <dgm:spPr/>
    </dgm:pt>
    <dgm:pt modelId="{51C18CA2-7E7C-447D-8EDC-9D64B25F4F64}" type="pres">
      <dgm:prSet presAssocID="{B2591909-86E8-4E87-831D-343E082D833D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7D10751-00F9-4576-BC35-171843C0C4F0}" type="pres">
      <dgm:prSet presAssocID="{A7F06FB8-0FDF-49DE-9F79-D2BEA7CA290B}" presName="parTxOnlySpace" presStyleCnt="0"/>
      <dgm:spPr/>
    </dgm:pt>
    <dgm:pt modelId="{9DE7C047-E4B9-467E-98AE-2D1FA04702A2}" type="pres">
      <dgm:prSet presAssocID="{A6E776F8-BDC2-422E-B2D3-CF0FBE4F0C6A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DD3BDA-5BBF-4B5E-9B53-1114E00A8FC3}" type="pres">
      <dgm:prSet presAssocID="{1B199E0C-6ED0-4CC1-930F-2B2DEA6821DF}" presName="parTxOnlySpace" presStyleCnt="0"/>
      <dgm:spPr/>
    </dgm:pt>
    <dgm:pt modelId="{09F6DDF4-D555-4163-B1F7-7B3062673D00}" type="pres">
      <dgm:prSet presAssocID="{E3212DC3-F8C4-4DA8-86A4-6C20D0AE1160}" presName="parTxOnly" presStyleLbl="node1" presStyleIdx="3" presStyleCnt="6" custLinFactX="81170" custLinFactNeighborX="100000" custLinFactNeighborY="112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2D59C5-6DC0-456B-9083-C07C4CC8687F}" type="pres">
      <dgm:prSet presAssocID="{2E490333-6E04-4D94-A726-771BC1BE4E06}" presName="parTxOnlySpace" presStyleCnt="0"/>
      <dgm:spPr/>
    </dgm:pt>
    <dgm:pt modelId="{3898DD45-7300-4CBB-A212-FBE3469B520D}" type="pres">
      <dgm:prSet presAssocID="{93391DD0-444A-4091-8C36-1524A1DB8A26}" presName="parTxOnly" presStyleLbl="node1" presStyleIdx="4" presStyleCnt="6" custLinFactX="81245" custLinFactNeighborX="100000" custLinFactNeighborY="-258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0DF3121-4272-438F-B1D9-CEA9D1CCCB1C}" type="pres">
      <dgm:prSet presAssocID="{80DD8ADC-4072-48B5-A009-B5101B5591A9}" presName="parTxOnlySpace" presStyleCnt="0"/>
      <dgm:spPr/>
    </dgm:pt>
    <dgm:pt modelId="{FE1C540D-718F-41BC-9300-2BCF28872E8D}" type="pres">
      <dgm:prSet presAssocID="{9A31502E-05F8-4F87-8E1A-F3A339A0C700}" presName="parTxOnly" presStyleLbl="node1" presStyleIdx="5" presStyleCnt="6" custLinFactX="-159742" custLinFactNeighborX="-200000" custLinFactNeighborY="-258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4094A6A-F073-400D-AC15-8FA9D76F4664}" type="presOf" srcId="{93391DD0-444A-4091-8C36-1524A1DB8A26}" destId="{3898DD45-7300-4CBB-A212-FBE3469B520D}" srcOrd="0" destOrd="0" presId="urn:microsoft.com/office/officeart/2005/8/layout/chevron1"/>
    <dgm:cxn modelId="{79630578-FF19-4926-992C-B986CA58B757}" srcId="{A0B277FA-3DCA-4B12-AA92-C06C3298C223}" destId="{9A31502E-05F8-4F87-8E1A-F3A339A0C700}" srcOrd="5" destOrd="0" parTransId="{8F4C55D2-2A1B-4374-84E8-19A1A435DD21}" sibTransId="{79C95BBE-9862-4C6F-8165-37AC873517AC}"/>
    <dgm:cxn modelId="{A59E8928-866D-4459-A17C-7FECF2B769CD}" type="presOf" srcId="{B2591909-86E8-4E87-831D-343E082D833D}" destId="{51C18CA2-7E7C-447D-8EDC-9D64B25F4F64}" srcOrd="0" destOrd="0" presId="urn:microsoft.com/office/officeart/2005/8/layout/chevron1"/>
    <dgm:cxn modelId="{91FB2324-33AE-4B6F-9B88-FB3EA51DA5C8}" srcId="{A0B277FA-3DCA-4B12-AA92-C06C3298C223}" destId="{69FA6A27-0B57-4829-9CDA-84DA371658A7}" srcOrd="0" destOrd="0" parTransId="{D12E3541-CF80-4695-BD58-9AAE7CC2B93A}" sibTransId="{94B62CFC-3059-49EF-AF18-D067B9576E5B}"/>
    <dgm:cxn modelId="{20281FB8-F7EC-483C-A431-C5BE633680D5}" srcId="{A0B277FA-3DCA-4B12-AA92-C06C3298C223}" destId="{93391DD0-444A-4091-8C36-1524A1DB8A26}" srcOrd="4" destOrd="0" parTransId="{97CFC865-50F7-4E27-8EF1-564C10C388B5}" sibTransId="{80DD8ADC-4072-48B5-A009-B5101B5591A9}"/>
    <dgm:cxn modelId="{EA4B8F24-53DA-4D56-8D5F-9F15C045FE2F}" srcId="{A0B277FA-3DCA-4B12-AA92-C06C3298C223}" destId="{B2591909-86E8-4E87-831D-343E082D833D}" srcOrd="1" destOrd="0" parTransId="{567B8E1E-5A7B-4E99-9744-0DEE3C637569}" sibTransId="{A7F06FB8-0FDF-49DE-9F79-D2BEA7CA290B}"/>
    <dgm:cxn modelId="{28735FA3-061C-47B5-B63B-EB0A1BE0CA67}" srcId="{A0B277FA-3DCA-4B12-AA92-C06C3298C223}" destId="{E3212DC3-F8C4-4DA8-86A4-6C20D0AE1160}" srcOrd="3" destOrd="0" parTransId="{60AEDDDF-48D7-4373-8ABD-0911E2208A5A}" sibTransId="{2E490333-6E04-4D94-A726-771BC1BE4E06}"/>
    <dgm:cxn modelId="{91A83E53-C971-420F-871C-D5D0CF7B724B}" srcId="{A0B277FA-3DCA-4B12-AA92-C06C3298C223}" destId="{A6E776F8-BDC2-422E-B2D3-CF0FBE4F0C6A}" srcOrd="2" destOrd="0" parTransId="{E7117A03-66BE-47E7-B17A-6F73D58F9D6B}" sibTransId="{1B199E0C-6ED0-4CC1-930F-2B2DEA6821DF}"/>
    <dgm:cxn modelId="{473F5F18-B3DD-421B-ADE6-52F8FC736C7A}" type="presOf" srcId="{A6E776F8-BDC2-422E-B2D3-CF0FBE4F0C6A}" destId="{9DE7C047-E4B9-467E-98AE-2D1FA04702A2}" srcOrd="0" destOrd="0" presId="urn:microsoft.com/office/officeart/2005/8/layout/chevron1"/>
    <dgm:cxn modelId="{15220AAE-074C-49C4-BB38-9F62911DB3F8}" type="presOf" srcId="{9A31502E-05F8-4F87-8E1A-F3A339A0C700}" destId="{FE1C540D-718F-41BC-9300-2BCF28872E8D}" srcOrd="0" destOrd="0" presId="urn:microsoft.com/office/officeart/2005/8/layout/chevron1"/>
    <dgm:cxn modelId="{F644706D-C116-4E68-9C08-994BE56B1E8D}" type="presOf" srcId="{69FA6A27-0B57-4829-9CDA-84DA371658A7}" destId="{100FE0A6-75B1-4CD8-9248-F71B57CBF283}" srcOrd="0" destOrd="0" presId="urn:microsoft.com/office/officeart/2005/8/layout/chevron1"/>
    <dgm:cxn modelId="{EF161C70-81CE-47C5-B19B-579E8A4C8C4B}" type="presOf" srcId="{E3212DC3-F8C4-4DA8-86A4-6C20D0AE1160}" destId="{09F6DDF4-D555-4163-B1F7-7B3062673D00}" srcOrd="0" destOrd="0" presId="urn:microsoft.com/office/officeart/2005/8/layout/chevron1"/>
    <dgm:cxn modelId="{FFAE3BD3-F9B6-45F0-843B-7A1D7C2C8268}" type="presOf" srcId="{A0B277FA-3DCA-4B12-AA92-C06C3298C223}" destId="{9990172C-86AF-466B-BF96-DD87D57F788E}" srcOrd="0" destOrd="0" presId="urn:microsoft.com/office/officeart/2005/8/layout/chevron1"/>
    <dgm:cxn modelId="{579FEDCE-E9C3-4E22-869D-6CC9C795861A}" type="presParOf" srcId="{9990172C-86AF-466B-BF96-DD87D57F788E}" destId="{100FE0A6-75B1-4CD8-9248-F71B57CBF283}" srcOrd="0" destOrd="0" presId="urn:microsoft.com/office/officeart/2005/8/layout/chevron1"/>
    <dgm:cxn modelId="{5A10336D-C857-42DC-B215-EFD711118A98}" type="presParOf" srcId="{9990172C-86AF-466B-BF96-DD87D57F788E}" destId="{6683C2FB-6DE9-4BE4-A54D-B084EE376112}" srcOrd="1" destOrd="0" presId="urn:microsoft.com/office/officeart/2005/8/layout/chevron1"/>
    <dgm:cxn modelId="{B98C0FA0-504E-42FE-81B7-49BBBE506796}" type="presParOf" srcId="{9990172C-86AF-466B-BF96-DD87D57F788E}" destId="{51C18CA2-7E7C-447D-8EDC-9D64B25F4F64}" srcOrd="2" destOrd="0" presId="urn:microsoft.com/office/officeart/2005/8/layout/chevron1"/>
    <dgm:cxn modelId="{8A5CA7E0-B3F2-41B8-A120-6E3C30093BAD}" type="presParOf" srcId="{9990172C-86AF-466B-BF96-DD87D57F788E}" destId="{37D10751-00F9-4576-BC35-171843C0C4F0}" srcOrd="3" destOrd="0" presId="urn:microsoft.com/office/officeart/2005/8/layout/chevron1"/>
    <dgm:cxn modelId="{E7E12D64-63EC-4D67-A748-E5E89C694551}" type="presParOf" srcId="{9990172C-86AF-466B-BF96-DD87D57F788E}" destId="{9DE7C047-E4B9-467E-98AE-2D1FA04702A2}" srcOrd="4" destOrd="0" presId="urn:microsoft.com/office/officeart/2005/8/layout/chevron1"/>
    <dgm:cxn modelId="{1BB54051-26F1-4CDE-BFB8-D0E2D11EEBC8}" type="presParOf" srcId="{9990172C-86AF-466B-BF96-DD87D57F788E}" destId="{82DD3BDA-5BBF-4B5E-9B53-1114E00A8FC3}" srcOrd="5" destOrd="0" presId="urn:microsoft.com/office/officeart/2005/8/layout/chevron1"/>
    <dgm:cxn modelId="{D42DCF50-BFF9-4FD5-ADE0-D4F96E1CED15}" type="presParOf" srcId="{9990172C-86AF-466B-BF96-DD87D57F788E}" destId="{09F6DDF4-D555-4163-B1F7-7B3062673D00}" srcOrd="6" destOrd="0" presId="urn:microsoft.com/office/officeart/2005/8/layout/chevron1"/>
    <dgm:cxn modelId="{BC88F187-DED7-42F2-AA78-18BE3231B6DD}" type="presParOf" srcId="{9990172C-86AF-466B-BF96-DD87D57F788E}" destId="{8C2D59C5-6DC0-456B-9083-C07C4CC8687F}" srcOrd="7" destOrd="0" presId="urn:microsoft.com/office/officeart/2005/8/layout/chevron1"/>
    <dgm:cxn modelId="{E73DC8B8-F447-438E-A9FC-423EC0A494EB}" type="presParOf" srcId="{9990172C-86AF-466B-BF96-DD87D57F788E}" destId="{3898DD45-7300-4CBB-A212-FBE3469B520D}" srcOrd="8" destOrd="0" presId="urn:microsoft.com/office/officeart/2005/8/layout/chevron1"/>
    <dgm:cxn modelId="{C99D9BBE-DAA8-42FE-AD8A-64E5C654B7E2}" type="presParOf" srcId="{9990172C-86AF-466B-BF96-DD87D57F788E}" destId="{B0DF3121-4272-438F-B1D9-CEA9D1CCCB1C}" srcOrd="9" destOrd="0" presId="urn:microsoft.com/office/officeart/2005/8/layout/chevron1"/>
    <dgm:cxn modelId="{E20FA9FC-A704-4193-89EF-052D55C0E63C}" type="presParOf" srcId="{9990172C-86AF-466B-BF96-DD87D57F788E}" destId="{FE1C540D-718F-41BC-9300-2BCF28872E8D}" srcOrd="10" destOrd="0" presId="urn:microsoft.com/office/officeart/2005/8/layout/chevron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307FC3-FD68-4FF3-862A-0E90760495BC}">
      <dsp:nvSpPr>
        <dsp:cNvPr id="0" name=""/>
        <dsp:cNvSpPr/>
      </dsp:nvSpPr>
      <dsp:spPr>
        <a:xfrm>
          <a:off x="0" y="0"/>
          <a:ext cx="3925416" cy="777081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Hypothesis</a:t>
          </a:r>
          <a:r>
            <a:rPr lang="en-US" sz="1100" kern="1200" baseline="0" dirty="0" smtClean="0"/>
            <a:t> 1</a:t>
          </a:r>
          <a:endParaRPr lang="en-US" sz="1100" kern="1200" dirty="0"/>
        </a:p>
      </dsp:txBody>
      <dsp:txXfrm>
        <a:off x="0" y="0"/>
        <a:ext cx="3925416" cy="233124"/>
      </dsp:txXfrm>
    </dsp:sp>
    <dsp:sp modelId="{B0100D3D-FD50-46C9-BE1C-39B946C281AD}">
      <dsp:nvSpPr>
        <dsp:cNvPr id="0" name=""/>
        <dsp:cNvSpPr/>
      </dsp:nvSpPr>
      <dsp:spPr>
        <a:xfrm>
          <a:off x="396622" y="233124"/>
          <a:ext cx="3140332" cy="505103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On</a:t>
          </a:r>
          <a:r>
            <a:rPr lang="en-US" sz="1100" kern="1200" baseline="0" dirty="0" smtClean="0"/>
            <a:t> the ground sensors can reliably measure winter variables that inflate municipal snow budgets</a:t>
          </a:r>
          <a:endParaRPr lang="en-US" sz="1100" kern="1200" dirty="0"/>
        </a:p>
      </dsp:txBody>
      <dsp:txXfrm>
        <a:off x="411416" y="247918"/>
        <a:ext cx="3110744" cy="475515"/>
      </dsp:txXfrm>
    </dsp:sp>
    <dsp:sp modelId="{DD5FA387-8061-466B-9668-15BD7356B803}">
      <dsp:nvSpPr>
        <dsp:cNvPr id="0" name=""/>
        <dsp:cNvSpPr/>
      </dsp:nvSpPr>
      <dsp:spPr>
        <a:xfrm>
          <a:off x="4223903" y="0"/>
          <a:ext cx="3925416" cy="777081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Hypothesis</a:t>
          </a:r>
          <a:r>
            <a:rPr lang="en-US" sz="1100" kern="1200" baseline="0" dirty="0" smtClean="0"/>
            <a:t> 2</a:t>
          </a:r>
          <a:endParaRPr lang="en-US" sz="1100" kern="1200" dirty="0"/>
        </a:p>
      </dsp:txBody>
      <dsp:txXfrm>
        <a:off x="4223903" y="0"/>
        <a:ext cx="3925416" cy="233124"/>
      </dsp:txXfrm>
    </dsp:sp>
    <dsp:sp modelId="{FA44A709-F570-4DD2-9589-C619B20D29A4}">
      <dsp:nvSpPr>
        <dsp:cNvPr id="0" name=""/>
        <dsp:cNvSpPr/>
      </dsp:nvSpPr>
      <dsp:spPr>
        <a:xfrm>
          <a:off x="4616444" y="233124"/>
          <a:ext cx="3140332" cy="505103"/>
        </a:xfrm>
        <a:prstGeom prst="roundRect">
          <a:avLst>
            <a:gd name="adj" fmla="val 10000"/>
          </a:avLst>
        </a:prstGeom>
        <a:solidFill>
          <a:schemeClr val="accent5">
            <a:hueOff val="196558"/>
            <a:satOff val="7527"/>
            <a:lumOff val="-58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Liberty</a:t>
          </a:r>
          <a:r>
            <a:rPr lang="en-US" sz="1100" kern="1200" baseline="0" dirty="0" smtClean="0"/>
            <a:t> could predict cost overruns more accurately than our competitors  by using more variables than just inches of snow</a:t>
          </a:r>
          <a:endParaRPr lang="en-US" sz="1100" kern="1200" dirty="0"/>
        </a:p>
      </dsp:txBody>
      <dsp:txXfrm>
        <a:off x="4631238" y="247918"/>
        <a:ext cx="3110744" cy="47551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307FC3-FD68-4FF3-862A-0E90760495BC}">
      <dsp:nvSpPr>
        <dsp:cNvPr id="0" name=""/>
        <dsp:cNvSpPr/>
      </dsp:nvSpPr>
      <dsp:spPr>
        <a:xfrm>
          <a:off x="0" y="0"/>
          <a:ext cx="3925416" cy="777081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Hypothesis</a:t>
          </a:r>
          <a:r>
            <a:rPr lang="en-US" sz="1100" kern="1200" baseline="0" dirty="0" smtClean="0"/>
            <a:t> 1</a:t>
          </a:r>
          <a:endParaRPr lang="en-US" sz="1100" kern="1200" dirty="0"/>
        </a:p>
      </dsp:txBody>
      <dsp:txXfrm>
        <a:off x="0" y="0"/>
        <a:ext cx="3925416" cy="233124"/>
      </dsp:txXfrm>
    </dsp:sp>
    <dsp:sp modelId="{B0100D3D-FD50-46C9-BE1C-39B946C281AD}">
      <dsp:nvSpPr>
        <dsp:cNvPr id="0" name=""/>
        <dsp:cNvSpPr/>
      </dsp:nvSpPr>
      <dsp:spPr>
        <a:xfrm>
          <a:off x="396622" y="233124"/>
          <a:ext cx="3140332" cy="505103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On</a:t>
          </a:r>
          <a:r>
            <a:rPr lang="en-US" sz="1100" kern="1200" baseline="0" dirty="0" smtClean="0"/>
            <a:t> the ground sensors can reliably measure winter variables that inflate municipal snow budgets</a:t>
          </a:r>
          <a:endParaRPr lang="en-US" sz="1100" kern="1200" dirty="0"/>
        </a:p>
      </dsp:txBody>
      <dsp:txXfrm>
        <a:off x="411416" y="247918"/>
        <a:ext cx="3110744" cy="475515"/>
      </dsp:txXfrm>
    </dsp:sp>
    <dsp:sp modelId="{DD5FA387-8061-466B-9668-15BD7356B803}">
      <dsp:nvSpPr>
        <dsp:cNvPr id="0" name=""/>
        <dsp:cNvSpPr/>
      </dsp:nvSpPr>
      <dsp:spPr>
        <a:xfrm>
          <a:off x="4223903" y="0"/>
          <a:ext cx="3925416" cy="777081"/>
        </a:xfrm>
        <a:prstGeom prst="roundRect">
          <a:avLst>
            <a:gd name="adj" fmla="val 10000"/>
          </a:avLst>
        </a:prstGeom>
        <a:solidFill>
          <a:schemeClr val="bg1">
            <a:lumMod val="8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Hypothesis</a:t>
          </a:r>
          <a:r>
            <a:rPr lang="en-US" sz="1100" kern="1200" baseline="0" dirty="0" smtClean="0"/>
            <a:t> 2</a:t>
          </a:r>
          <a:endParaRPr lang="en-US" sz="1100" kern="1200" dirty="0"/>
        </a:p>
      </dsp:txBody>
      <dsp:txXfrm>
        <a:off x="4223903" y="0"/>
        <a:ext cx="3925416" cy="233124"/>
      </dsp:txXfrm>
    </dsp:sp>
    <dsp:sp modelId="{FA44A709-F570-4DD2-9589-C619B20D29A4}">
      <dsp:nvSpPr>
        <dsp:cNvPr id="0" name=""/>
        <dsp:cNvSpPr/>
      </dsp:nvSpPr>
      <dsp:spPr>
        <a:xfrm>
          <a:off x="4616444" y="233124"/>
          <a:ext cx="3140332" cy="505103"/>
        </a:xfrm>
        <a:prstGeom prst="roundRect">
          <a:avLst>
            <a:gd name="adj" fmla="val 10000"/>
          </a:avLst>
        </a:prstGeom>
        <a:solidFill>
          <a:schemeClr val="bg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Liberty</a:t>
          </a:r>
          <a:r>
            <a:rPr lang="en-US" sz="1100" kern="1200" baseline="0" dirty="0" smtClean="0"/>
            <a:t> could predict cost overruns more accurately than our competitors  by using more variables than just inches of snow</a:t>
          </a:r>
          <a:endParaRPr lang="en-US" sz="1100" kern="1200" dirty="0"/>
        </a:p>
      </dsp:txBody>
      <dsp:txXfrm>
        <a:off x="4631238" y="247918"/>
        <a:ext cx="3110744" cy="47551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307FC3-FD68-4FF3-862A-0E90760495BC}">
      <dsp:nvSpPr>
        <dsp:cNvPr id="0" name=""/>
        <dsp:cNvSpPr/>
      </dsp:nvSpPr>
      <dsp:spPr>
        <a:xfrm>
          <a:off x="0" y="0"/>
          <a:ext cx="3925416" cy="777081"/>
        </a:xfrm>
        <a:prstGeom prst="roundRect">
          <a:avLst>
            <a:gd name="adj" fmla="val 10000"/>
          </a:avLst>
        </a:prstGeom>
        <a:solidFill>
          <a:schemeClr val="bg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Hypothesis</a:t>
          </a:r>
          <a:r>
            <a:rPr lang="en-US" sz="1100" kern="1200" baseline="0" dirty="0" smtClean="0"/>
            <a:t> 1</a:t>
          </a:r>
          <a:endParaRPr lang="en-US" sz="1100" kern="1200" dirty="0"/>
        </a:p>
      </dsp:txBody>
      <dsp:txXfrm>
        <a:off x="0" y="0"/>
        <a:ext cx="3925416" cy="233124"/>
      </dsp:txXfrm>
    </dsp:sp>
    <dsp:sp modelId="{B0100D3D-FD50-46C9-BE1C-39B946C281AD}">
      <dsp:nvSpPr>
        <dsp:cNvPr id="0" name=""/>
        <dsp:cNvSpPr/>
      </dsp:nvSpPr>
      <dsp:spPr>
        <a:xfrm>
          <a:off x="396622" y="233124"/>
          <a:ext cx="3140332" cy="505103"/>
        </a:xfrm>
        <a:prstGeom prst="roundRect">
          <a:avLst>
            <a:gd name="adj" fmla="val 10000"/>
          </a:avLst>
        </a:prstGeom>
        <a:solidFill>
          <a:schemeClr val="bg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On</a:t>
          </a:r>
          <a:r>
            <a:rPr lang="en-US" sz="1100" kern="1200" baseline="0" dirty="0" smtClean="0"/>
            <a:t> the ground sensors can reliably measure winter variables that inflate municipal snow budgets</a:t>
          </a:r>
          <a:endParaRPr lang="en-US" sz="1100" kern="1200" dirty="0"/>
        </a:p>
      </dsp:txBody>
      <dsp:txXfrm>
        <a:off x="411416" y="247918"/>
        <a:ext cx="3110744" cy="475515"/>
      </dsp:txXfrm>
    </dsp:sp>
    <dsp:sp modelId="{DD5FA387-8061-466B-9668-15BD7356B803}">
      <dsp:nvSpPr>
        <dsp:cNvPr id="0" name=""/>
        <dsp:cNvSpPr/>
      </dsp:nvSpPr>
      <dsp:spPr>
        <a:xfrm>
          <a:off x="4223903" y="0"/>
          <a:ext cx="3925416" cy="777081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Hypothesis</a:t>
          </a:r>
          <a:r>
            <a:rPr lang="en-US" sz="1100" kern="1200" baseline="0" dirty="0" smtClean="0"/>
            <a:t> 2</a:t>
          </a:r>
          <a:endParaRPr lang="en-US" sz="1100" kern="1200" dirty="0"/>
        </a:p>
      </dsp:txBody>
      <dsp:txXfrm>
        <a:off x="4223903" y="0"/>
        <a:ext cx="3925416" cy="233124"/>
      </dsp:txXfrm>
    </dsp:sp>
    <dsp:sp modelId="{FA44A709-F570-4DD2-9589-C619B20D29A4}">
      <dsp:nvSpPr>
        <dsp:cNvPr id="0" name=""/>
        <dsp:cNvSpPr/>
      </dsp:nvSpPr>
      <dsp:spPr>
        <a:xfrm>
          <a:off x="4616444" y="233124"/>
          <a:ext cx="3140332" cy="505103"/>
        </a:xfrm>
        <a:prstGeom prst="roundRect">
          <a:avLst>
            <a:gd name="adj" fmla="val 10000"/>
          </a:avLst>
        </a:prstGeom>
        <a:solidFill>
          <a:schemeClr val="accent5">
            <a:hueOff val="196558"/>
            <a:satOff val="7527"/>
            <a:lumOff val="-58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Liberty</a:t>
          </a:r>
          <a:r>
            <a:rPr lang="en-US" sz="1100" kern="1200" baseline="0" dirty="0" smtClean="0"/>
            <a:t> could predict cost overruns more accurately than our competitors  by using more variables than just inches of snow</a:t>
          </a:r>
          <a:endParaRPr lang="en-US" sz="1100" kern="1200" dirty="0"/>
        </a:p>
      </dsp:txBody>
      <dsp:txXfrm>
        <a:off x="4631238" y="247918"/>
        <a:ext cx="3110744" cy="47551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6649DE-32BA-48FF-8342-26CC0BAD13F3}">
      <dsp:nvSpPr>
        <dsp:cNvPr id="0" name=""/>
        <dsp:cNvSpPr/>
      </dsp:nvSpPr>
      <dsp:spPr>
        <a:xfrm>
          <a:off x="1493" y="0"/>
          <a:ext cx="1437146" cy="4379695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Foreign</a:t>
          </a:r>
          <a:endParaRPr lang="en-US" sz="2300" kern="1200" dirty="0"/>
        </a:p>
      </dsp:txBody>
      <dsp:txXfrm>
        <a:off x="1493" y="0"/>
        <a:ext cx="1437146" cy="1313908"/>
      </dsp:txXfrm>
    </dsp:sp>
    <dsp:sp modelId="{1BF481B3-F3CE-4C18-A2A5-CF892F42E449}">
      <dsp:nvSpPr>
        <dsp:cNvPr id="0" name=""/>
        <dsp:cNvSpPr/>
      </dsp:nvSpPr>
      <dsp:spPr>
        <a:xfrm>
          <a:off x="145208" y="1314596"/>
          <a:ext cx="1149717" cy="1974512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- Sophisticated models coupled with parametric capabilities already exist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 dirty="0" smtClean="0"/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- Established markets, with firms already showing a track record of success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 dirty="0"/>
        </a:p>
      </dsp:txBody>
      <dsp:txXfrm>
        <a:off x="178882" y="1348270"/>
        <a:ext cx="1082369" cy="1907164"/>
      </dsp:txXfrm>
    </dsp:sp>
    <dsp:sp modelId="{409D5A97-A940-4C56-A69C-C3F37287E813}">
      <dsp:nvSpPr>
        <dsp:cNvPr id="0" name=""/>
        <dsp:cNvSpPr/>
      </dsp:nvSpPr>
      <dsp:spPr>
        <a:xfrm>
          <a:off x="145208" y="3405230"/>
          <a:ext cx="1149717" cy="754791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- Arduous U.S. insurance regulations </a:t>
          </a:r>
          <a:endParaRPr lang="en-US" sz="1100" kern="1200" dirty="0"/>
        </a:p>
      </dsp:txBody>
      <dsp:txXfrm>
        <a:off x="167315" y="3427337"/>
        <a:ext cx="1105503" cy="710577"/>
      </dsp:txXfrm>
    </dsp:sp>
    <dsp:sp modelId="{D9067006-DDF5-4B3F-8FF3-00F62CC966D8}">
      <dsp:nvSpPr>
        <dsp:cNvPr id="0" name=""/>
        <dsp:cNvSpPr/>
      </dsp:nvSpPr>
      <dsp:spPr>
        <a:xfrm>
          <a:off x="1546426" y="0"/>
          <a:ext cx="1437146" cy="4379695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Domestic</a:t>
          </a:r>
          <a:endParaRPr lang="en-US" sz="2300" kern="1200" dirty="0"/>
        </a:p>
      </dsp:txBody>
      <dsp:txXfrm>
        <a:off x="1546426" y="0"/>
        <a:ext cx="1437146" cy="1313908"/>
      </dsp:txXfrm>
    </dsp:sp>
    <dsp:sp modelId="{5EC410D4-32EC-4CC8-B3EE-17E22091E7EE}">
      <dsp:nvSpPr>
        <dsp:cNvPr id="0" name=""/>
        <dsp:cNvSpPr/>
      </dsp:nvSpPr>
      <dsp:spPr>
        <a:xfrm>
          <a:off x="1690141" y="1314275"/>
          <a:ext cx="1149717" cy="197515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-  Product offering of same sophistication, is already on the market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 dirty="0" smtClean="0"/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- Early movers already have foothold on snow insurance market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 dirty="0"/>
        </a:p>
      </dsp:txBody>
      <dsp:txXfrm>
        <a:off x="1723815" y="1347949"/>
        <a:ext cx="1082369" cy="1907805"/>
      </dsp:txXfrm>
    </dsp:sp>
    <dsp:sp modelId="{7E9383CF-6A72-4789-B497-83EFAB18CEE4}">
      <dsp:nvSpPr>
        <dsp:cNvPr id="0" name=""/>
        <dsp:cNvSpPr/>
      </dsp:nvSpPr>
      <dsp:spPr>
        <a:xfrm>
          <a:off x="1690141" y="3405551"/>
          <a:ext cx="1149717" cy="754791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- Liberty’s scale potentially enables undercutting</a:t>
          </a:r>
          <a:endParaRPr lang="en-US" sz="1100" kern="1200" dirty="0"/>
        </a:p>
      </dsp:txBody>
      <dsp:txXfrm>
        <a:off x="1712248" y="3427658"/>
        <a:ext cx="1105503" cy="71057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26D585-A32A-43D1-A153-F652B6866266}">
      <dsp:nvSpPr>
        <dsp:cNvPr id="0" name=""/>
        <dsp:cNvSpPr/>
      </dsp:nvSpPr>
      <dsp:spPr>
        <a:xfrm>
          <a:off x="0" y="23349"/>
          <a:ext cx="8324289" cy="65520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Liberty Mutual</a:t>
          </a:r>
          <a:endParaRPr lang="en-US" sz="2800" kern="1200" dirty="0"/>
        </a:p>
      </dsp:txBody>
      <dsp:txXfrm>
        <a:off x="31984" y="55333"/>
        <a:ext cx="8260321" cy="591232"/>
      </dsp:txXfrm>
    </dsp:sp>
    <dsp:sp modelId="{DA55D107-3D3B-45C5-993F-AA9F893B94EC}">
      <dsp:nvSpPr>
        <dsp:cNvPr id="0" name=""/>
        <dsp:cNvSpPr/>
      </dsp:nvSpPr>
      <dsp:spPr>
        <a:xfrm>
          <a:off x="0" y="678549"/>
          <a:ext cx="8324289" cy="1449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4296" tIns="35560" rIns="199136" bIns="35560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200" b="1" kern="1200" dirty="0" smtClean="0"/>
            <a:t>$11.1K </a:t>
          </a:r>
          <a:r>
            <a:rPr lang="en-US" sz="2200" kern="1200" dirty="0" smtClean="0"/>
            <a:t>in premiums</a:t>
          </a:r>
          <a:endParaRPr lang="en-US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200" kern="1200" dirty="0" smtClean="0"/>
            <a:t>$2,500 per snow inch between </a:t>
          </a:r>
          <a:r>
            <a:rPr lang="en-US" sz="2200" b="1" kern="1200" dirty="0" smtClean="0"/>
            <a:t>55</a:t>
          </a:r>
          <a:r>
            <a:rPr lang="en-US" sz="2200" kern="1200" dirty="0" smtClean="0"/>
            <a:t> – 82 inches</a:t>
          </a:r>
          <a:endParaRPr lang="en-US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200" kern="1200" dirty="0" smtClean="0"/>
            <a:t>ELR of 65%</a:t>
          </a:r>
          <a:endParaRPr lang="en-US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en-US" sz="2200" kern="1200" dirty="0"/>
        </a:p>
      </dsp:txBody>
      <dsp:txXfrm>
        <a:off x="0" y="678549"/>
        <a:ext cx="8324289" cy="1449000"/>
      </dsp:txXfrm>
    </dsp:sp>
    <dsp:sp modelId="{14319BFB-69E2-4405-8835-457C08C6EB2B}">
      <dsp:nvSpPr>
        <dsp:cNvPr id="0" name=""/>
        <dsp:cNvSpPr/>
      </dsp:nvSpPr>
      <dsp:spPr>
        <a:xfrm>
          <a:off x="0" y="2127550"/>
          <a:ext cx="8324289" cy="655200"/>
        </a:xfrm>
        <a:prstGeom prst="roundRect">
          <a:avLst/>
        </a:prstGeom>
        <a:solidFill>
          <a:schemeClr val="accent2">
            <a:shade val="80000"/>
            <a:hueOff val="98110"/>
            <a:satOff val="-10044"/>
            <a:lumOff val="2721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New Bedford’s current provider</a:t>
          </a:r>
          <a:endParaRPr lang="en-US" sz="2800" kern="1200" dirty="0"/>
        </a:p>
      </dsp:txBody>
      <dsp:txXfrm>
        <a:off x="31984" y="2159534"/>
        <a:ext cx="8260321" cy="591232"/>
      </dsp:txXfrm>
    </dsp:sp>
    <dsp:sp modelId="{FF065525-DFF2-4A7D-8CCD-E6A26C2F04C0}">
      <dsp:nvSpPr>
        <dsp:cNvPr id="0" name=""/>
        <dsp:cNvSpPr/>
      </dsp:nvSpPr>
      <dsp:spPr>
        <a:xfrm>
          <a:off x="0" y="2782750"/>
          <a:ext cx="8324289" cy="724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4296" tIns="35560" rIns="199136" bIns="35560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200" b="1" kern="1200" dirty="0" smtClean="0"/>
            <a:t>$13K </a:t>
          </a:r>
          <a:r>
            <a:rPr lang="en-US" sz="2200" kern="1200" dirty="0" smtClean="0"/>
            <a:t>in premiums</a:t>
          </a:r>
          <a:endParaRPr lang="en-US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200" kern="1200" dirty="0" smtClean="0"/>
            <a:t>$2,500 per snow inch above </a:t>
          </a:r>
          <a:r>
            <a:rPr lang="en-US" sz="2200" b="1" kern="1200" dirty="0" smtClean="0"/>
            <a:t>55</a:t>
          </a:r>
          <a:endParaRPr lang="en-US" sz="2200" b="1" kern="1200" dirty="0"/>
        </a:p>
      </dsp:txBody>
      <dsp:txXfrm>
        <a:off x="0" y="2782750"/>
        <a:ext cx="8324289" cy="72450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D0C870-46DF-4EBA-922A-78DFE65A3768}">
      <dsp:nvSpPr>
        <dsp:cNvPr id="0" name=""/>
        <dsp:cNvSpPr/>
      </dsp:nvSpPr>
      <dsp:spPr>
        <a:xfrm>
          <a:off x="2747" y="480792"/>
          <a:ext cx="1487704" cy="89262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baseline="0" dirty="0" smtClean="0"/>
            <a:t>William Ma</a:t>
          </a:r>
          <a:endParaRPr lang="en-US" sz="1600" kern="1200" dirty="0" smtClean="0"/>
        </a:p>
      </dsp:txBody>
      <dsp:txXfrm>
        <a:off x="2747" y="480792"/>
        <a:ext cx="1487704" cy="892622"/>
      </dsp:txXfrm>
    </dsp:sp>
    <dsp:sp modelId="{BF1DFA1C-5769-490B-95D0-2ACD5BD3D06A}">
      <dsp:nvSpPr>
        <dsp:cNvPr id="0" name=""/>
        <dsp:cNvSpPr/>
      </dsp:nvSpPr>
      <dsp:spPr>
        <a:xfrm>
          <a:off x="1639222" y="480792"/>
          <a:ext cx="1487704" cy="892622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/>
            <a:t>Chema</a:t>
          </a:r>
          <a:r>
            <a:rPr lang="en-US" sz="1600" kern="1200" dirty="0" smtClean="0"/>
            <a:t> Luengo</a:t>
          </a:r>
        </a:p>
      </dsp:txBody>
      <dsp:txXfrm>
        <a:off x="1639222" y="480792"/>
        <a:ext cx="1487704" cy="892622"/>
      </dsp:txXfrm>
    </dsp:sp>
    <dsp:sp modelId="{46D588A7-FFA8-4768-875E-81A3A774233A}">
      <dsp:nvSpPr>
        <dsp:cNvPr id="0" name=""/>
        <dsp:cNvSpPr/>
      </dsp:nvSpPr>
      <dsp:spPr>
        <a:xfrm>
          <a:off x="3275697" y="480792"/>
          <a:ext cx="1487704" cy="892622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Jacob Auchincloss</a:t>
          </a:r>
          <a:endParaRPr lang="en-US" sz="1600" kern="1200" dirty="0"/>
        </a:p>
      </dsp:txBody>
      <dsp:txXfrm>
        <a:off x="3275697" y="480792"/>
        <a:ext cx="1487704" cy="892622"/>
      </dsp:txXfrm>
    </dsp:sp>
    <dsp:sp modelId="{190274CF-B18B-432F-822B-50F6A5C395DC}">
      <dsp:nvSpPr>
        <dsp:cNvPr id="0" name=""/>
        <dsp:cNvSpPr/>
      </dsp:nvSpPr>
      <dsp:spPr>
        <a:xfrm>
          <a:off x="4912172" y="480792"/>
          <a:ext cx="1487704" cy="892622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e Jin</a:t>
          </a:r>
          <a:r>
            <a:rPr lang="en-US" sz="1600" kern="1200" baseline="0" dirty="0" smtClean="0"/>
            <a:t> Park</a:t>
          </a:r>
          <a:endParaRPr lang="en-US" sz="1600" kern="1200" dirty="0"/>
        </a:p>
      </dsp:txBody>
      <dsp:txXfrm>
        <a:off x="4912172" y="480792"/>
        <a:ext cx="1487704" cy="892622"/>
      </dsp:txXfrm>
    </dsp:sp>
    <dsp:sp modelId="{9F2B423E-E617-4460-82E5-31146757A533}">
      <dsp:nvSpPr>
        <dsp:cNvPr id="0" name=""/>
        <dsp:cNvSpPr/>
      </dsp:nvSpPr>
      <dsp:spPr>
        <a:xfrm>
          <a:off x="6548647" y="480792"/>
          <a:ext cx="1487704" cy="892622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obert Elliott</a:t>
          </a:r>
          <a:endParaRPr lang="en-US" sz="1600" kern="1200" dirty="0"/>
        </a:p>
      </dsp:txBody>
      <dsp:txXfrm>
        <a:off x="6548647" y="480792"/>
        <a:ext cx="1487704" cy="892622"/>
      </dsp:txXfrm>
    </dsp:sp>
    <dsp:sp modelId="{B487D4CE-E5F4-4586-A659-B662A3F38D08}">
      <dsp:nvSpPr>
        <dsp:cNvPr id="0" name=""/>
        <dsp:cNvSpPr/>
      </dsp:nvSpPr>
      <dsp:spPr>
        <a:xfrm>
          <a:off x="820985" y="1522185"/>
          <a:ext cx="1487704" cy="89262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cott </a:t>
          </a:r>
          <a:r>
            <a:rPr lang="en-US" sz="1600" kern="1200" dirty="0" err="1" smtClean="0"/>
            <a:t>Gorlin</a:t>
          </a:r>
          <a:endParaRPr lang="en-US" sz="1600" kern="1200" dirty="0"/>
        </a:p>
      </dsp:txBody>
      <dsp:txXfrm>
        <a:off x="820985" y="1522185"/>
        <a:ext cx="1487704" cy="892622"/>
      </dsp:txXfrm>
    </dsp:sp>
    <dsp:sp modelId="{11270E06-C1F9-4A2E-99B1-D542E79517E5}">
      <dsp:nvSpPr>
        <dsp:cNvPr id="0" name=""/>
        <dsp:cNvSpPr/>
      </dsp:nvSpPr>
      <dsp:spPr>
        <a:xfrm>
          <a:off x="2457460" y="1522185"/>
          <a:ext cx="1487704" cy="892622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Brenton </a:t>
          </a:r>
          <a:r>
            <a:rPr lang="en-US" sz="1600" kern="1200" dirty="0" err="1" smtClean="0"/>
            <a:t>Sellati</a:t>
          </a:r>
          <a:endParaRPr lang="en-US" sz="1600" kern="1200" dirty="0"/>
        </a:p>
      </dsp:txBody>
      <dsp:txXfrm>
        <a:off x="2457460" y="1522185"/>
        <a:ext cx="1487704" cy="892622"/>
      </dsp:txXfrm>
    </dsp:sp>
    <dsp:sp modelId="{2E97BD64-4E22-4255-B112-7D9B8E6FFEA7}">
      <dsp:nvSpPr>
        <dsp:cNvPr id="0" name=""/>
        <dsp:cNvSpPr/>
      </dsp:nvSpPr>
      <dsp:spPr>
        <a:xfrm>
          <a:off x="4093935" y="1522185"/>
          <a:ext cx="1487704" cy="892622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helsea Patel</a:t>
          </a:r>
          <a:endParaRPr lang="en-US" sz="1600" kern="1200" dirty="0"/>
        </a:p>
      </dsp:txBody>
      <dsp:txXfrm>
        <a:off x="4093935" y="1522185"/>
        <a:ext cx="1487704" cy="892622"/>
      </dsp:txXfrm>
    </dsp:sp>
    <dsp:sp modelId="{7E219026-A3B6-4815-9988-B027A706331C}">
      <dsp:nvSpPr>
        <dsp:cNvPr id="0" name=""/>
        <dsp:cNvSpPr/>
      </dsp:nvSpPr>
      <dsp:spPr>
        <a:xfrm>
          <a:off x="5730410" y="1522185"/>
          <a:ext cx="1487704" cy="892622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Kelsie</a:t>
          </a:r>
          <a:r>
            <a:rPr lang="en-US" sz="1600" kern="1200" baseline="0" dirty="0" smtClean="0"/>
            <a:t> Marr</a:t>
          </a:r>
          <a:endParaRPr lang="en-US" sz="1600" kern="1200" dirty="0"/>
        </a:p>
      </dsp:txBody>
      <dsp:txXfrm>
        <a:off x="5730410" y="1522185"/>
        <a:ext cx="1487704" cy="89262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1/layout/InterconnectedBlockProcess">
  <dgm:title val="Interconnected Block Process"/>
  <dgm:desc val="Use to show sequential steps in a process. Works best with small amounts of Level 1 text and medium amounts of Level 2 text."/>
  <dgm:catLst>
    <dgm:cat type="process" pri="5500"/>
    <dgm:cat type="officeonline" pri="3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  <dgm:pt modelId="40">
          <dgm:prSet phldr="1"/>
        </dgm:pt>
        <dgm:pt modelId="4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  <dgm:cxn modelId="70" srcId="0" destId="40" srcOrd="2" destOrd="0"/>
        <dgm:cxn modelId="42" srcId="40" destId="41" srcOrd="0" destOrd="0"/>
      </dgm:cxnLst>
      <dgm:bg/>
      <dgm:whole/>
    </dgm:dataModel>
  </dgm:clrData>
  <dgm:layoutNode name="Name0">
    <dgm:varLst>
      <dgm:chMax val="7"/>
      <dgm:chPref val="5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4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Accent1" refType="w" fact="0"/>
              <dgm:constr type="t" for="ch" forName="ChildAccent1" refType="h" fact="0.1429"/>
              <dgm:constr type="w" for="ch" forName="ChildAccent1" refType="w"/>
              <dgm:constr type="h" for="ch" forName="ChildAccent1" refType="h" fact="0.8571"/>
              <dgm:constr type="l" for="ch" forName="Child1" refType="w" fact="0.127"/>
              <dgm:constr type="t" for="ch" forName="Child1" refType="h" fact="0.1429"/>
              <dgm:constr type="w" for="ch" forName="Child1" refType="w" fact="0.873"/>
              <dgm:constr type="h" for="ch" forName="Child1" refType="h" fact="0.8571"/>
              <dgm:constr type="l" for="ch" forName="Parent1" refType="w" fact="0"/>
              <dgm:constr type="t" for="ch" forName="Parent1" refType="h" fact="0"/>
              <dgm:constr type="w" for="ch" forName="Parent1" refType="w"/>
              <dgm:constr type="h" for="ch" forName="Parent1" refType="h" fact="0.1429"/>
            </dgm:constrLst>
          </dgm:if>
          <dgm:if name="Name5" axis="ch" ptType="node" func="cnt" op="equ" val="2">
            <dgm:alg type="composite">
              <dgm:param type="ar" val="0.812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ChildAccent1" refType="w" fact="0"/>
              <dgm:constr type="t" for="ch" forName="ChildAccent1" refType="h" fact="0.1613"/>
              <dgm:constr type="w" for="ch" forName="ChildAccent1" refType="w" fact="0.5"/>
              <dgm:constr type="h" for="ch" forName="ChildAccent1" refType="h" fact="0.7742"/>
              <dgm:constr type="l" for="ch" forName="Child1" refType="w" fact="0.0635"/>
              <dgm:constr type="t" for="ch" forName="Child1" refType="h" fact="0.1613"/>
              <dgm:constr type="w" for="ch" forName="Child1" refType="w" fact="0.4365"/>
              <dgm:constr type="h" for="ch" forName="Child1" refType="h" fact="0.7742"/>
              <dgm:constr type="l" for="ch" forName="Parent1" refType="w" fact="0"/>
              <dgm:constr type="t" for="ch" forName="Parent1" refType="h" fact="0.0323"/>
              <dgm:constr type="w" for="ch" forName="Parent1" refType="w" fact="0.5"/>
              <dgm:constr type="h" for="ch" forName="Parent1" refType="h" fact="0.129"/>
              <dgm:constr type="l" for="ch" forName="ChildAccent2" refType="w" fact="0.5"/>
              <dgm:constr type="t" for="ch" forName="ChildAccent2" refType="h" fact="0.1613"/>
              <dgm:constr type="w" for="ch" forName="ChildAccent2" refType="w" fact="0.5"/>
              <dgm:constr type="h" for="ch" forName="ChildAccent2" refType="h" fact="0.8387"/>
              <dgm:constr type="l" for="ch" forName="Child2" refType="w" fact="0.5635"/>
              <dgm:constr type="t" for="ch" forName="Child2" refType="h" fact="0.1613"/>
              <dgm:constr type="w" for="ch" forName="Child2" refType="w" fact="0.4365"/>
              <dgm:constr type="h" for="ch" forName="Child2" refType="h" fact="0.8387"/>
              <dgm:constr type="l" for="ch" forName="Parent2" refType="w" fact="0.5"/>
              <dgm:constr type="t" for="ch" forName="Parent2" refType="h" fact="0"/>
              <dgm:constr type="w" for="ch" forName="Parent2" refType="w" fact="0.5"/>
              <dgm:constr type="h" for="ch" forName="Parent2" refType="h" fact="0.1613"/>
            </dgm:constrLst>
          </dgm:if>
          <dgm:if name="Name6" axis="ch" ptType="node" func="cnt" op="equ" val="3">
            <dgm:alg type="composite">
              <dgm:param type="ar" val="1.112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ChildAccent1" refType="w" fact="0"/>
              <dgm:constr type="t" for="ch" forName="ChildAccent1" refType="h" fact="0.1757"/>
              <dgm:constr type="w" for="ch" forName="ChildAccent1" refType="w" fact="0.3333"/>
              <dgm:constr type="h" for="ch" forName="ChildAccent1" refType="h" fact="0.7066"/>
              <dgm:constr type="l" for="ch" forName="Child1" refType="w" fact="0.0423"/>
              <dgm:constr type="t" for="ch" forName="Child1" refType="h" fact="0.1757"/>
              <dgm:constr type="w" for="ch" forName="Child1" refType="w" fact="0.291"/>
              <dgm:constr type="h" for="ch" forName="Child1" refType="h" fact="0.7066"/>
              <dgm:constr type="l" for="ch" forName="Parent1" refType="w" fact="0"/>
              <dgm:constr type="t" for="ch" forName="Parent1" refType="h" fact="0.0579"/>
              <dgm:constr type="w" for="ch" forName="Parent1" refType="w" fact="0.3333"/>
              <dgm:constr type="h" for="ch" forName="Parent1" refType="h" fact="0.1178"/>
              <dgm:constr type="l" for="ch" forName="ChildAccent2" refType="w" fact="0.3333"/>
              <dgm:constr type="t" for="ch" forName="ChildAccent2" refType="h" fact="0.1757"/>
              <dgm:constr type="w" for="ch" forName="ChildAccent2" refType="w" fact="0.3333"/>
              <dgm:constr type="h" for="ch" forName="ChildAccent2" refType="h" fact="0.7655"/>
              <dgm:constr type="l" for="ch" forName="Child2" refType="w" fact="0.3756"/>
              <dgm:constr type="t" for="ch" forName="Child2" refType="h" fact="0.1757"/>
              <dgm:constr type="w" for="ch" forName="Child2" refType="w" fact="0.291"/>
              <dgm:constr type="h" for="ch" forName="Child2" refType="h" fact="0.7655"/>
              <dgm:constr type="l" for="ch" forName="Parent2" refType="w" fact="0.3333"/>
              <dgm:constr type="t" for="ch" forName="Parent2" refType="h" fact="0.0285"/>
              <dgm:constr type="w" for="ch" forName="Parent2" refType="w" fact="0.3333"/>
              <dgm:constr type="h" for="ch" forName="Parent2" refType="h" fact="0.1472"/>
              <dgm:constr type="l" for="ch" forName="ChildAccent3" refType="w" fact="0.6667"/>
              <dgm:constr type="t" for="ch" forName="ChildAccent3" refType="h" fact="0.1757"/>
              <dgm:constr type="w" for="ch" forName="ChildAccent3" refType="w" fact="0.3333"/>
              <dgm:constr type="h" for="ch" forName="ChildAccent3" refType="h" fact="0.8243"/>
              <dgm:constr type="l" for="ch" forName="Child3" refType="w" fact="0.709"/>
              <dgm:constr type="t" for="ch" forName="Child3" refType="h" fact="0.1757"/>
              <dgm:constr type="w" for="ch" forName="Child3" refType="w" fact="0.291"/>
              <dgm:constr type="h" for="ch" forName="Child3" refType="h" fact="0.8243"/>
              <dgm:constr type="l" for="ch" forName="Parent3" refType="w" fact="0.6667"/>
              <dgm:constr type="t" for="ch" forName="Parent3" refType="h" fact="0"/>
              <dgm:constr type="w" for="ch" forName="Parent3" refType="w" fact="0.3333"/>
              <dgm:constr type="h" for="ch" forName="Parent3" refType="h" fact="0.176"/>
            </dgm:constrLst>
          </dgm:if>
          <dgm:if name="Name7" axis="ch" ptType="node" func="cnt" op="equ" val="4">
            <dgm:alg type="composite">
              <dgm:param type="ar" val="1.3622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ChildAccent1" refType="w" fact="0"/>
              <dgm:constr type="t" for="ch" forName="ChildAccent1" refType="h" fact="0.1892"/>
              <dgm:constr type="w" for="ch" forName="ChildAccent1" refType="w" fact="0.25"/>
              <dgm:constr type="h" for="ch" forName="ChildAccent1" refType="h" fact="0.6486"/>
              <dgm:constr type="l" for="ch" forName="Child1" refType="w" fact="0.0317"/>
              <dgm:constr type="t" for="ch" forName="Child1" refType="h" fact="0.1892"/>
              <dgm:constr type="w" for="ch" forName="Child1" refType="w" fact="0.2183"/>
              <dgm:constr type="h" for="ch" forName="Child1" refType="h" fact="0.6486"/>
              <dgm:constr type="l" for="ch" forName="Parent1" refType="w" fact="0"/>
              <dgm:constr type="t" for="ch" forName="Parent1" refType="h" fact="0.0811"/>
              <dgm:constr type="w" for="ch" forName="Parent1" refType="w" fact="0.25"/>
              <dgm:constr type="h" for="ch" forName="Parent1" refType="h" fact="0.1081"/>
              <dgm:constr type="l" for="ch" forName="ChildAccent2" refType="w" fact="0.25"/>
              <dgm:constr type="t" for="ch" forName="ChildAccent2" refType="h" fact="0.1892"/>
              <dgm:constr type="w" for="ch" forName="ChildAccent2" refType="w" fact="0.25"/>
              <dgm:constr type="h" for="ch" forName="ChildAccent2" refType="h" fact="0.7027"/>
              <dgm:constr type="l" for="ch" forName="Child2" refType="w" fact="0.2817"/>
              <dgm:constr type="t" for="ch" forName="Child2" refType="h" fact="0.1892"/>
              <dgm:constr type="w" for="ch" forName="Child2" refType="w" fact="0.2183"/>
              <dgm:constr type="h" for="ch" forName="Child2" refType="h" fact="0.7027"/>
              <dgm:constr type="l" for="ch" forName="Parent2" refType="w" fact="0.25"/>
              <dgm:constr type="t" for="ch" forName="Parent2" refType="h" fact="0.0541"/>
              <dgm:constr type="w" for="ch" forName="Parent2" refType="w" fact="0.25"/>
              <dgm:constr type="h" for="ch" forName="Parent2" refType="h" fact="0.1351"/>
              <dgm:constr type="l" for="ch" forName="ChildAccent3" refType="w" fact="0.5"/>
              <dgm:constr type="t" for="ch" forName="ChildAccent3" refType="h" fact="0.1892"/>
              <dgm:constr type="w" for="ch" forName="ChildAccent3" refType="w" fact="0.25"/>
              <dgm:constr type="h" for="ch" forName="ChildAccent3" refType="h" fact="0.7568"/>
              <dgm:constr type="l" for="ch" forName="Child3" refType="w" fact="0.5317"/>
              <dgm:constr type="t" for="ch" forName="Child3" refType="h" fact="0.1892"/>
              <dgm:constr type="w" for="ch" forName="Child3" refType="w" fact="0.2183"/>
              <dgm:constr type="h" for="ch" forName="Child3" refType="h" fact="0.7568"/>
              <dgm:constr type="l" for="ch" forName="Parent3" refType="w" fact="0.5"/>
              <dgm:constr type="t" for="ch" forName="Parent3" refType="h" fact="0.0275"/>
              <dgm:constr type="w" for="ch" forName="Parent3" refType="w" fact="0.25"/>
              <dgm:constr type="h" for="ch" forName="Parent3" refType="h" fact="0.1622"/>
              <dgm:constr type="l" for="ch" forName="ChildAccent4" refType="w" fact="0.75"/>
              <dgm:constr type="t" for="ch" forName="ChildAccent4" refType="h" fact="0.1892"/>
              <dgm:constr type="w" for="ch" forName="ChildAccent4" refType="w" fact="0.25"/>
              <dgm:constr type="h" for="ch" forName="ChildAccent4" refType="h" fact="0.8108"/>
              <dgm:constr type="l" for="ch" forName="Child4" refType="w" fact="0.7817"/>
              <dgm:constr type="t" for="ch" forName="Child4" refType="h" fact="0.1892"/>
              <dgm:constr type="w" for="ch" forName="Child4" refType="w" fact="0.2183"/>
              <dgm:constr type="h" for="ch" forName="Child4" refType="h" fact="0.8108"/>
              <dgm:constr type="l" for="ch" forName="Parent4" refType="w" fact="0.75"/>
              <dgm:constr type="t" for="ch" forName="Parent4" refType="h" fact="0"/>
              <dgm:constr type="w" for="ch" forName="Parent4" refType="w" fact="0.25"/>
              <dgm:constr type="h" for="ch" forName="Parent4" refType="h" fact="0.1892"/>
            </dgm:constrLst>
          </dgm:if>
          <dgm:if name="Name8" axis="ch" ptType="node" func="cnt" op="equ" val="5">
            <dgm:alg type="composite">
              <dgm:param type="ar" val="1.5742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ChildAccent1" refType="w" fact="0"/>
              <dgm:constr type="t" for="ch" forName="ChildAccent1" refType="h" fact="0.2"/>
              <dgm:constr type="w" for="ch" forName="ChildAccent1" refType="w" fact="0.2001"/>
              <dgm:constr type="h" for="ch" forName="ChildAccent1" refType="h" fact="0.6"/>
              <dgm:constr type="l" for="ch" forName="Child1" refType="w" fact="0.0254"/>
              <dgm:constr type="t" for="ch" forName="Child1" refType="h" fact="0.2"/>
              <dgm:constr type="w" for="ch" forName="Child1" refType="w" fact="0.1747"/>
              <dgm:constr type="h" for="ch" forName="Child1" refType="h" fact="0.6"/>
              <dgm:constr type="l" for="ch" forName="Parent1" refType="w" fact="0"/>
              <dgm:constr type="t" for="ch" forName="Parent1" refType="h" fact="0.1"/>
              <dgm:constr type="w" for="ch" forName="Parent1" refType="w" fact="0.2001"/>
              <dgm:constr type="h" for="ch" forName="Parent1" refType="h" fact="0.1"/>
              <dgm:constr type="l" for="ch" forName="ChildAccent2" refType="w" fact="0.2001"/>
              <dgm:constr type="t" for="ch" forName="ChildAccent2" refType="h" fact="0.2"/>
              <dgm:constr type="w" for="ch" forName="ChildAccent2" refType="w" fact="0.2001"/>
              <dgm:constr type="h" for="ch" forName="ChildAccent2" refType="h" fact="0.65"/>
              <dgm:constr type="l" for="ch" forName="Child2" refType="w" fact="0.2255"/>
              <dgm:constr type="t" for="ch" forName="Child2" refType="h" fact="0.2"/>
              <dgm:constr type="w" for="ch" forName="Child2" refType="w" fact="0.1747"/>
              <dgm:constr type="h" for="ch" forName="Child2" refType="h" fact="0.65"/>
              <dgm:constr type="l" for="ch" forName="Parent2" refType="w" fact="0.2001"/>
              <dgm:constr type="t" for="ch" forName="Parent2" refType="h" fact="0.075"/>
              <dgm:constr type="w" for="ch" forName="Parent2" refType="w" fact="0.2001"/>
              <dgm:constr type="h" for="ch" forName="Parent2" refType="h" fact="0.125"/>
              <dgm:constr type="l" for="ch" forName="ChildAccent3" refType="w" fact="0.4002"/>
              <dgm:constr type="t" for="ch" forName="ChildAccent3" refType="h" fact="0.2"/>
              <dgm:constr type="w" for="ch" forName="ChildAccent3" refType="w" fact="0.2001"/>
              <dgm:constr type="h" for="ch" forName="ChildAccent3" refType="h" fact="0.7"/>
              <dgm:constr type="l" for="ch" forName="Child3" refType="w" fact="0.4256"/>
              <dgm:constr type="t" for="ch" forName="Child3" refType="h" fact="0.2"/>
              <dgm:constr type="w" for="ch" forName="Child3" refType="w" fact="0.1747"/>
              <dgm:constr type="h" for="ch" forName="Child3" refType="h" fact="0.7"/>
              <dgm:constr type="l" for="ch" forName="Parent3" refType="w" fact="0.4002"/>
              <dgm:constr type="t" for="ch" forName="Parent3" refType="h" fact="0.0508"/>
              <dgm:constr type="w" for="ch" forName="Parent3" refType="w" fact="0.2001"/>
              <dgm:constr type="h" for="ch" forName="Parent3" refType="h" fact="0.15"/>
              <dgm:constr type="l" for="ch" forName="ChildAccent4" refType="w" fact="0.6003"/>
              <dgm:constr type="t" for="ch" forName="ChildAccent4" refType="h" fact="0.2"/>
              <dgm:constr type="w" for="ch" forName="ChildAccent4" refType="w" fact="0.2001"/>
              <dgm:constr type="h" for="ch" forName="ChildAccent4" refType="h" fact="0.75"/>
              <dgm:constr type="l" for="ch" forName="Child4" refType="w" fact="0.6257"/>
              <dgm:constr type="t" for="ch" forName="Child4" refType="h" fact="0.2"/>
              <dgm:constr type="w" for="ch" forName="Child4" refType="w" fact="0.1747"/>
              <dgm:constr type="h" for="ch" forName="Child4" refType="h" fact="0.75"/>
              <dgm:constr type="l" for="ch" forName="Parent4" refType="w" fact="0.6003"/>
              <dgm:constr type="t" for="ch" forName="Parent4" refType="h" fact="0.025"/>
              <dgm:constr type="w" for="ch" forName="Parent4" refType="w" fact="0.2001"/>
              <dgm:constr type="h" for="ch" forName="Parent4" refType="h" fact="0.175"/>
              <dgm:constr type="l" for="ch" forName="ChildAccent5" refType="w" fact="0.7999"/>
              <dgm:constr type="t" for="ch" forName="ChildAccent5" refType="h" fact="0.2"/>
              <dgm:constr type="w" for="ch" forName="ChildAccent5" refType="w" fact="0.2001"/>
              <dgm:constr type="h" for="ch" forName="ChildAccent5" refType="h" fact="0.8"/>
              <dgm:constr type="l" for="ch" forName="Child5" refType="w" fact="0.8253"/>
              <dgm:constr type="t" for="ch" forName="Child5" refType="h" fact="0.2"/>
              <dgm:constr type="w" for="ch" forName="Child5" refType="w" fact="0.1747"/>
              <dgm:constr type="h" for="ch" forName="Child5" refType="h" fact="0.8"/>
              <dgm:constr type="l" for="ch" forName="Parent5" refType="w" fact="0.7999"/>
              <dgm:constr type="t" for="ch" forName="Parent5" refType="h" fact="0"/>
              <dgm:constr type="w" for="ch" forName="Parent5" refType="w" fact="0.2001"/>
              <dgm:constr type="h" for="ch" forName="Parent5" refType="h" fact="0.2"/>
            </dgm:constrLst>
          </dgm:if>
          <dgm:if name="Name9" axis="ch" ptType="node" func="cnt" op="equ" val="6">
            <dgm:alg type="composite">
              <dgm:param type="ar" val="1.756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ChildAccent1" refType="w" fact="0"/>
              <dgm:constr type="t" for="ch" forName="ChildAccent1" refType="h" fact="0.2087"/>
              <dgm:constr type="w" for="ch" forName="ChildAccent1" refType="w" fact="0.167"/>
              <dgm:constr type="h" for="ch" forName="ChildAccent1" refType="h" fact="0.5586"/>
              <dgm:constr type="l" for="ch" forName="Child1" refType="w" fact="0.0212"/>
              <dgm:constr type="t" for="ch" forName="Child1" refType="h" fact="0.2087"/>
              <dgm:constr type="w" for="ch" forName="Child1" refType="w" fact="0.1458"/>
              <dgm:constr type="h" for="ch" forName="Child1" refType="h" fact="0.5586"/>
              <dgm:constr type="l" for="ch" forName="Parent1" refType="w" fact="0"/>
              <dgm:constr type="t" for="ch" forName="Parent1" refType="h" fact="0.1156"/>
              <dgm:constr type="w" for="ch" forName="Parent1" refType="w" fact="0.167"/>
              <dgm:constr type="h" for="ch" forName="Parent1" refType="h" fact="0.0931"/>
              <dgm:constr type="l" for="ch" forName="ChildAccent2" refType="w" fact="0.167"/>
              <dgm:constr type="t" for="ch" forName="ChildAccent2" refType="h" fact="0.2087"/>
              <dgm:constr type="w" for="ch" forName="ChildAccent2" refType="w" fact="0.167"/>
              <dgm:constr type="h" for="ch" forName="ChildAccent2" refType="h" fact="0.6051"/>
              <dgm:constr type="l" for="ch" forName="Child2" refType="w" fact="0.1888"/>
              <dgm:constr type="t" for="ch" forName="Child2" refType="h" fact="0.2087"/>
              <dgm:constr type="w" for="ch" forName="Child2" refType="w" fact="0.1458"/>
              <dgm:constr type="h" for="ch" forName="Child2" refType="h" fact="0.6051"/>
              <dgm:constr type="l" for="ch" forName="Parent2" refType="w" fact="0.167"/>
              <dgm:constr type="t" for="ch" forName="Parent2" refType="h" fact="0.0923"/>
              <dgm:constr type="w" for="ch" forName="Parent2" refType="w" fact="0.167"/>
              <dgm:constr type="h" for="ch" forName="Parent2" refType="h" fact="0.1164"/>
              <dgm:constr type="l" for="ch" forName="ChildAccent3" refType="w" fact="0.3339"/>
              <dgm:constr type="t" for="ch" forName="ChildAccent3" refType="h" fact="0.2087"/>
              <dgm:constr type="w" for="ch" forName="ChildAccent3" refType="w" fact="0.167"/>
              <dgm:constr type="h" for="ch" forName="ChildAccent3" refType="h" fact="0.6517"/>
              <dgm:constr type="l" for="ch" forName="Child3" refType="w" fact="0.3551"/>
              <dgm:constr type="t" for="ch" forName="Child3" refType="h" fact="0.2087"/>
              <dgm:constr type="w" for="ch" forName="Child3" refType="w" fact="0.1458"/>
              <dgm:constr type="h" for="ch" forName="Child3" refType="h" fact="0.6517"/>
              <dgm:constr type="l" for="ch" forName="Parent3" refType="w" fact="0.3339"/>
              <dgm:constr type="t" for="ch" forName="Parent3" refType="h" fact="0.0698"/>
              <dgm:constr type="w" for="ch" forName="Parent3" refType="w" fact="0.167"/>
              <dgm:constr type="h" for="ch" forName="Parent3" refType="h" fact="0.1396"/>
              <dgm:constr type="l" for="ch" forName="ChildAccent4" refType="w" fact="0.5009"/>
              <dgm:constr type="t" for="ch" forName="ChildAccent4" refType="h" fact="0.2087"/>
              <dgm:constr type="w" for="ch" forName="ChildAccent4" refType="w" fact="0.167"/>
              <dgm:constr type="h" for="ch" forName="ChildAccent4" refType="h" fact="0.6982"/>
              <dgm:constr type="l" for="ch" forName="Child4" refType="w" fact="0.5221"/>
              <dgm:constr type="t" for="ch" forName="Child4" refType="h" fact="0.2087"/>
              <dgm:constr type="w" for="ch" forName="Child4" refType="w" fact="0.1458"/>
              <dgm:constr type="h" for="ch" forName="Child4" refType="h" fact="0.6982"/>
              <dgm:constr type="l" for="ch" forName="Parent4" refType="w" fact="0.501"/>
              <dgm:constr type="t" for="ch" forName="Parent4" refType="h" fact="0.0458"/>
              <dgm:constr type="w" for="ch" forName="Parent4" refType="w" fact="0.167"/>
              <dgm:constr type="h" for="ch" forName="Parent4" refType="h" fact="0.1629"/>
              <dgm:constr type="l" for="ch" forName="ChildAccent5" refType="w" fact="0.6674"/>
              <dgm:constr type="t" for="ch" forName="ChildAccent5" refType="h" fact="0.2087"/>
              <dgm:constr type="w" for="ch" forName="ChildAccent5" refType="w" fact="0.167"/>
              <dgm:constr type="h" for="ch" forName="ChildAccent5" refType="h" fact="0.7448"/>
              <dgm:constr type="l" for="ch" forName="Child5" refType="w" fact="0.6886"/>
              <dgm:constr type="t" for="ch" forName="Child5" refType="h" fact="0.2087"/>
              <dgm:constr type="w" for="ch" forName="Child5" refType="w" fact="0.1458"/>
              <dgm:constr type="h" for="ch" forName="Child5" refType="h" fact="0.7448"/>
              <dgm:constr type="l" for="ch" forName="Parent5" refType="w" fact="0.668"/>
              <dgm:constr type="t" for="ch" forName="Parent5" refType="h" fact="0.0225"/>
              <dgm:constr type="w" for="ch" forName="Parent5" refType="w" fact="0.167"/>
              <dgm:constr type="h" for="ch" forName="Parent5" refType="h" fact="0.1862"/>
              <dgm:constr type="l" for="ch" forName="ChildAccent6" refType="w" fact="0.833"/>
              <dgm:constr type="t" for="ch" forName="ChildAccent6" refType="h" fact="0.2087"/>
              <dgm:constr type="w" for="ch" forName="ChildAccent6" refType="w" fact="0.167"/>
              <dgm:constr type="h" for="ch" forName="ChildAccent6" refType="h" fact="0.7913"/>
              <dgm:constr type="l" for="ch" forName="Child6" refType="w" fact="0.8542"/>
              <dgm:constr type="t" for="ch" forName="Child6" refType="h" fact="0.2087"/>
              <dgm:constr type="w" for="ch" forName="Child6" refType="w" fact="0.1458"/>
              <dgm:constr type="h" for="ch" forName="Child6" refType="h" fact="0.7913"/>
              <dgm:constr type="l" for="ch" forName="Parent6" refType="w" fact="0.835"/>
              <dgm:constr type="t" for="ch" forName="Parent6" refType="h" fact="0"/>
              <dgm:constr type="w" for="ch" forName="Parent6" refType="w" fact="0.165"/>
              <dgm:constr type="h" for="ch" forName="Parent6" refType="h" fact="0.2095"/>
            </dgm:constrLst>
          </dgm:if>
          <dgm:else name="Name10">
            <dgm:alg type="composite">
              <dgm:param type="ar" val="1.91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ChildAccent1" refType="w" fact="0"/>
              <dgm:constr type="t" for="ch" forName="ChildAccent1" refType="h" fact="0.2168"/>
              <dgm:constr type="w" for="ch" forName="ChildAccent1" refType="w" fact="0.1432"/>
              <dgm:constr type="h" for="ch" forName="ChildAccent1" refType="h" fact="0.5221"/>
              <dgm:constr type="l" for="ch" forName="Child1" refType="w" fact="0.0182"/>
              <dgm:constr type="t" for="ch" forName="Child1" refType="h" fact="0.2168"/>
              <dgm:constr type="w" for="ch" forName="Child1" refType="w" fact="0.125"/>
              <dgm:constr type="h" for="ch" forName="Child1" refType="h" fact="0.5221"/>
              <dgm:constr type="l" for="ch" forName="Parent1" refType="w" fact="0"/>
              <dgm:constr type="t" for="ch" forName="Parent1" refType="h" fact="0.1298"/>
              <dgm:constr type="w" for="ch" forName="Parent1" refType="w" fact="0.1432"/>
              <dgm:constr type="h" for="ch" forName="Parent1" refType="h" fact="0.087"/>
              <dgm:constr type="l" for="ch" forName="ChildAccent2" refType="w" fact="0.1432"/>
              <dgm:constr type="t" for="ch" forName="ChildAccent2" refType="h" fact="0.2168"/>
              <dgm:constr type="w" for="ch" forName="ChildAccent2" refType="w" fact="0.1432"/>
              <dgm:constr type="h" for="ch" forName="ChildAccent2" refType="h" fact="0.5656"/>
              <dgm:constr type="l" for="ch" forName="Child2" refType="w" fact="0.1614"/>
              <dgm:constr type="t" for="ch" forName="Child2" refType="h" fact="0.2168"/>
              <dgm:constr type="w" for="ch" forName="Child2" refType="w" fact="0.125"/>
              <dgm:constr type="h" for="ch" forName="Child2" refType="h" fact="0.5656"/>
              <dgm:constr type="l" for="ch" forName="Parent2" refType="w" fact="0.1432"/>
              <dgm:constr type="t" for="ch" forName="Parent2" refType="h" fact="0.108"/>
              <dgm:constr type="w" for="ch" forName="Parent2" refType="w" fact="0.1432"/>
              <dgm:constr type="h" for="ch" forName="Parent2" refType="h" fact="0.1088"/>
              <dgm:constr type="l" for="ch" forName="ChildAccent3" refType="w" fact="0.2865"/>
              <dgm:constr type="t" for="ch" forName="ChildAccent3" refType="h" fact="0.2168"/>
              <dgm:constr type="w" for="ch" forName="ChildAccent3" refType="w" fact="0.1432"/>
              <dgm:constr type="h" for="ch" forName="ChildAccent3" refType="h" fact="0.6091"/>
              <dgm:constr type="l" for="ch" forName="Child3" refType="w" fact="0.3047"/>
              <dgm:constr type="t" for="ch" forName="Child3" refType="h" fact="0.2168"/>
              <dgm:constr type="w" for="ch" forName="Child3" refType="w" fact="0.125"/>
              <dgm:constr type="h" for="ch" forName="Child3" refType="h" fact="0.6091"/>
              <dgm:constr type="l" for="ch" forName="Parent3" refType="w" fact="0.2865"/>
              <dgm:constr type="t" for="ch" forName="Parent3" refType="h" fact="0.087"/>
              <dgm:constr type="w" for="ch" forName="Parent3" refType="w" fact="0.1432"/>
              <dgm:constr type="h" for="ch" forName="Parent3" refType="h" fact="0.1305"/>
              <dgm:constr type="l" for="ch" forName="ChildAccent4" refType="w" fact="0.4297"/>
              <dgm:constr type="t" for="ch" forName="ChildAccent4" refType="h" fact="0.2168"/>
              <dgm:constr type="w" for="ch" forName="ChildAccent4" refType="w" fact="0.1432"/>
              <dgm:constr type="h" for="ch" forName="ChildAccent4" refType="h" fact="0.6526"/>
              <dgm:constr type="l" for="ch" forName="Child4" refType="w" fact="0.4479"/>
              <dgm:constr type="t" for="ch" forName="Child4" refType="h" fact="0.2168"/>
              <dgm:constr type="w" for="ch" forName="Child4" refType="w" fact="0.125"/>
              <dgm:constr type="h" for="ch" forName="Child4" refType="h" fact="0.6526"/>
              <dgm:constr type="l" for="ch" forName="Parent4" refType="w" fact="0.4297"/>
              <dgm:constr type="t" for="ch" forName="Parent4" refType="h" fact="0.0645"/>
              <dgm:constr type="w" for="ch" forName="Parent4" refType="w" fact="0.1432"/>
              <dgm:constr type="h" for="ch" forName="Parent4" refType="h" fact="0.1523"/>
              <dgm:constr type="l" for="ch" forName="ChildAccent5" refType="w" fact="0.5726"/>
              <dgm:constr type="t" for="ch" forName="ChildAccent5" refType="h" fact="0.2168"/>
              <dgm:constr type="w" for="ch" forName="ChildAccent5" refType="w" fact="0.1432"/>
              <dgm:constr type="h" for="ch" forName="ChildAccent5" refType="h" fact="0.6962"/>
              <dgm:constr type="l" for="ch" forName="Child5" refType="w" fact="0.5908"/>
              <dgm:constr type="t" for="ch" forName="Child5" refType="h" fact="0.2168"/>
              <dgm:constr type="w" for="ch" forName="Child5" refType="w" fact="0.125"/>
              <dgm:constr type="h" for="ch" forName="Child5" refType="h" fact="0.6962"/>
              <dgm:constr type="l" for="ch" forName="Parent5" refType="w" fact="0.5726"/>
              <dgm:constr type="t" for="ch" forName="Parent5" refType="h" fact="0.0428"/>
              <dgm:constr type="w" for="ch" forName="Parent5" refType="w" fact="0.1432"/>
              <dgm:constr type="h" for="ch" forName="Parent5" refType="h" fact="0.174"/>
              <dgm:constr type="l" for="ch" forName="ChildAccent6" refType="w" fact="0.7147"/>
              <dgm:constr type="t" for="ch" forName="ChildAccent6" refType="h" fact="0.2168"/>
              <dgm:constr type="w" for="ch" forName="ChildAccent6" refType="w" fact="0.1432"/>
              <dgm:constr type="h" for="ch" forName="ChildAccent6" refType="h" fact="0.7397"/>
              <dgm:constr type="l" for="ch" forName="Child6" refType="w" fact="0.7329"/>
              <dgm:constr type="t" for="ch" forName="Child6" refType="h" fact="0.2168"/>
              <dgm:constr type="w" for="ch" forName="Child6" refType="w" fact="0.125"/>
              <dgm:constr type="h" for="ch" forName="Child6" refType="h" fact="0.7397"/>
              <dgm:constr type="l" for="ch" forName="Parent6" refType="w" fact="0.716"/>
              <dgm:constr type="t" for="ch" forName="Parent6" refType="h" fact="0.0217"/>
              <dgm:constr type="w" for="ch" forName="Parent6" refType="w" fact="0.1424"/>
              <dgm:constr type="h" for="ch" forName="Parent6" refType="h" fact="0.1958"/>
              <dgm:constr type="l" for="ch" forName="ChildAccent7" refType="w" fact="0.8568"/>
              <dgm:constr type="t" for="ch" forName="ChildAccent7" refType="h" fact="0.2168"/>
              <dgm:constr type="w" for="ch" forName="ChildAccent7" refType="w" fact="0.1432"/>
              <dgm:constr type="h" for="ch" forName="ChildAccent7" refType="h" fact="0.7832"/>
              <dgm:constr type="l" for="ch" forName="Child7" refType="w" fact="0.875"/>
              <dgm:constr type="t" for="ch" forName="Child7" refType="h" fact="0.2168"/>
              <dgm:constr type="w" for="ch" forName="Child7" refType="w" fact="0.125"/>
              <dgm:constr type="h" for="ch" forName="Child7" refType="h" fact="0.7832"/>
              <dgm:constr type="l" for="ch" forName="Parent7" refType="w" fact="0.8577"/>
              <dgm:constr type="t" for="ch" forName="Parent7" refType="h" fact="0"/>
              <dgm:constr type="w" for="ch" forName="Parent7" refType="w" fact="0.1423"/>
              <dgm:constr type="h" for="ch" forName="Parent7" refType="h" fact="0.2175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0.4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Accent1" refType="w" fact="0"/>
              <dgm:constr type="t" for="ch" forName="ChildAccent1" refType="h" fact="0.1429"/>
              <dgm:constr type="w" for="ch" forName="ChildAccent1" refType="w"/>
              <dgm:constr type="h" for="ch" forName="ChildAccent1" refType="h" fact="0.8571"/>
              <dgm:constr type="l" for="ch" forName="Child1" refType="w" fact="0"/>
              <dgm:constr type="t" for="ch" forName="Child1" refType="h" fact="0.1429"/>
              <dgm:constr type="w" for="ch" forName="Child1" refType="w" fact="0.873"/>
              <dgm:constr type="h" for="ch" forName="Child1" refType="h" fact="0.8571"/>
              <dgm:constr type="l" for="ch" forName="Parent1" refType="w" fact="0"/>
              <dgm:constr type="t" for="ch" forName="Parent1" refType="h" fact="0"/>
              <dgm:constr type="w" for="ch" forName="Parent1" refType="w"/>
              <dgm:constr type="h" for="ch" forName="Parent1" refType="h" fact="0.1429"/>
            </dgm:constrLst>
          </dgm:if>
          <dgm:if name="Name14" axis="ch" ptType="node" func="cnt" op="equ" val="2">
            <dgm:alg type="composite">
              <dgm:param type="ar" val="0.812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Child2" refType="w" fact="0"/>
              <dgm:constr type="t" for="ch" forName="Child2" refType="h" fact="0.1613"/>
              <dgm:constr type="w" for="ch" forName="Child2" refType="w" fact="0.4365"/>
              <dgm:constr type="h" for="ch" forName="Child2" refType="h" fact="0.8387"/>
              <dgm:constr type="l" for="ch" forName="Child1" refType="w" fact="0.5"/>
              <dgm:constr type="t" for="ch" forName="Child1" refType="h" fact="0.1613"/>
              <dgm:constr type="w" for="ch" forName="Child1" refType="w" fact="0.4365"/>
              <dgm:constr type="h" for="ch" forName="Child1" refType="h" fact="0.7742"/>
              <dgm:constr type="l" for="ch" forName="ChildAccent1" refType="w" fact="0.5"/>
              <dgm:constr type="t" for="ch" forName="ChildAccent1" refType="h" fact="0.1613"/>
              <dgm:constr type="w" for="ch" forName="ChildAccent1" refType="w" fact="0.5"/>
              <dgm:constr type="h" for="ch" forName="ChildAccent1" refType="h" fact="0.7742"/>
              <dgm:constr type="l" for="ch" forName="Parent1" refType="w" fact="0.5"/>
              <dgm:constr type="t" for="ch" forName="Parent1" refType="h" fact="0.0323"/>
              <dgm:constr type="w" for="ch" forName="Parent1" refType="w" fact="0.5"/>
              <dgm:constr type="h" for="ch" forName="Parent1" refType="h" fact="0.129"/>
              <dgm:constr type="l" for="ch" forName="ChildAccent2" refType="w" fact="0"/>
              <dgm:constr type="t" for="ch" forName="ChildAccent2" refType="h" fact="0.1613"/>
              <dgm:constr type="w" for="ch" forName="ChildAccent2" refType="w" fact="0.5"/>
              <dgm:constr type="h" for="ch" forName="ChildAccent2" refType="h" fact="0.8387"/>
              <dgm:constr type="l" for="ch" forName="Parent2" refType="w" fact="0"/>
              <dgm:constr type="t" for="ch" forName="Parent2" refType="h" fact="0"/>
              <dgm:constr type="w" for="ch" forName="Parent2" refType="w" fact="0.5"/>
              <dgm:constr type="h" for="ch" forName="Parent2" refType="h" fact="0.1613"/>
            </dgm:constrLst>
          </dgm:if>
          <dgm:if name="Name15" axis="ch" ptType="node" func="cnt" op="equ" val="3">
            <dgm:alg type="composite">
              <dgm:param type="ar" val="1.112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Child3" refType="w" fact="0"/>
              <dgm:constr type="t" for="ch" forName="Child3" refType="h" fact="0.1757"/>
              <dgm:constr type="w" for="ch" forName="Child3" refType="w" fact="0.291"/>
              <dgm:constr type="h" for="ch" forName="Child3" refType="h" fact="0.8243"/>
              <dgm:constr type="l" for="ch" forName="Child2" refType="w" fact="0.3333"/>
              <dgm:constr type="t" for="ch" forName="Child2" refType="h" fact="0.1757"/>
              <dgm:constr type="w" for="ch" forName="Child2" refType="w" fact="0.291"/>
              <dgm:constr type="h" for="ch" forName="Child2" refType="h" fact="0.7655"/>
              <dgm:constr type="l" for="ch" forName="Child1" refType="w" fact="0.6667"/>
              <dgm:constr type="t" for="ch" forName="Child1" refType="h" fact="0.1757"/>
              <dgm:constr type="w" for="ch" forName="Child1" refType="w" fact="0.291"/>
              <dgm:constr type="h" for="ch" forName="Child1" refType="h" fact="0.7066"/>
              <dgm:constr type="l" for="ch" forName="ChildAccent1" refType="w" fact="0.6667"/>
              <dgm:constr type="t" for="ch" forName="ChildAccent1" refType="h" fact="0.1757"/>
              <dgm:constr type="w" for="ch" forName="ChildAccent1" refType="w" fact="0.3333"/>
              <dgm:constr type="h" for="ch" forName="ChildAccent1" refType="h" fact="0.7066"/>
              <dgm:constr type="l" for="ch" forName="Parent1" refType="w" fact="0.6667"/>
              <dgm:constr type="t" for="ch" forName="Parent1" refType="h" fact="0.0579"/>
              <dgm:constr type="w" for="ch" forName="Parent1" refType="w" fact="0.3333"/>
              <dgm:constr type="h" for="ch" forName="Parent1" refType="h" fact="0.1178"/>
              <dgm:constr type="l" for="ch" forName="ChildAccent2" refType="w" fact="0.3333"/>
              <dgm:constr type="t" for="ch" forName="ChildAccent2" refType="h" fact="0.1757"/>
              <dgm:constr type="w" for="ch" forName="ChildAccent2" refType="w" fact="0.3333"/>
              <dgm:constr type="h" for="ch" forName="ChildAccent2" refType="h" fact="0.7655"/>
              <dgm:constr type="l" for="ch" forName="Parent2" refType="w" fact="0.3333"/>
              <dgm:constr type="t" for="ch" forName="Parent2" refType="h" fact="0.0285"/>
              <dgm:constr type="w" for="ch" forName="Parent2" refType="w" fact="0.3333"/>
              <dgm:constr type="h" for="ch" forName="Parent2" refType="h" fact="0.1472"/>
              <dgm:constr type="l" for="ch" forName="ChildAccent3" refType="w" fact="0"/>
              <dgm:constr type="t" for="ch" forName="ChildAccent3" refType="h" fact="0.1757"/>
              <dgm:constr type="w" for="ch" forName="ChildAccent3" refType="w" fact="0.3333"/>
              <dgm:constr type="h" for="ch" forName="ChildAccent3" refType="h" fact="0.8243"/>
              <dgm:constr type="l" for="ch" forName="Parent3" refType="w" fact="0"/>
              <dgm:constr type="t" for="ch" forName="Parent3" refType="h" fact="0"/>
              <dgm:constr type="w" for="ch" forName="Parent3" refType="w" fact="0.3333"/>
              <dgm:constr type="h" for="ch" forName="Parent3" refType="h" fact="0.176"/>
            </dgm:constrLst>
          </dgm:if>
          <dgm:if name="Name16" axis="ch" ptType="node" func="cnt" op="equ" val="4">
            <dgm:alg type="composite">
              <dgm:param type="ar" val="1.3622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Child4" refType="w" fact="0"/>
              <dgm:constr type="t" for="ch" forName="Child4" refType="h" fact="0.1892"/>
              <dgm:constr type="w" for="ch" forName="Child4" refType="w" fact="0.2183"/>
              <dgm:constr type="h" for="ch" forName="Child4" refType="h" fact="0.8108"/>
              <dgm:constr type="l" for="ch" forName="Child3" refType="w" fact="0.25"/>
              <dgm:constr type="t" for="ch" forName="Child3" refType="h" fact="0.1892"/>
              <dgm:constr type="w" for="ch" forName="Child3" refType="w" fact="0.2183"/>
              <dgm:constr type="h" for="ch" forName="Child3" refType="h" fact="0.7568"/>
              <dgm:constr type="l" for="ch" forName="Child2" refType="w" fact="0.5"/>
              <dgm:constr type="t" for="ch" forName="Child2" refType="h" fact="0.1892"/>
              <dgm:constr type="w" for="ch" forName="Child2" refType="w" fact="0.2183"/>
              <dgm:constr type="h" for="ch" forName="Child2" refType="h" fact="0.7027"/>
              <dgm:constr type="l" for="ch" forName="Child1" refType="w" fact="0.75"/>
              <dgm:constr type="t" for="ch" forName="Child1" refType="h" fact="0.1892"/>
              <dgm:constr type="w" for="ch" forName="Child1" refType="w" fact="0.2183"/>
              <dgm:constr type="h" for="ch" forName="Child1" refType="h" fact="0.6486"/>
              <dgm:constr type="l" for="ch" forName="ChildAccent1" refType="w" fact="0.75"/>
              <dgm:constr type="t" for="ch" forName="ChildAccent1" refType="h" fact="0.1892"/>
              <dgm:constr type="w" for="ch" forName="ChildAccent1" refType="w" fact="0.25"/>
              <dgm:constr type="h" for="ch" forName="ChildAccent1" refType="h" fact="0.6486"/>
              <dgm:constr type="l" for="ch" forName="Parent1" refType="w" fact="0.75"/>
              <dgm:constr type="t" for="ch" forName="Parent1" refType="h" fact="0.0811"/>
              <dgm:constr type="w" for="ch" forName="Parent1" refType="w" fact="0.25"/>
              <dgm:constr type="h" for="ch" forName="Parent1" refType="h" fact="0.1081"/>
              <dgm:constr type="l" for="ch" forName="ChildAccent2" refType="w" fact="0.5"/>
              <dgm:constr type="t" for="ch" forName="ChildAccent2" refType="h" fact="0.1892"/>
              <dgm:constr type="w" for="ch" forName="ChildAccent2" refType="w" fact="0.25"/>
              <dgm:constr type="h" for="ch" forName="ChildAccent2" refType="h" fact="0.7027"/>
              <dgm:constr type="l" for="ch" forName="Parent2" refType="w" fact="0.5"/>
              <dgm:constr type="t" for="ch" forName="Parent2" refType="h" fact="0.0541"/>
              <dgm:constr type="w" for="ch" forName="Parent2" refType="w" fact="0.25"/>
              <dgm:constr type="h" for="ch" forName="Parent2" refType="h" fact="0.1351"/>
              <dgm:constr type="l" for="ch" forName="ChildAccent3" refType="w" fact="0.25"/>
              <dgm:constr type="t" for="ch" forName="ChildAccent3" refType="h" fact="0.1892"/>
              <dgm:constr type="w" for="ch" forName="ChildAccent3" refType="w" fact="0.25"/>
              <dgm:constr type="h" for="ch" forName="ChildAccent3" refType="h" fact="0.7568"/>
              <dgm:constr type="l" for="ch" forName="Parent3" refType="w" fact="0.25"/>
              <dgm:constr type="t" for="ch" forName="Parent3" refType="h" fact="0.0279"/>
              <dgm:constr type="w" for="ch" forName="Parent3" refType="w" fact="0.25"/>
              <dgm:constr type="h" for="ch" forName="Parent3" refType="h" fact="0.161"/>
              <dgm:constr type="l" for="ch" forName="ChildAccent4" refType="w" fact="0"/>
              <dgm:constr type="t" for="ch" forName="ChildAccent4" refType="h" fact="0.1892"/>
              <dgm:constr type="w" for="ch" forName="ChildAccent4" refType="w" fact="0.25"/>
              <dgm:constr type="h" for="ch" forName="ChildAccent4" refType="h" fact="0.8108"/>
              <dgm:constr type="l" for="ch" forName="Parent4" refType="w" fact="0"/>
              <dgm:constr type="t" for="ch" forName="Parent4" refType="h" fact="0"/>
              <dgm:constr type="w" for="ch" forName="Parent4" refType="w" fact="0.25"/>
              <dgm:constr type="h" for="ch" forName="Parent4" refType="h" fact="0.1892"/>
            </dgm:constrLst>
          </dgm:if>
          <dgm:if name="Name17" axis="ch" ptType="node" func="cnt" op="equ" val="5">
            <dgm:alg type="composite">
              <dgm:param type="ar" val="1.5742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Child5" refType="w" fact="0"/>
              <dgm:constr type="t" for="ch" forName="Child5" refType="h" fact="0.2"/>
              <dgm:constr type="w" for="ch" forName="Child5" refType="w" fact="0.1747"/>
              <dgm:constr type="h" for="ch" forName="Child5" refType="h" fact="0.8"/>
              <dgm:constr type="l" for="ch" forName="Child4" refType="w" fact="0.2001"/>
              <dgm:constr type="t" for="ch" forName="Child4" refType="h" fact="0.2"/>
              <dgm:constr type="w" for="ch" forName="Child4" refType="w" fact="0.1747"/>
              <dgm:constr type="h" for="ch" forName="Child4" refType="h" fact="0.75"/>
              <dgm:constr type="l" for="ch" forName="Child3" refType="w" fact="0.4002"/>
              <dgm:constr type="t" for="ch" forName="Child3" refType="h" fact="0.2"/>
              <dgm:constr type="w" for="ch" forName="Child3" refType="w" fact="0.1747"/>
              <dgm:constr type="h" for="ch" forName="Child3" refType="h" fact="0.7"/>
              <dgm:constr type="l" for="ch" forName="Child2" refType="w" fact="0.6003"/>
              <dgm:constr type="t" for="ch" forName="Child2" refType="h" fact="0.2"/>
              <dgm:constr type="w" for="ch" forName="Child2" refType="w" fact="0.1747"/>
              <dgm:constr type="h" for="ch" forName="Child2" refType="h" fact="0.65"/>
              <dgm:constr type="l" for="ch" forName="Child1" refType="w" fact="0.7999"/>
              <dgm:constr type="t" for="ch" forName="Child1" refType="h" fact="0.2"/>
              <dgm:constr type="w" for="ch" forName="Child1" refType="w" fact="0.1747"/>
              <dgm:constr type="h" for="ch" forName="Child1" refType="h" fact="0.6"/>
              <dgm:constr type="l" for="ch" forName="ChildAccent1" refType="w" fact="0.7999"/>
              <dgm:constr type="t" for="ch" forName="ChildAccent1" refType="h" fact="0.2"/>
              <dgm:constr type="w" for="ch" forName="ChildAccent1" refType="w" fact="0.2001"/>
              <dgm:constr type="h" for="ch" forName="ChildAccent1" refType="h" fact="0.6"/>
              <dgm:constr type="l" for="ch" forName="Parent1" refType="w" fact="0.7999"/>
              <dgm:constr type="t" for="ch" forName="Parent1" refType="h" fact="0.1"/>
              <dgm:constr type="w" for="ch" forName="Parent1" refType="w" fact="0.2001"/>
              <dgm:constr type="h" for="ch" forName="Parent1" refType="h" fact="0.1"/>
              <dgm:constr type="l" for="ch" forName="ChildAccent2" refType="w" fact="0.6003"/>
              <dgm:constr type="t" for="ch" forName="ChildAccent2" refType="h" fact="0.2"/>
              <dgm:constr type="w" for="ch" forName="ChildAccent2" refType="w" fact="0.2001"/>
              <dgm:constr type="h" for="ch" forName="ChildAccent2" refType="h" fact="0.65"/>
              <dgm:constr type="l" for="ch" forName="Parent2" refType="w" fact="0.6003"/>
              <dgm:constr type="t" for="ch" forName="Parent2" refType="h" fact="0.075"/>
              <dgm:constr type="w" for="ch" forName="Parent2" refType="w" fact="0.2001"/>
              <dgm:constr type="h" for="ch" forName="Parent2" refType="h" fact="0.125"/>
              <dgm:constr type="l" for="ch" forName="ChildAccent3" refType="w" fact="0.4002"/>
              <dgm:constr type="t" for="ch" forName="ChildAccent3" refType="h" fact="0.2"/>
              <dgm:constr type="w" for="ch" forName="ChildAccent3" refType="w" fact="0.2001"/>
              <dgm:constr type="h" for="ch" forName="ChildAccent3" refType="h" fact="0.7"/>
              <dgm:constr type="l" for="ch" forName="Parent3" refType="w" fact="0.4002"/>
              <dgm:constr type="t" for="ch" forName="Parent3" refType="h" fact="0.0508"/>
              <dgm:constr type="w" for="ch" forName="Parent3" refType="w" fact="0.2001"/>
              <dgm:constr type="h" for="ch" forName="Parent3" refType="h" fact="0.15"/>
              <dgm:constr type="l" for="ch" forName="ChildAccent4" refType="w" fact="0.2001"/>
              <dgm:constr type="t" for="ch" forName="ChildAccent4" refType="h" fact="0.2"/>
              <dgm:constr type="w" for="ch" forName="ChildAccent4" refType="w" fact="0.2001"/>
              <dgm:constr type="h" for="ch" forName="ChildAccent4" refType="h" fact="0.75"/>
              <dgm:constr type="l" for="ch" forName="Parent4" refType="w" fact="0.2001"/>
              <dgm:constr type="t" for="ch" forName="Parent4" refType="h" fact="0.025"/>
              <dgm:constr type="w" for="ch" forName="Parent4" refType="w" fact="0.2001"/>
              <dgm:constr type="h" for="ch" forName="Parent4" refType="h" fact="0.175"/>
              <dgm:constr type="l" for="ch" forName="ChildAccent5" refType="w" fact="0"/>
              <dgm:constr type="t" for="ch" forName="ChildAccent5" refType="h" fact="0.2"/>
              <dgm:constr type="w" for="ch" forName="ChildAccent5" refType="w" fact="0.2001"/>
              <dgm:constr type="h" for="ch" forName="ChildAccent5" refType="h" fact="0.8"/>
              <dgm:constr type="l" for="ch" forName="Parent5" refType="w" fact="0"/>
              <dgm:constr type="t" for="ch" forName="Parent5" refType="h" fact="0"/>
              <dgm:constr type="w" for="ch" forName="Parent5" refType="w" fact="0.2001"/>
              <dgm:constr type="h" for="ch" forName="Parent5" refType="h" fact="0.2"/>
            </dgm:constrLst>
          </dgm:if>
          <dgm:if name="Name18" axis="ch" ptType="node" func="cnt" op="equ" val="6">
            <dgm:alg type="composite">
              <dgm:param type="ar" val="1.756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Child6" refType="w" fact="0"/>
              <dgm:constr type="t" for="ch" forName="Child6" refType="h" fact="0.2087"/>
              <dgm:constr type="w" for="ch" forName="Child6" refType="w" fact="0.1458"/>
              <dgm:constr type="h" for="ch" forName="Child6" refType="h" fact="0.7913"/>
              <dgm:constr type="l" for="ch" forName="Child5" refType="w" fact="0.167"/>
              <dgm:constr type="t" for="ch" forName="Child5" refType="h" fact="0.2087"/>
              <dgm:constr type="w" for="ch" forName="Child5" refType="w" fact="0.1458"/>
              <dgm:constr type="h" for="ch" forName="Child5" refType="h" fact="0.7448"/>
              <dgm:constr type="l" for="ch" forName="Child4" refType="w" fact="0.3339"/>
              <dgm:constr type="t" for="ch" forName="Child4" refType="h" fact="0.2087"/>
              <dgm:constr type="w" for="ch" forName="Child4" refType="w" fact="0.1458"/>
              <dgm:constr type="h" for="ch" forName="Child4" refType="h" fact="0.6982"/>
              <dgm:constr type="l" for="ch" forName="Child3" refType="w" fact="0.5009"/>
              <dgm:constr type="t" for="ch" forName="Child3" refType="h" fact="0.2087"/>
              <dgm:constr type="w" for="ch" forName="Child3" refType="w" fact="0.1458"/>
              <dgm:constr type="h" for="ch" forName="Child3" refType="h" fact="0.6517"/>
              <dgm:constr type="l" for="ch" forName="Child2" refType="w" fact="0.6674"/>
              <dgm:constr type="t" for="ch" forName="Child2" refType="h" fact="0.2087"/>
              <dgm:constr type="w" for="ch" forName="Child2" refType="w" fact="0.1458"/>
              <dgm:constr type="h" for="ch" forName="Child2" refType="h" fact="0.6051"/>
              <dgm:constr type="l" for="ch" forName="Child1" refType="w" fact="0.833"/>
              <dgm:constr type="t" for="ch" forName="Child1" refType="h" fact="0.2087"/>
              <dgm:constr type="w" for="ch" forName="Child1" refType="w" fact="0.1458"/>
              <dgm:constr type="h" for="ch" forName="Child1" refType="h" fact="0.5586"/>
              <dgm:constr type="l" for="ch" forName="ChildAccent1" refType="w" fact="0.833"/>
              <dgm:constr type="t" for="ch" forName="ChildAccent1" refType="h" fact="0.2087"/>
              <dgm:constr type="w" for="ch" forName="ChildAccent1" refType="w" fact="0.167"/>
              <dgm:constr type="h" for="ch" forName="ChildAccent1" refType="h" fact="0.5586"/>
              <dgm:constr type="l" for="ch" forName="Parent1" refType="w" fact="0.833"/>
              <dgm:constr type="t" for="ch" forName="Parent1" refType="h" fact="0.1156"/>
              <dgm:constr type="w" for="ch" forName="Parent1" refType="w" fact="0.167"/>
              <dgm:constr type="h" for="ch" forName="Parent1" refType="h" fact="0.0931"/>
              <dgm:constr type="l" for="ch" forName="ChildAccent2" refType="w" fact="0.6674"/>
              <dgm:constr type="t" for="ch" forName="ChildAccent2" refType="h" fact="0.2087"/>
              <dgm:constr type="w" for="ch" forName="ChildAccent2" refType="w" fact="0.167"/>
              <dgm:constr type="h" for="ch" forName="ChildAccent2" refType="h" fact="0.6051"/>
              <dgm:constr type="l" for="ch" forName="Parent2" refType="w" fact="0.6674"/>
              <dgm:constr type="t" for="ch" forName="Parent2" refType="h" fact="0.0923"/>
              <dgm:constr type="w" for="ch" forName="Parent2" refType="w" fact="0.165"/>
              <dgm:constr type="h" for="ch" forName="Parent2" refType="h" fact="0.1164"/>
              <dgm:constr type="l" for="ch" forName="ChildAccent3" refType="w" fact="0.5009"/>
              <dgm:constr type="t" for="ch" forName="ChildAccent3" refType="h" fact="0.2087"/>
              <dgm:constr type="w" for="ch" forName="ChildAccent3" refType="w" fact="0.167"/>
              <dgm:constr type="h" for="ch" forName="ChildAccent3" refType="h" fact="0.6517"/>
              <dgm:constr type="l" for="ch" forName="Parent3" refType="w" fact="0.5009"/>
              <dgm:constr type="t" for="ch" forName="Parent3" refType="h" fact="0.0698"/>
              <dgm:constr type="w" for="ch" forName="Parent3" refType="w" fact="0.166"/>
              <dgm:constr type="h" for="ch" forName="Parent3" refType="h" fact="0.1396"/>
              <dgm:constr type="l" for="ch" forName="ChildAccent4" refType="w" fact="0.3339"/>
              <dgm:constr type="t" for="ch" forName="ChildAccent4" refType="h" fact="0.2087"/>
              <dgm:constr type="w" for="ch" forName="ChildAccent4" refType="w" fact="0.167"/>
              <dgm:constr type="h" for="ch" forName="ChildAccent4" refType="h" fact="0.6982"/>
              <dgm:constr type="l" for="ch" forName="Parent4" refType="w" fact="0.3339"/>
              <dgm:constr type="t" for="ch" forName="Parent4" refType="h" fact="0.0458"/>
              <dgm:constr type="w" for="ch" forName="Parent4" refType="w" fact="0.167"/>
              <dgm:constr type="h" for="ch" forName="Parent4" refType="h" fact="0.1629"/>
              <dgm:constr type="l" for="ch" forName="ChildAccent5" refType="w" fact="0.167"/>
              <dgm:constr type="t" for="ch" forName="ChildAccent5" refType="h" fact="0.2087"/>
              <dgm:constr type="w" for="ch" forName="ChildAccent5" refType="w" fact="0.167"/>
              <dgm:constr type="h" for="ch" forName="ChildAccent5" refType="h" fact="0.7448"/>
              <dgm:constr type="l" for="ch" forName="Parent5" refType="w" fact="0.167"/>
              <dgm:constr type="t" for="ch" forName="Parent5" refType="h" fact="0.0225"/>
              <dgm:constr type="w" for="ch" forName="Parent5" refType="w" fact="0.167"/>
              <dgm:constr type="h" for="ch" forName="Parent5" refType="h" fact="0.1862"/>
              <dgm:constr type="l" for="ch" forName="ChildAccent6" refType="w" fact="0"/>
              <dgm:constr type="t" for="ch" forName="ChildAccent6" refType="h" fact="0.2087"/>
              <dgm:constr type="w" for="ch" forName="ChildAccent6" refType="w" fact="0.167"/>
              <dgm:constr type="h" for="ch" forName="ChildAccent6" refType="h" fact="0.7913"/>
              <dgm:constr type="l" for="ch" forName="Parent6" refType="w" fact="0"/>
              <dgm:constr type="t" for="ch" forName="Parent6" refType="h" fact="0"/>
              <dgm:constr type="w" for="ch" forName="Parent6" refType="w" fact="0.167"/>
              <dgm:constr type="h" for="ch" forName="Parent6" refType="h" fact="0.2095"/>
            </dgm:constrLst>
          </dgm:if>
          <dgm:else name="Name19">
            <dgm:alg type="composite">
              <dgm:param type="ar" val="1.91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Child7" refType="w" fact="0"/>
              <dgm:constr type="t" for="ch" forName="Child7" refType="h" fact="0.2168"/>
              <dgm:constr type="w" for="ch" forName="Child7" refType="w" fact="0.125"/>
              <dgm:constr type="h" for="ch" forName="Child7" refType="h" fact="0.7832"/>
              <dgm:constr type="l" for="ch" forName="Child6" refType="w" fact="0.1432"/>
              <dgm:constr type="t" for="ch" forName="Child6" refType="h" fact="0.2168"/>
              <dgm:constr type="w" for="ch" forName="Child6" refType="w" fact="0.125"/>
              <dgm:constr type="h" for="ch" forName="Child6" refType="h" fact="0.7397"/>
              <dgm:constr type="l" for="ch" forName="Child5" refType="w" fact="0.2865"/>
              <dgm:constr type="t" for="ch" forName="Child5" refType="h" fact="0.2168"/>
              <dgm:constr type="w" for="ch" forName="Child5" refType="w" fact="0.125"/>
              <dgm:constr type="h" for="ch" forName="Child5" refType="h" fact="0.6962"/>
              <dgm:constr type="l" for="ch" forName="Child4" refType="w" fact="0.4297"/>
              <dgm:constr type="t" for="ch" forName="Child4" refType="h" fact="0.2168"/>
              <dgm:constr type="w" for="ch" forName="Child4" refType="w" fact="0.125"/>
              <dgm:constr type="h" for="ch" forName="Child4" refType="h" fact="0.6526"/>
              <dgm:constr type="l" for="ch" forName="Child3" refType="w" fact="0.5726"/>
              <dgm:constr type="t" for="ch" forName="Child3" refType="h" fact="0.2168"/>
              <dgm:constr type="w" for="ch" forName="Child3" refType="w" fact="0.125"/>
              <dgm:constr type="h" for="ch" forName="Child3" refType="h" fact="0.6091"/>
              <dgm:constr type="l" for="ch" forName="Child2" refType="w" fact="0.7147"/>
              <dgm:constr type="t" for="ch" forName="Child2" refType="h" fact="0.2168"/>
              <dgm:constr type="w" for="ch" forName="Child2" refType="w" fact="0.125"/>
              <dgm:constr type="h" for="ch" forName="Child2" refType="h" fact="0.5656"/>
              <dgm:constr type="l" for="ch" forName="Child1" refType="w" fact="0.8568"/>
              <dgm:constr type="t" for="ch" forName="Child1" refType="h" fact="0.2168"/>
              <dgm:constr type="w" for="ch" forName="Child1" refType="w" fact="0.125"/>
              <dgm:constr type="h" for="ch" forName="Child1" refType="h" fact="0.5221"/>
              <dgm:constr type="l" for="ch" forName="ChildAccent1" refType="w" fact="0.8568"/>
              <dgm:constr type="t" for="ch" forName="ChildAccent1" refType="h" fact="0.2168"/>
              <dgm:constr type="w" for="ch" forName="ChildAccent1" refType="w" fact="0.1432"/>
              <dgm:constr type="h" for="ch" forName="ChildAccent1" refType="h" fact="0.5221"/>
              <dgm:constr type="l" for="ch" forName="Parent1" refType="w" fact="0.8568"/>
              <dgm:constr type="t" for="ch" forName="Parent1" refType="h" fact="0.1298"/>
              <dgm:constr type="w" for="ch" forName="Parent1" refType="w" fact="0.1432"/>
              <dgm:constr type="h" for="ch" forName="Parent1" refType="h" fact="0.087"/>
              <dgm:constr type="l" for="ch" forName="ChildAccent2" refType="w" fact="0.7147"/>
              <dgm:constr type="t" for="ch" forName="ChildAccent2" refType="h" fact="0.2168"/>
              <dgm:constr type="w" for="ch" forName="ChildAccent2" refType="w" fact="0.1432"/>
              <dgm:constr type="h" for="ch" forName="ChildAccent2" refType="h" fact="0.5656"/>
              <dgm:constr type="l" for="ch" forName="Parent2" refType="w" fact="0.7147"/>
              <dgm:constr type="t" for="ch" forName="Parent2" refType="h" fact="0.108"/>
              <dgm:constr type="w" for="ch" forName="Parent2" refType="w" fact="0.1425"/>
              <dgm:constr type="h" for="ch" forName="Parent2" refType="h" fact="0.1088"/>
              <dgm:constr type="l" for="ch" forName="ChildAccent3" refType="w" fact="0.5726"/>
              <dgm:constr type="t" for="ch" forName="ChildAccent3" refType="h" fact="0.2168"/>
              <dgm:constr type="w" for="ch" forName="ChildAccent3" refType="w" fact="0.1432"/>
              <dgm:constr type="h" for="ch" forName="ChildAccent3" refType="h" fact="0.6091"/>
              <dgm:constr type="l" for="ch" forName="Parent3" refType="w" fact="0.5726"/>
              <dgm:constr type="t" for="ch" forName="Parent3" refType="h" fact="0.087"/>
              <dgm:constr type="w" for="ch" forName="Parent3" refType="w" fact="0.142"/>
              <dgm:constr type="h" for="ch" forName="Parent3" refType="h" fact="0.1305"/>
              <dgm:constr type="l" for="ch" forName="ChildAccent4" refType="w" fact="0.4297"/>
              <dgm:constr type="t" for="ch" forName="ChildAccent4" refType="h" fact="0.2168"/>
              <dgm:constr type="w" for="ch" forName="ChildAccent4" refType="w" fact="0.1432"/>
              <dgm:constr type="h" for="ch" forName="ChildAccent4" refType="h" fact="0.6526"/>
              <dgm:constr type="l" for="ch" forName="Parent4" refType="w" fact="0.4297"/>
              <dgm:constr type="t" for="ch" forName="Parent4" refType="h" fact="0.0645"/>
              <dgm:constr type="w" for="ch" forName="Parent4" refType="w" fact="0.1432"/>
              <dgm:constr type="h" for="ch" forName="Parent4" refType="h" fact="0.1523"/>
              <dgm:constr type="l" for="ch" forName="ChildAccent5" refType="w" fact="0.2865"/>
              <dgm:constr type="t" for="ch" forName="ChildAccent5" refType="h" fact="0.2168"/>
              <dgm:constr type="w" for="ch" forName="ChildAccent5" refType="w" fact="0.1432"/>
              <dgm:constr type="h" for="ch" forName="ChildAccent5" refType="h" fact="0.6962"/>
              <dgm:constr type="l" for="ch" forName="Parent5" refType="w" fact="0.2865"/>
              <dgm:constr type="t" for="ch" forName="Parent5" refType="h" fact="0.0428"/>
              <dgm:constr type="w" for="ch" forName="Parent5" refType="w" fact="0.1432"/>
              <dgm:constr type="h" for="ch" forName="Parent5" refType="h" fact="0.174"/>
              <dgm:constr type="l" for="ch" forName="ChildAccent6" refType="w" fact="0.1432"/>
              <dgm:constr type="t" for="ch" forName="ChildAccent6" refType="h" fact="0.2168"/>
              <dgm:constr type="w" for="ch" forName="ChildAccent6" refType="w" fact="0.1432"/>
              <dgm:constr type="h" for="ch" forName="ChildAccent6" refType="h" fact="0.7397"/>
              <dgm:constr type="l" for="ch" forName="Parent6" refType="w" fact="0.1432"/>
              <dgm:constr type="t" for="ch" forName="Parent6" refType="h" fact="0.0217"/>
              <dgm:constr type="w" for="ch" forName="Parent6" refType="w" fact="0.1432"/>
              <dgm:constr type="h" for="ch" forName="Parent6" refType="h" fact="0.1958"/>
              <dgm:constr type="l" for="ch" forName="ChildAccent7" refType="w" fact="0"/>
              <dgm:constr type="t" for="ch" forName="ChildAccent7" refType="h" fact="0.2168"/>
              <dgm:constr type="w" for="ch" forName="ChildAccent7" refType="w" fact="0.1432"/>
              <dgm:constr type="h" for="ch" forName="ChildAccent7" refType="h" fact="0.7832"/>
              <dgm:constr type="l" for="ch" forName="Parent7" refType="w" fact="0"/>
              <dgm:constr type="t" for="ch" forName="Parent7" refType="h" fact="0"/>
              <dgm:constr type="w" for="ch" forName="Parent7" refType="w" fact="0.1432"/>
              <dgm:constr type="h" for="ch" forName="Parent7" refType="h" fact="0.2175"/>
            </dgm:constrLst>
          </dgm:else>
        </dgm:choose>
      </dgm:else>
    </dgm:choose>
    <dgm:forEach name="wrapper" axis="self" ptType="parTrans">
      <dgm:forEach name="accentRepeat" axis="self">
        <dgm:layoutNode name="ChildAccent" styleLbl="alignImgPlace1">
          <dgm:alg type="sp"/>
          <dgm:choose name="Name20">
            <dgm:if name="Name21" axis="followSib" ptType="node" func="cnt" op="equ" val="0">
              <dgm:shape xmlns:r="http://schemas.openxmlformats.org/officeDocument/2006/relationships" type="wedgeRectCallout" r:blip="">
                <dgm:adjLst>
                  <dgm:adj idx="1" val="0"/>
                  <dgm:adj idx="2" val="0"/>
                </dgm:adjLst>
              </dgm:shape>
            </dgm:if>
            <dgm:else name="Name22">
              <dgm:choose name="Name23">
                <dgm:if name="Name24" axis="precedSib" ptType="node" func="cnt" op="equ" val="6">
                  <dgm:shape xmlns:r="http://schemas.openxmlformats.org/officeDocument/2006/relationships" type="wedgeRectCallout" r:blip="">
                    <dgm:adjLst>
                      <dgm:adj idx="1" val="0"/>
                      <dgm:adj idx="2" val="0"/>
                    </dgm:adjLst>
                  </dgm:shape>
                </dgm:if>
                <dgm:else name="Name25">
                  <dgm:choose name="Name26">
                    <dgm:if name="Name27" func="var" arg="dir" op="equ" val="norm">
                      <dgm:shape xmlns:r="http://schemas.openxmlformats.org/officeDocument/2006/relationships" type="wedgeRectCallout" r:blip="">
                        <dgm:adjLst>
                          <dgm:adj idx="1" val="0.625"/>
                          <dgm:adj idx="2" val="0.2083"/>
                        </dgm:adjLst>
                      </dgm:shape>
                    </dgm:if>
                    <dgm:else name="Name28">
                      <dgm:shape xmlns:r="http://schemas.openxmlformats.org/officeDocument/2006/relationships" type="wedgeRectCallout" r:blip="">
                        <dgm:adjLst>
                          <dgm:adj idx="1" val="-0.625"/>
                          <dgm:adj idx="2" val="0.2083"/>
                        </dgm:adjLst>
                      </dgm:shape>
                    </dgm:else>
                  </dgm:choose>
                </dgm:else>
              </dgm:choose>
            </dgm:else>
          </dgm:choose>
          <dgm:presOf axis="des" ptType="node"/>
        </dgm:layoutNode>
      </dgm:forEach>
    </dgm:forEach>
    <dgm:forEach name="Name29" axis="ch" ptType="node" st="7" cnt="1">
      <dgm:layoutNode name="ChildAccent7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7" styleLbl="revTx">
        <dgm:varLst>
          <dgm:chMax val="0"/>
          <dgm:chPref val="0"/>
          <dgm:bulletEnabled val="1"/>
        </dgm:varLst>
        <dgm:choose name="Name31">
          <dgm:if name="Name32" func="var" arg="dir" op="equ" val="norm">
            <dgm:alg type="tx">
              <dgm:param type="parTxLTRAlign" val="r"/>
              <dgm:param type="shpTxLTRAlignCh" val="r"/>
              <dgm:param type="txAnchorVert" val="t"/>
            </dgm:alg>
          </dgm:if>
          <dgm:else name="Name33">
            <dgm:alg type="tx">
              <dgm:param type="parTxLTRAlign" val="l"/>
              <dgm:param type="shpTxLTRAlignCh" val="l"/>
              <dgm:param type="txAnchorVert" val="t"/>
            </dgm:alg>
          </dgm:else>
        </dgm:choose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  <dgm:layoutNode name="Parent7" styleLbl="node1">
        <dgm:varLst>
          <dgm:chMax val="2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</dgm:forEach>
    <dgm:forEach name="Name34" axis="ch" ptType="node" st="6" cnt="1">
      <dgm:layoutNode name="ChildAccent6">
        <dgm:alg type="sp"/>
        <dgm:shape xmlns:r="http://schemas.openxmlformats.org/officeDocument/2006/relationships" r:blip="">
          <dgm:adjLst/>
        </dgm:shape>
        <dgm:presOf/>
        <dgm:constrLst/>
        <dgm:forEach name="Name35" ref="accentRepeat"/>
      </dgm:layoutNode>
      <dgm:layoutNode name="Child6" styleLbl="revTx">
        <dgm:varLst>
          <dgm:chMax val="0"/>
          <dgm:chPref val="0"/>
          <dgm:bulletEnabled val="1"/>
        </dgm:varLst>
        <dgm:choose name="Name36">
          <dgm:if name="Name37" func="var" arg="dir" op="equ" val="norm">
            <dgm:alg type="tx">
              <dgm:param type="parTxLTRAlign" val="r"/>
              <dgm:param type="shpTxLTRAlignCh" val="r"/>
              <dgm:param type="txAnchorVert" val="t"/>
            </dgm:alg>
          </dgm:if>
          <dgm:else name="Name38">
            <dgm:alg type="tx">
              <dgm:param type="parTxLTRAlign" val="l"/>
              <dgm:param type="shpTxLTRAlignCh" val="l"/>
              <dgm:param type="txAnchorVert" val="t"/>
            </dgm:alg>
          </dgm:else>
        </dgm:choose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  <dgm:layoutNode name="Parent6" styleLbl="node1">
        <dgm:varLst>
          <dgm:chMax val="2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</dgm:forEach>
    <dgm:forEach name="Name39" axis="ch" ptType="node" st="5" cnt="1">
      <dgm:layoutNode name="Child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  <dgm:layoutNode name="Child5" styleLbl="revTx">
        <dgm:varLst>
          <dgm:chMax val="0"/>
          <dgm:chPref val="0"/>
          <dgm:bulletEnabled val="1"/>
        </dgm:varLst>
        <dgm:choose name="Name41">
          <dgm:if name="Name42" func="var" arg="dir" op="equ" val="norm">
            <dgm:alg type="tx">
              <dgm:param type="parTxLTRAlign" val="r"/>
              <dgm:param type="shpTxLTRAlignCh" val="r"/>
              <dgm:param type="txAnchorVert" val="t"/>
            </dgm:alg>
          </dgm:if>
          <dgm:else name="Name43">
            <dgm:alg type="tx">
              <dgm:param type="parTxLTRAlign" val="l"/>
              <dgm:param type="shpTxLTRAlignCh" val="l"/>
              <dgm:param type="txAnchorVert" val="t"/>
            </dgm:alg>
          </dgm:else>
        </dgm:choose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  <dgm:layoutNode name="Parent5" styleLbl="node1">
        <dgm:varLst>
          <dgm:chMax val="2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</dgm:forEach>
    <dgm:forEach name="Name44" axis="ch" ptType="node" st="4" cnt="1">
      <dgm:layoutNode name="ChildAccent4">
        <dgm:alg type="sp"/>
        <dgm:shape xmlns:r="http://schemas.openxmlformats.org/officeDocument/2006/relationships" r:blip="">
          <dgm:adjLst/>
        </dgm:shape>
        <dgm:presOf/>
        <dgm:constrLst/>
        <dgm:forEach name="Name45" ref="accentRepeat"/>
      </dgm:layoutNode>
      <dgm:layoutNode name="Child4" styleLbl="revTx">
        <dgm:varLst>
          <dgm:chMax val="0"/>
          <dgm:chPref val="0"/>
          <dgm:bulletEnabled val="1"/>
        </dgm:varLst>
        <dgm:choose name="Name46">
          <dgm:if name="Name47" func="var" arg="dir" op="equ" val="norm">
            <dgm:alg type="tx">
              <dgm:param type="parTxLTRAlign" val="r"/>
              <dgm:param type="shpTxLTRAlignCh" val="r"/>
              <dgm:param type="txAnchorVert" val="t"/>
            </dgm:alg>
          </dgm:if>
          <dgm:else name="Name48">
            <dgm:alg type="tx">
              <dgm:param type="parTxLTRAlign" val="l"/>
              <dgm:param type="shpTxLTRAlignCh" val="l"/>
              <dgm:param type="txAnchorVert" val="t"/>
            </dgm:alg>
          </dgm:else>
        </dgm:choose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  <dgm:layoutNode name="Parent4" styleLbl="node1">
        <dgm:varLst>
          <dgm:chMax val="2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</dgm:forEach>
    <dgm:forEach name="Name49" axis="ch" ptType="node" st="3" cnt="1">
      <dgm:layoutNode name="ChildAccent3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Child3" styleLbl="revTx">
        <dgm:varLst>
          <dgm:chMax val="0"/>
          <dgm:chPref val="0"/>
          <dgm:bulletEnabled val="1"/>
        </dgm:varLst>
        <dgm:choose name="Name51">
          <dgm:if name="Name52" func="var" arg="dir" op="equ" val="norm">
            <dgm:alg type="tx">
              <dgm:param type="parTxLTRAlign" val="r"/>
              <dgm:param type="shpTxLTRAlignCh" val="r"/>
              <dgm:param type="txAnchorVert" val="t"/>
            </dgm:alg>
          </dgm:if>
          <dgm:else name="Name53">
            <dgm:alg type="tx">
              <dgm:param type="parTxLTRAlign" val="l"/>
              <dgm:param type="shpTxLTRAlignCh" val="l"/>
              <dgm:param type="txAnchorVert" val="t"/>
            </dgm:alg>
          </dgm:else>
        </dgm:choose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  <dgm:layoutNode name="Parent3" styleLbl="node1">
        <dgm:varLst>
          <dgm:chMax val="2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</dgm:forEach>
    <dgm:forEach name="Name54" axis="ch" ptType="node" st="2" cnt="1">
      <dgm:layoutNode name="ChildAccent2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  <dgm:layoutNode name="Child2" styleLbl="revTx">
        <dgm:varLst>
          <dgm:chMax val="0"/>
          <dgm:chPref val="0"/>
          <dgm:bulletEnabled val="1"/>
        </dgm:varLst>
        <dgm:choose name="Name56">
          <dgm:if name="Name57" func="var" arg="dir" op="equ" val="norm">
            <dgm:alg type="tx">
              <dgm:param type="parTxLTRAlign" val="r"/>
              <dgm:param type="shpTxLTRAlignCh" val="r"/>
              <dgm:param type="txAnchorVert" val="t"/>
            </dgm:alg>
          </dgm:if>
          <dgm:else name="Name58">
            <dgm:alg type="tx">
              <dgm:param type="parTxLTRAlign" val="l"/>
              <dgm:param type="shpTxLTRAlignCh" val="l"/>
              <dgm:param type="txAnchorVert" val="t"/>
            </dgm:alg>
          </dgm:else>
        </dgm:choose>
        <dgm:shape xmlns:r="http://schemas.openxmlformats.org/officeDocument/2006/relationships" type="rect" r:blip="" hideGeom="1">
          <dgm:adjLst/>
        </dgm:shape>
        <dgm:presOf axis="des" ptType="node"/>
        <dgm:presOf axis="des" ptType="node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  <dgm:layoutNode name="Parent2" styleLbl="node1">
        <dgm:varLst>
          <dgm:chMax val="2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</dgm:forEach>
    <dgm:forEach name="Name59" axis="ch" ptType="node" cnt="1">
      <dgm:layoutNode name="ChildAccent1">
        <dgm:alg type="sp"/>
        <dgm:shape xmlns:r="http://schemas.openxmlformats.org/officeDocument/2006/relationships" r:blip="">
          <dgm:adjLst/>
        </dgm:shape>
        <dgm:presOf/>
        <dgm:constrLst/>
        <dgm:forEach name="Name60" ref="accentRepeat"/>
      </dgm:layoutNode>
      <dgm:layoutNode name="Child1" styleLbl="revTx">
        <dgm:varLst>
          <dgm:chMax val="0"/>
          <dgm:chPref val="0"/>
          <dgm:bulletEnabled val="1"/>
        </dgm:varLst>
        <dgm:choose name="Name61">
          <dgm:if name="Name62" func="var" arg="dir" op="equ" val="norm">
            <dgm:alg type="tx">
              <dgm:param type="parTxLTRAlign" val="r"/>
              <dgm:param type="shpTxLTRAlignCh" val="r"/>
              <dgm:param type="txAnchorVert" val="t"/>
            </dgm:alg>
          </dgm:if>
          <dgm:else name="Name63">
            <dgm:alg type="tx">
              <dgm:param type="parTxLTRAlign" val="l"/>
              <dgm:param type="shpTxLTRAlignCh" val="l"/>
              <dgm:param type="txAnchorVert" val="t"/>
            </dgm:alg>
          </dgm:else>
        </dgm:choose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  <dgm:layoutNode name="Parent1" styleLbl="node1">
        <dgm:varLst>
          <dgm:chMax val="2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25"/>
          <dgm:constr type="rMarg" refType="primFontSz" fact="0.25"/>
          <dgm:constr type="tMarg" refType="primFontSz" fact="0.25"/>
          <dgm:constr type="bMarg" refType="primFontSz" fact="0.25"/>
        </dgm:constrLst>
        <dgm:ruleLst>
          <dgm:rule type="primFontSz" val="5" fact="NaN" max="NaN"/>
        </dgm:ruleLst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image" Target="../media/image3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7C6A3E-5B5F-4DD7-B604-FB37182E0A6A}" type="datetimeFigureOut">
              <a:rPr lang="en-US" smtClean="0"/>
              <a:t>8/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2C386A-7ABC-4230-884D-F040FB4B8F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535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aseline="0" dirty="0" smtClean="0"/>
              <a:t>Solaria Overview</a:t>
            </a:r>
          </a:p>
          <a:p>
            <a:pPr marL="0" indent="0">
              <a:buNone/>
            </a:pPr>
            <a:r>
              <a:rPr lang="en-US" baseline="0" dirty="0" smtClean="0"/>
              <a:t>1.  GRM Innovation based in </a:t>
            </a:r>
            <a:r>
              <a:rPr lang="en-US" baseline="0" smtClean="0"/>
              <a:t>WeWork</a:t>
            </a:r>
            <a:endParaRPr lang="en-US" baseline="0" dirty="0" smtClean="0"/>
          </a:p>
          <a:p>
            <a:pPr marL="0" indent="0">
              <a:buNone/>
            </a:pPr>
            <a:endParaRPr lang="en-US" baseline="0" dirty="0" smtClean="0"/>
          </a:p>
          <a:p>
            <a:pPr marL="0" indent="0">
              <a:buNone/>
            </a:pPr>
            <a:r>
              <a:rPr lang="en-US" baseline="0" dirty="0" smtClean="0"/>
              <a:t>Product Team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Bring new projects to market, either as a standalone product, or as a company driven venture</a:t>
            </a:r>
          </a:p>
          <a:p>
            <a:pPr marL="685800" lvl="1" indent="-228600">
              <a:buAutoNum type="arabicPeriod"/>
            </a:pPr>
            <a:endParaRPr lang="en-US" baseline="0" dirty="0" smtClean="0"/>
          </a:p>
          <a:p>
            <a:pPr marL="228600" indent="-228600">
              <a:buAutoNum type="arabicPeriod"/>
            </a:pPr>
            <a:r>
              <a:rPr lang="en-US" baseline="0" dirty="0" smtClean="0"/>
              <a:t>Team over in Singapore, looking to take advantage of another growing marke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315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 smtClean="0"/>
              <a:t>Note strong correlation between snow fall and cost</a:t>
            </a:r>
          </a:p>
          <a:p>
            <a:pPr marL="228600" indent="-228600">
              <a:buAutoNum type="arabicPeriod"/>
            </a:pPr>
            <a:r>
              <a:rPr lang="en-US" dirty="0" smtClean="0"/>
              <a:t>Other variables</a:t>
            </a:r>
            <a:r>
              <a:rPr lang="en-US" baseline="0" dirty="0" smtClean="0"/>
              <a:t> were not as strongly correlated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Added them to analysis would not result in a more accurate model</a:t>
            </a:r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Talk</a:t>
            </a:r>
            <a:r>
              <a:rPr lang="en-US" baseline="0" dirty="0" smtClean="0"/>
              <a:t> about variables, hypothesis of multiple variables, haven’t proved</a:t>
            </a:r>
          </a:p>
          <a:p>
            <a:endParaRPr lang="en-US" baseline="0" dirty="0" smtClean="0"/>
          </a:p>
          <a:p>
            <a:r>
              <a:rPr lang="en-US" baseline="0" dirty="0" smtClean="0"/>
              <a:t>H1: You can measure the metrics - </a:t>
            </a:r>
            <a:r>
              <a:rPr lang="en-US" baseline="0" dirty="0" err="1" smtClean="0"/>
              <a:t>Verisk</a:t>
            </a:r>
            <a:r>
              <a:rPr lang="en-US" baseline="0" dirty="0" smtClean="0"/>
              <a:t> (Measurable with) </a:t>
            </a:r>
            <a:r>
              <a:rPr lang="en-US" baseline="0" dirty="0" smtClean="0">
                <a:sym typeface="Wingdings" panose="05000000000000000000" pitchFamily="2" charset="2"/>
              </a:rPr>
              <a:t> T</a:t>
            </a:r>
            <a:endParaRPr lang="en-US" baseline="0" dirty="0" smtClean="0"/>
          </a:p>
          <a:p>
            <a:r>
              <a:rPr lang="en-US" baseline="0" dirty="0" smtClean="0"/>
              <a:t>H2: Beyond just snow inch (Haven’t been proven true)</a:t>
            </a:r>
          </a:p>
          <a:p>
            <a:endParaRPr lang="en-US" baseline="0" dirty="0" smtClean="0"/>
          </a:p>
          <a:p>
            <a:endParaRPr lang="en-US" baseline="0" dirty="0" smtClean="0"/>
          </a:p>
          <a:p>
            <a:r>
              <a:rPr lang="en-US" baseline="0" dirty="0" smtClean="0"/>
              <a:t>Settled on snow (only)</a:t>
            </a:r>
          </a:p>
          <a:p>
            <a:r>
              <a:rPr lang="en-US" baseline="0" dirty="0" smtClean="0"/>
              <a:t>CD for </a:t>
            </a:r>
            <a:r>
              <a:rPr lang="en-US" baseline="0" dirty="0" err="1" smtClean="0"/>
              <a:t>mun</a:t>
            </a:r>
            <a:r>
              <a:rPr lang="en-US" baseline="0" dirty="0" smtClean="0"/>
              <a:t> is OT</a:t>
            </a:r>
          </a:p>
          <a:p>
            <a:endParaRPr lang="en-US" baseline="0" dirty="0" smtClean="0"/>
          </a:p>
          <a:p>
            <a:r>
              <a:rPr lang="en-US" dirty="0" smtClean="0"/>
              <a:t>Traditional vs Parametric Insurance</a:t>
            </a:r>
          </a:p>
          <a:p>
            <a:r>
              <a:rPr lang="en-US" dirty="0" smtClean="0"/>
              <a:t>Pains solved</a:t>
            </a:r>
          </a:p>
          <a:p>
            <a:pPr lvl="1"/>
            <a:r>
              <a:rPr lang="en-US" dirty="0" smtClean="0"/>
              <a:t>Subjective claims process</a:t>
            </a:r>
          </a:p>
          <a:p>
            <a:pPr lvl="1"/>
            <a:r>
              <a:rPr lang="en-US" dirty="0" smtClean="0"/>
              <a:t>Long payouts</a:t>
            </a:r>
          </a:p>
          <a:p>
            <a:pPr lvl="1"/>
            <a:r>
              <a:rPr lang="en-US" dirty="0" smtClean="0"/>
              <a:t>Circumvent moral dilemmas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55304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1. Brief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6539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 smtClean="0"/>
              <a:t>Note the 2.B in value that needs to be protected 3</a:t>
            </a:r>
            <a:r>
              <a:rPr lang="en-US" baseline="0" dirty="0" smtClean="0"/>
              <a:t> regions alone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Growth of Ice management industry translates increasing value in industry </a:t>
            </a:r>
            <a:r>
              <a:rPr lang="en-US" baseline="0" dirty="0" smtClean="0">
                <a:sym typeface="Wingdings" panose="05000000000000000000" pitchFamily="2" charset="2"/>
              </a:rPr>
              <a:t> increases insurance need</a:t>
            </a:r>
          </a:p>
          <a:p>
            <a:pPr marL="228600" indent="-228600">
              <a:buAutoNum type="arabicPeriod"/>
            </a:pPr>
            <a:r>
              <a:rPr lang="en-US" baseline="0" dirty="0" smtClean="0">
                <a:sym typeface="Wingdings" panose="05000000000000000000" pitchFamily="2" charset="2"/>
              </a:rPr>
              <a:t>Caveat to positives: LMI is already over indexed to snow, being primarily a northeast based fir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1175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baseline="0" dirty="0" smtClean="0"/>
              <a:t>Talk sophisticated, but not necessarily more accurate, foreign competitors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Use example firms (connect </a:t>
            </a:r>
            <a:r>
              <a:rPr lang="en-US" baseline="0" dirty="0" err="1" smtClean="0"/>
              <a:t>CelsiusPro</a:t>
            </a:r>
            <a:r>
              <a:rPr lang="en-US" baseline="0" dirty="0" smtClean="0"/>
              <a:t> to </a:t>
            </a:r>
            <a:r>
              <a:rPr lang="en-US" baseline="0" dirty="0" err="1" smtClean="0"/>
              <a:t>sompo</a:t>
            </a:r>
            <a:r>
              <a:rPr lang="en-US" baseline="0" dirty="0" smtClean="0"/>
              <a:t> -&gt; note their innovation awards as example of heavy competition)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Run through domestic</a:t>
            </a:r>
          </a:p>
          <a:p>
            <a:pPr marL="228600" indent="-228600">
              <a:buAutoNum type="arabicPeriod"/>
            </a:pPr>
            <a:endParaRPr lang="en-US" baseline="0" dirty="0" smtClean="0"/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59643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baseline="0" dirty="0" smtClean="0"/>
              <a:t>Quick outline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Next Steps: Talking with Municipal brokers to gauge interest (in this case New Bedfor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38124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 smtClean="0"/>
              <a:t>Talk about importance of AWS in holding</a:t>
            </a:r>
            <a:r>
              <a:rPr lang="en-US" baseline="0" dirty="0" smtClean="0"/>
              <a:t> our large quants of telematics data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Explain Cortex (platform by LMI to better interact with AWS)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Data analysis and manipulation done in python, via </a:t>
            </a:r>
            <a:r>
              <a:rPr lang="en-US" baseline="0" dirty="0" err="1" smtClean="0"/>
              <a:t>jupyter</a:t>
            </a:r>
            <a:r>
              <a:rPr lang="en-US" baseline="0" dirty="0" smtClean="0"/>
              <a:t>, for faster data handling and parsing due to being written in C/C compiler, and its less object oriented with access to powerful packages.</a:t>
            </a:r>
          </a:p>
          <a:p>
            <a:pPr marL="0" indent="0">
              <a:buNone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0009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 smtClean="0"/>
              <a:t>Give basic info</a:t>
            </a:r>
            <a:r>
              <a:rPr lang="en-US" baseline="0" dirty="0" smtClean="0"/>
              <a:t> on client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Walk audience through my approach</a:t>
            </a:r>
          </a:p>
          <a:p>
            <a:pPr marL="685800" lvl="1" indent="-228600">
              <a:buAutoNum type="arabicPeriod"/>
            </a:pPr>
            <a:r>
              <a:rPr lang="en-US" baseline="0" dirty="0" smtClean="0"/>
              <a:t>Broad/cumulative stops (over a period of time) – No activity in Idaho </a:t>
            </a:r>
            <a:r>
              <a:rPr lang="en-US" baseline="0" dirty="0" smtClean="0">
                <a:sym typeface="Wingdings" panose="05000000000000000000" pitchFamily="2" charset="2"/>
              </a:rPr>
              <a:t> Does he work there?</a:t>
            </a:r>
            <a:endParaRPr lang="en-US" baseline="0" dirty="0" smtClean="0"/>
          </a:p>
          <a:p>
            <a:pPr marL="685800" lvl="1" indent="-228600">
              <a:buAutoNum type="arabicPeriod"/>
            </a:pPr>
            <a:r>
              <a:rPr lang="en-US" dirty="0" smtClean="0"/>
              <a:t>Yes</a:t>
            </a:r>
            <a:r>
              <a:rPr lang="en-US" baseline="0" dirty="0" smtClean="0"/>
              <a:t> – he does </a:t>
            </a:r>
            <a:r>
              <a:rPr lang="en-US" baseline="0" dirty="0" smtClean="0">
                <a:sym typeface="Wingdings" panose="05000000000000000000" pitchFamily="2" charset="2"/>
              </a:rPr>
              <a:t> Does he have permanent residence?</a:t>
            </a:r>
          </a:p>
          <a:p>
            <a:pPr marL="685800" lvl="1" indent="-228600">
              <a:buAutoNum type="arabicPeriod"/>
            </a:pPr>
            <a:r>
              <a:rPr lang="en-US" baseline="0" dirty="0" smtClean="0">
                <a:sym typeface="Wingdings" panose="05000000000000000000" pitchFamily="2" charset="2"/>
              </a:rPr>
              <a:t>Yes – has home  Is our information on the clients wrong?  are we accommodating this client correctly, what is it that they are using the car for?</a:t>
            </a:r>
          </a:p>
          <a:p>
            <a:pPr marL="685800" lvl="1" indent="-228600">
              <a:buAutoNum type="arabicPeriod"/>
            </a:pPr>
            <a:r>
              <a:rPr lang="en-US" baseline="0" dirty="0" smtClean="0">
                <a:sym typeface="Wingdings" panose="05000000000000000000" pitchFamily="2" charset="2"/>
              </a:rPr>
              <a:t>Stops around the airport before holidays and long weekends - Information may still be correct  Is this a trend among our clients  can we provide them with a better peace of mind?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2961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 smtClean="0"/>
              <a:t>Give</a:t>
            </a:r>
            <a:r>
              <a:rPr lang="en-US" baseline="0" dirty="0" smtClean="0"/>
              <a:t> basic summary of the existence of our estimation model (a machine learning program takes in a user’s stops </a:t>
            </a:r>
            <a:r>
              <a:rPr lang="en-US" baseline="0" dirty="0" smtClean="0">
                <a:sym typeface="Wingdings" panose="05000000000000000000" pitchFamily="2" charset="2"/>
              </a:rPr>
              <a:t> predicts user’s zip code)</a:t>
            </a:r>
          </a:p>
          <a:p>
            <a:pPr marL="228600" indent="-228600">
              <a:buAutoNum type="arabicPeriod"/>
            </a:pPr>
            <a:r>
              <a:rPr lang="en-US" baseline="0" dirty="0" smtClean="0">
                <a:sym typeface="Wingdings" panose="05000000000000000000" pitchFamily="2" charset="2"/>
              </a:rPr>
              <a:t>Walk through my approach example:</a:t>
            </a:r>
          </a:p>
          <a:p>
            <a:pPr marL="685800" lvl="1" indent="-228600">
              <a:buAutoNum type="arabicPeriod"/>
            </a:pPr>
            <a:r>
              <a:rPr lang="en-US" baseline="0" dirty="0" smtClean="0">
                <a:sym typeface="Wingdings" panose="05000000000000000000" pitchFamily="2" charset="2"/>
              </a:rPr>
              <a:t>Look at our distance differential (Act vs Est) distribution</a:t>
            </a:r>
          </a:p>
          <a:p>
            <a:pPr marL="685800" lvl="1" indent="-228600">
              <a:buAutoNum type="arabicPeriod"/>
            </a:pPr>
            <a:r>
              <a:rPr lang="en-US" baseline="0" dirty="0" smtClean="0">
                <a:sym typeface="Wingdings" panose="05000000000000000000" pitchFamily="2" charset="2"/>
              </a:rPr>
              <a:t>Eliminate outliers (Focus in on those that worked and find out why)</a:t>
            </a:r>
          </a:p>
          <a:p>
            <a:pPr marL="685800" lvl="1" indent="-228600">
              <a:buAutoNum type="arabicPeriod"/>
            </a:pPr>
            <a:r>
              <a:rPr lang="en-US" baseline="0" dirty="0" smtClean="0">
                <a:sym typeface="Wingdings" panose="05000000000000000000" pitchFamily="2" charset="2"/>
              </a:rPr>
              <a:t>Break down into variables (this case states)</a:t>
            </a:r>
          </a:p>
          <a:p>
            <a:pPr marL="685800" lvl="1" indent="-228600">
              <a:buAutoNum type="arabicPeriod"/>
            </a:pPr>
            <a:r>
              <a:rPr lang="en-US" baseline="0" dirty="0" smtClean="0">
                <a:sym typeface="Wingdings" panose="05000000000000000000" pitchFamily="2" charset="2"/>
              </a:rPr>
              <a:t>Focus even more  Question the numbers (Note the NM addition and TX relocation)</a:t>
            </a:r>
          </a:p>
          <a:p>
            <a:pPr marL="685800" lvl="1" indent="-228600">
              <a:buAutoNum type="arabicPeriod"/>
            </a:pPr>
            <a:r>
              <a:rPr lang="en-US" baseline="0" dirty="0" smtClean="0">
                <a:sym typeface="Wingdings" panose="05000000000000000000" pitchFamily="2" charset="2"/>
              </a:rPr>
              <a:t>Mention next steps would be to dive even deeper into specific sta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8809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T: C</a:t>
            </a:r>
            <a:r>
              <a:rPr lang="en-US" baseline="0" dirty="0" smtClean="0"/>
              <a:t>ommunication, open space for objective focused feedback – </a:t>
            </a:r>
            <a:r>
              <a:rPr lang="en-US" baseline="0" dirty="0" err="1" smtClean="0"/>
              <a:t>Chema</a:t>
            </a:r>
            <a:endParaRPr lang="en-US" baseline="0" dirty="0" smtClean="0"/>
          </a:p>
          <a:p>
            <a:r>
              <a:rPr lang="en-US" baseline="0" dirty="0" smtClean="0"/>
              <a:t>Thinking: Snow and Ice hypothesis adaption</a:t>
            </a:r>
          </a:p>
          <a:p>
            <a:r>
              <a:rPr lang="en-US" baseline="0" dirty="0" smtClean="0"/>
              <a:t>Technical skills: Data science tools</a:t>
            </a:r>
          </a:p>
          <a:p>
            <a:r>
              <a:rPr lang="en-US" baseline="0" dirty="0" smtClean="0"/>
              <a:t>Solaria: It’s presence and value to Liber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4663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(Delete</a:t>
            </a:r>
            <a:r>
              <a:rPr lang="en-US" baseline="0" dirty="0" smtClean="0"/>
              <a:t> Slide)</a:t>
            </a:r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Explain </a:t>
            </a:r>
            <a:r>
              <a:rPr lang="en-US" dirty="0"/>
              <a:t>the climate regions and which ones we’d be focused on. </a:t>
            </a:r>
            <a:endParaRPr lang="en-US" dirty="0" smtClean="0"/>
          </a:p>
          <a:p>
            <a:r>
              <a:rPr lang="en-US" dirty="0" smtClean="0"/>
              <a:t>3-5 year contracts</a:t>
            </a:r>
          </a:p>
          <a:p>
            <a:pPr lvl="1"/>
            <a:r>
              <a:rPr lang="en-US" dirty="0" smtClean="0"/>
              <a:t>Guards against the potential of getting a 80</a:t>
            </a:r>
            <a:r>
              <a:rPr lang="en-US" baseline="30000" dirty="0" smtClean="0"/>
              <a:t>th</a:t>
            </a:r>
            <a:r>
              <a:rPr lang="en-US" dirty="0" smtClean="0"/>
              <a:t> – 95</a:t>
            </a:r>
            <a:r>
              <a:rPr lang="en-US" baseline="30000" dirty="0" smtClean="0"/>
              <a:t>th</a:t>
            </a:r>
            <a:r>
              <a:rPr lang="en-US" dirty="0" smtClean="0"/>
              <a:t> percentile winter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Adverse </a:t>
            </a:r>
            <a:r>
              <a:rPr lang="en-US" dirty="0" err="1" smtClean="0"/>
              <a:t>Seletion</a:t>
            </a:r>
            <a:endParaRPr lang="en-US" dirty="0" smtClean="0"/>
          </a:p>
          <a:p>
            <a:pPr lvl="1"/>
            <a:r>
              <a:rPr lang="en-US" dirty="0" smtClean="0"/>
              <a:t>Smooth</a:t>
            </a:r>
            <a:r>
              <a:rPr lang="en-US" baseline="0" dirty="0" smtClean="0"/>
              <a:t> Out 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7695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. Everything</a:t>
            </a:r>
            <a:r>
              <a:rPr lang="en-US" baseline="0" dirty="0" smtClean="0"/>
              <a:t> cumulates in Liberty’s 3</a:t>
            </a:r>
            <a:r>
              <a:rPr lang="en-US" baseline="30000" dirty="0" smtClean="0"/>
              <a:t>rd</a:t>
            </a:r>
            <a:r>
              <a:rPr lang="en-US" baseline="0" dirty="0" smtClean="0"/>
              <a:t> core goal of 10% in alternative revenue and driving growt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9545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(Delete)</a:t>
            </a:r>
          </a:p>
          <a:p>
            <a:r>
              <a:rPr lang="en-US" dirty="0" smtClean="0"/>
              <a:t>1-2 work headings</a:t>
            </a:r>
          </a:p>
          <a:p>
            <a:r>
              <a:rPr lang="en-US" dirty="0" smtClean="0"/>
              <a:t>1</a:t>
            </a:r>
            <a:r>
              <a:rPr lang="en-US" baseline="0" dirty="0" smtClean="0"/>
              <a:t> sentence description</a:t>
            </a:r>
          </a:p>
          <a:p>
            <a:r>
              <a:rPr lang="en-US" baseline="0" dirty="0" smtClean="0"/>
              <a:t>Very brief talk through of important bins</a:t>
            </a:r>
          </a:p>
          <a:p>
            <a:endParaRPr lang="en-US" baseline="0" dirty="0" smtClean="0"/>
          </a:p>
          <a:p>
            <a:r>
              <a:rPr lang="en-US" baseline="0" dirty="0" smtClean="0"/>
              <a:t>Delete the last 3 Descriptions</a:t>
            </a:r>
          </a:p>
          <a:p>
            <a:r>
              <a:rPr lang="en-US" baseline="0" dirty="0" smtClean="0"/>
              <a:t>Replace with: 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Customer don’t know solution</a:t>
            </a:r>
          </a:p>
          <a:p>
            <a:pPr marL="228600" indent="-228600">
              <a:buAutoNum type="arabicPeriod"/>
            </a:pPr>
            <a:r>
              <a:rPr lang="en-US" dirty="0" smtClean="0"/>
              <a:t>Better</a:t>
            </a:r>
            <a:r>
              <a:rPr lang="en-US" baseline="0" dirty="0" smtClean="0"/>
              <a:t> and cheaper, Less time/money/effort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1.</a:t>
            </a:r>
          </a:p>
          <a:p>
            <a:r>
              <a:rPr lang="en-US" dirty="0" smtClean="0"/>
              <a:t>2.</a:t>
            </a:r>
          </a:p>
          <a:p>
            <a:r>
              <a:rPr lang="en-US" dirty="0" smtClean="0"/>
              <a:t>3.</a:t>
            </a:r>
          </a:p>
          <a:p>
            <a:r>
              <a:rPr lang="en-US" dirty="0" smtClean="0"/>
              <a:t>4. Doctor Example</a:t>
            </a:r>
          </a:p>
          <a:p>
            <a:r>
              <a:rPr lang="en-US" dirty="0" smtClean="0"/>
              <a:t>5. </a:t>
            </a:r>
          </a:p>
          <a:p>
            <a:r>
              <a:rPr lang="en-US" dirty="0" smtClean="0"/>
              <a:t>6. Counter</a:t>
            </a:r>
            <a:r>
              <a:rPr lang="en-US" baseline="0" dirty="0" smtClean="0"/>
              <a:t> to Apple argument: Consumers in tech market prioritize aesthetics and social capital, making better defined differently than pure functionality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0684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dirty="0" smtClean="0"/>
              <a:t>Clients</a:t>
            </a:r>
            <a:r>
              <a:rPr lang="en-US" baseline="0" dirty="0" smtClean="0"/>
              <a:t> and Liberty agree on defined parameters related to event (that can be measured)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aseline="0" dirty="0" smtClean="0"/>
              <a:t>Payout occurs automatically when parameters are met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aseline="0" dirty="0" smtClean="0"/>
              <a:t>Run through example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311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dirty="0" smtClean="0"/>
              <a:t>Eased</a:t>
            </a:r>
            <a:r>
              <a:rPr lang="en-US" baseline="0" dirty="0" smtClean="0"/>
              <a:t> purchasing process, with only the defining the parameters being in contention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aseline="0" dirty="0" smtClean="0"/>
              <a:t>Streamlined claims process that circumvents moral conflicts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aseline="0" dirty="0" smtClean="0"/>
              <a:t>Simplified renewal process… events cannot be attributed to the faults of a cli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6854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baseline="0" dirty="0" smtClean="0"/>
              <a:t>Desirability: Is there a need or a pain point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Can we make such a product to address the pain point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Is the market product friendly (growth, profitable, likely to foster the product’s </a:t>
            </a:r>
            <a:r>
              <a:rPr lang="en-US" baseline="0" dirty="0" err="1" smtClean="0"/>
              <a:t>thrivability</a:t>
            </a:r>
            <a:r>
              <a:rPr lang="en-US" baseline="0" dirty="0" smtClean="0"/>
              <a:t>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45307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baseline="0" dirty="0" smtClean="0"/>
              <a:t>Desirability revealed variant weather, coupled with budget inelasticity causes inefficient financial planning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Down effects of over budgeting (tying up capital that could be otherwise used for capital projects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8804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baseline="0" dirty="0" smtClean="0"/>
              <a:t>Differentiate between vitamin and painkiller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Note Shayne’s comments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Talk about lack of market saturation, self insurance, and public relations disaster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6054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. Outline</a:t>
            </a:r>
            <a:r>
              <a:rPr lang="en-US" baseline="0" dirty="0" smtClean="0"/>
              <a:t> the hypothesis we went into the product process wit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5358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baseline="0" dirty="0" smtClean="0"/>
              <a:t>Talk about SNODAS (</a:t>
            </a:r>
            <a:r>
              <a:rPr lang="en-US" baseline="0" dirty="0" err="1" smtClean="0"/>
              <a:t>Verisk</a:t>
            </a:r>
            <a:r>
              <a:rPr lang="en-US" baseline="0" dirty="0" smtClean="0"/>
              <a:t>, Tom Connor, how it works)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Brief look at weather station data</a:t>
            </a:r>
          </a:p>
          <a:p>
            <a:pPr marL="228600" indent="-228600">
              <a:buAutoNum type="arabicPeriod"/>
            </a:pPr>
            <a:r>
              <a:rPr lang="en-US" baseline="0" dirty="0" err="1" smtClean="0"/>
              <a:t>CelsiusPro</a:t>
            </a:r>
            <a:r>
              <a:rPr lang="en-US" baseline="0" dirty="0" smtClean="0"/>
              <a:t> overvie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C386A-7ABC-4230-884D-F040FB4B8F6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0575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17 Global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title" hasCustomPrompt="1"/>
          </p:nvPr>
        </p:nvSpPr>
        <p:spPr>
          <a:xfrm>
            <a:off x="609600" y="1905000"/>
            <a:ext cx="8229600" cy="685800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accent6">
                    <a:alpha val="99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590800"/>
            <a:ext cx="8229600" cy="6096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>
                <a:solidFill>
                  <a:srgbClr val="616265"/>
                </a:solidFill>
                <a:latin typeface="Arial"/>
                <a:cs typeface="Arial"/>
              </a:defRPr>
            </a:lvl1pPr>
          </a:lstStyle>
          <a:p>
            <a:r>
              <a:rPr lang="en-US" sz="2400" dirty="0">
                <a:solidFill>
                  <a:srgbClr val="4E4F52">
                    <a:alpha val="99000"/>
                  </a:srgbClr>
                </a:solidFill>
              </a:rPr>
              <a:t>Presenter</a:t>
            </a:r>
            <a:r>
              <a:rPr lang="en-US" sz="2400" baseline="0" dirty="0">
                <a:solidFill>
                  <a:srgbClr val="4E4F52">
                    <a:alpha val="99000"/>
                  </a:srgbClr>
                </a:solidFill>
              </a:rPr>
              <a:t> | Department | Date</a:t>
            </a:r>
            <a:endParaRPr lang="en-US" sz="2400" dirty="0">
              <a:solidFill>
                <a:srgbClr val="4E4F52">
                  <a:alpha val="99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7925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381000" y="533401"/>
            <a:ext cx="8289308" cy="769308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3600" kern="1200" dirty="0">
                <a:solidFill>
                  <a:srgbClr val="003E7E">
                    <a:alpha val="99000"/>
                  </a:srgbClr>
                </a:solidFill>
                <a:latin typeface="Rockwell" panose="02060603020205020403" pitchFamily="18" charset="0"/>
                <a:ea typeface="+mj-ea"/>
                <a:cs typeface="+mj-cs"/>
              </a:defRPr>
            </a:lvl1pPr>
          </a:lstStyle>
          <a:p>
            <a:pPr algn="l"/>
            <a:r>
              <a:rPr lang="en-US" sz="4800" dirty="0">
                <a:solidFill>
                  <a:srgbClr val="616265">
                    <a:alpha val="99000"/>
                  </a:srgbClr>
                </a:solidFill>
                <a:latin typeface="Arial"/>
                <a:cs typeface="Arial"/>
              </a:rPr>
              <a:t>Agenda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1905000"/>
            <a:ext cx="8343900" cy="3962400"/>
          </a:xfrm>
          <a:prstGeom prst="rect">
            <a:avLst/>
          </a:prstGeom>
        </p:spPr>
        <p:txBody>
          <a:bodyPr anchor="t"/>
          <a:lstStyle>
            <a:lvl1pPr marL="514350" marR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 sz="2800" baseline="0">
                <a:solidFill>
                  <a:srgbClr val="616265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71550" indent="-514350">
              <a:buFont typeface="+mj-lt"/>
              <a:buAutoNum type="alphaLcParenR"/>
              <a:defRPr>
                <a:solidFill>
                  <a:srgbClr val="616265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rgbClr val="54586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54586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54586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agenda item</a:t>
            </a:r>
          </a:p>
          <a:p>
            <a:pPr lvl="1"/>
            <a:r>
              <a:rPr lang="en-US" dirty="0"/>
              <a:t>Sub item</a:t>
            </a:r>
          </a:p>
          <a:p>
            <a:pPr lvl="1"/>
            <a:r>
              <a:rPr lang="en-US" dirty="0"/>
              <a:t>Sub Item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dirty="0"/>
              <a:t>Click to add agenda item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dirty="0"/>
              <a:t>Click to add agenda item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dirty="0"/>
              <a:t>Click to add agenda item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dirty="0"/>
              <a:t>Click to add agenda item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dirty="0"/>
              <a:t>Click to add agenda item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B365D0-5BFF-4591-B84D-8953AC9A16AD}" type="datetime1">
              <a:rPr lang="en-US" smtClean="0"/>
              <a:t>8/6/2018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1000" y="1447800"/>
            <a:ext cx="83439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70095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>
          <a:xfrm>
            <a:off x="8382000" y="6446838"/>
            <a:ext cx="685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>
                    <a:alpha val="99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32D78A-10B3-4DCD-84B7-9E85168884D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74176" y="990600"/>
            <a:ext cx="8312624" cy="51816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616265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616265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616265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616265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616265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274637"/>
            <a:ext cx="8305800" cy="487363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616265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81000" y="838200"/>
            <a:ext cx="8343900" cy="0"/>
          </a:xfrm>
          <a:prstGeom prst="line">
            <a:avLst/>
          </a:prstGeom>
          <a:ln>
            <a:solidFill>
              <a:srgbClr val="E69E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0288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alpha val="99000"/>
                </a:srgbClr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381000" y="533401"/>
            <a:ext cx="8289308" cy="769308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3600" kern="1200" dirty="0">
                <a:solidFill>
                  <a:srgbClr val="003E7E">
                    <a:alpha val="99000"/>
                  </a:srgbClr>
                </a:solidFill>
                <a:latin typeface="Rockwell" panose="02060603020205020403" pitchFamily="18" charset="0"/>
                <a:ea typeface="+mj-ea"/>
                <a:cs typeface="+mj-cs"/>
              </a:defRPr>
            </a:lvl1pPr>
          </a:lstStyle>
          <a:p>
            <a:pPr algn="l"/>
            <a:r>
              <a:rPr sz="4800">
                <a:solidFill>
                  <a:srgbClr val="4E4F52">
                    <a:alpha val="99000"/>
                  </a:srgbClr>
                </a:solidFill>
                <a:latin typeface="Arial"/>
                <a:cs typeface="Arial"/>
              </a:rPr>
              <a:t>Agenda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1905000"/>
            <a:ext cx="8343900" cy="3962400"/>
          </a:xfrm>
          <a:prstGeom prst="rect">
            <a:avLst/>
          </a:prstGeom>
        </p:spPr>
        <p:txBody>
          <a:bodyPr anchor="t"/>
          <a:lstStyle>
            <a:lvl1pPr marL="514350" marR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 sz="2800" baseline="0">
                <a:solidFill>
                  <a:schemeClr val="tx1">
                    <a:alpha val="99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71550" indent="-514350">
              <a:buFont typeface="+mj-lt"/>
              <a:buAutoNum type="alphaLcParenR"/>
              <a:defRPr>
                <a:solidFill>
                  <a:schemeClr val="tx1">
                    <a:alpha val="99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rgbClr val="54586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54586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54586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agenda item</a:t>
            </a:r>
          </a:p>
          <a:p>
            <a:pPr lvl="1"/>
            <a:r>
              <a:rPr lang="en-US" dirty="0"/>
              <a:t>Sub item</a:t>
            </a:r>
          </a:p>
          <a:p>
            <a:pPr lvl="1"/>
            <a:r>
              <a:rPr lang="en-US" dirty="0"/>
              <a:t>Sub Item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dirty="0"/>
              <a:t>Click to add agenda item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dirty="0"/>
              <a:t>Click to add agenda item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dirty="0"/>
              <a:t>Click to add agenda item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dirty="0"/>
              <a:t>Click to add agenda item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dirty="0"/>
              <a:t>Click to add agenda item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B365D0-5BFF-4591-B84D-8953AC9A16AD}" type="datetime1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8/6/2018</a:t>
            </a:fld>
            <a:endParaRPr lang="en-US" dirty="0">
              <a:solidFill>
                <a:srgbClr val="FFFFFF">
                  <a:alpha val="99000"/>
                </a:srgbClr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1000" y="1447800"/>
            <a:ext cx="834390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3319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alpha val="99000"/>
                </a:srgbClr>
              </a:solidFill>
            </a:endParaRP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>
          <a:xfrm>
            <a:off x="8382000" y="6446838"/>
            <a:ext cx="685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>
                    <a:alpha val="99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32D78A-10B3-4DCD-84B7-9E85168884D1}" type="slidenum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alpha val="99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74176" y="990600"/>
            <a:ext cx="8312624" cy="51816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8/6/2018</a:t>
            </a:fld>
            <a:endParaRPr lang="en-US" dirty="0">
              <a:solidFill>
                <a:srgbClr val="FFFFFF">
                  <a:alpha val="99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274637"/>
            <a:ext cx="8305800" cy="487363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81000" y="838200"/>
            <a:ext cx="8343900" cy="0"/>
          </a:xfrm>
          <a:prstGeom prst="line">
            <a:avLst/>
          </a:prstGeom>
          <a:ln>
            <a:solidFill>
              <a:srgbClr val="E69E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4222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74176" y="990600"/>
            <a:ext cx="8312624" cy="51816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274637"/>
            <a:ext cx="8305800" cy="487363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slide title</a:t>
            </a:r>
          </a:p>
        </p:txBody>
      </p:sp>
    </p:spTree>
    <p:extLst>
      <p:ext uri="{BB962C8B-B14F-4D97-AF65-F5344CB8AC3E}">
        <p14:creationId xmlns:p14="http://schemas.microsoft.com/office/powerpoint/2010/main" val="30246521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382000" y="6446838"/>
            <a:ext cx="685800" cy="365125"/>
          </a:xfrm>
          <a:prstGeom prst="rect">
            <a:avLst/>
          </a:prstGeom>
        </p:spPr>
        <p:txBody>
          <a:bodyPr/>
          <a:lstStyle/>
          <a:p>
            <a:fld id="{C632D78A-10B3-4DCD-84B7-9E85168884D1}" type="slidenum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alpha val="99000"/>
                </a:srgbClr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381000" y="533401"/>
            <a:ext cx="8289308" cy="769308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3600" kern="1200" dirty="0">
                <a:solidFill>
                  <a:srgbClr val="003E7E">
                    <a:alpha val="99000"/>
                  </a:srgbClr>
                </a:solidFill>
                <a:latin typeface="Rockwell" panose="02060603020205020403" pitchFamily="18" charset="0"/>
                <a:ea typeface="+mj-ea"/>
                <a:cs typeface="+mj-cs"/>
              </a:defRPr>
            </a:lvl1pPr>
          </a:lstStyle>
          <a:p>
            <a:pPr algn="l"/>
            <a:r>
              <a:rPr sz="4800" smtClean="0">
                <a:solidFill>
                  <a:srgbClr val="4E4F52">
                    <a:alpha val="99000"/>
                  </a:srgbClr>
                </a:solidFill>
                <a:latin typeface="Arial"/>
                <a:cs typeface="Arial"/>
              </a:rPr>
              <a:t>Agenda</a:t>
            </a:r>
            <a:endParaRPr sz="4800">
              <a:solidFill>
                <a:srgbClr val="4E4F52">
                  <a:alpha val="99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1905000"/>
            <a:ext cx="8343900" cy="3962400"/>
          </a:xfrm>
          <a:prstGeom prst="rect">
            <a:avLst/>
          </a:prstGeom>
        </p:spPr>
        <p:txBody>
          <a:bodyPr anchor="t"/>
          <a:lstStyle>
            <a:lvl1pPr marL="514350" marR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 sz="2800" baseline="0">
                <a:solidFill>
                  <a:schemeClr val="tx1">
                    <a:alpha val="99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71550" indent="-514350">
              <a:buFont typeface="+mj-lt"/>
              <a:buAutoNum type="alphaLcParenR"/>
              <a:defRPr>
                <a:solidFill>
                  <a:schemeClr val="tx1">
                    <a:alpha val="99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rgbClr val="54586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54586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54586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add agenda item</a:t>
            </a:r>
          </a:p>
          <a:p>
            <a:pPr lvl="1"/>
            <a:r>
              <a:rPr lang="en-US" dirty="0" smtClean="0"/>
              <a:t>Sub item</a:t>
            </a:r>
          </a:p>
          <a:p>
            <a:pPr lvl="1"/>
            <a:r>
              <a:rPr lang="en-US" dirty="0" smtClean="0"/>
              <a:t>Sub Item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dirty="0" smtClean="0"/>
              <a:t>Click to add agenda item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dirty="0" smtClean="0"/>
              <a:t>Click to add agenda item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dirty="0" smtClean="0"/>
              <a:t>Click to add agenda item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dirty="0" smtClean="0"/>
              <a:t>Click to add agenda item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dirty="0" smtClean="0"/>
              <a:t>Click to add agenda item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>
          <a:xfrm>
            <a:off x="6324600" y="6446838"/>
            <a:ext cx="1981200" cy="365125"/>
          </a:xfrm>
          <a:prstGeom prst="rect">
            <a:avLst/>
          </a:prstGeom>
        </p:spPr>
        <p:txBody>
          <a:bodyPr/>
          <a:lstStyle/>
          <a:p>
            <a:fld id="{DAB365D0-5BFF-4591-B84D-8953AC9A16AD}" type="datetime1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8/6/2018</a:t>
            </a:fld>
            <a:endParaRPr lang="en-US" dirty="0">
              <a:solidFill>
                <a:srgbClr val="FFFFFF">
                  <a:alpha val="99000"/>
                </a:srgbClr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1000" y="1447800"/>
            <a:ext cx="834390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0577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382000" y="6446838"/>
            <a:ext cx="685800" cy="365125"/>
          </a:xfrm>
          <a:prstGeom prst="rect">
            <a:avLst/>
          </a:prstGeom>
        </p:spPr>
        <p:txBody>
          <a:bodyPr/>
          <a:lstStyle/>
          <a:p>
            <a:fld id="{C632D78A-10B3-4DCD-84B7-9E85168884D1}" type="slidenum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alpha val="99000"/>
                </a:srgbClr>
              </a:solidFill>
            </a:endParaRP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>
          <a:xfrm>
            <a:off x="8382000" y="6446838"/>
            <a:ext cx="685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>
                    <a:alpha val="99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32D78A-10B3-4DCD-84B7-9E85168884D1}" type="slidenum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alpha val="99000"/>
                </a:srgbClr>
              </a:solidFill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>
          <a:xfrm>
            <a:off x="6324600" y="6446838"/>
            <a:ext cx="1981200" cy="365125"/>
          </a:xfrm>
          <a:prstGeom prst="rect">
            <a:avLst/>
          </a:prstGeom>
        </p:spPr>
        <p:txBody>
          <a:bodyPr/>
          <a:lstStyle/>
          <a:p>
            <a:fld id="{0D5B9A0F-CCD0-4348-8112-2A1A806F4019}" type="datetime1">
              <a:rPr lang="en-US" smtClean="0">
                <a:solidFill>
                  <a:srgbClr val="001B5A"/>
                </a:solidFill>
              </a:rPr>
              <a:pPr/>
              <a:t>8/6/2018</a:t>
            </a:fld>
            <a:endParaRPr lang="en-US" dirty="0">
              <a:solidFill>
                <a:srgbClr val="001B5A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274637"/>
            <a:ext cx="8305800" cy="487363"/>
          </a:xfrm>
          <a:prstGeom prst="rect">
            <a:avLst/>
          </a:prstGeom>
        </p:spPr>
        <p:txBody>
          <a:bodyPr/>
          <a:lstStyle>
            <a:lvl1pPr algn="l">
              <a:defRPr sz="2400" b="0">
                <a:solidFill>
                  <a:srgbClr val="043170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81000" y="838200"/>
            <a:ext cx="8343900" cy="0"/>
          </a:xfrm>
          <a:prstGeom prst="line">
            <a:avLst/>
          </a:prstGeom>
          <a:ln>
            <a:solidFill>
              <a:srgbClr val="EEB1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87193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382000" y="6446838"/>
            <a:ext cx="685800" cy="365125"/>
          </a:xfrm>
          <a:prstGeom prst="rect">
            <a:avLst/>
          </a:prstGeom>
        </p:spPr>
        <p:txBody>
          <a:bodyPr/>
          <a:lstStyle/>
          <a:p>
            <a:fld id="{C632D78A-10B3-4DCD-84B7-9E85168884D1}" type="slidenum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alpha val="99000"/>
                </a:srgbClr>
              </a:solidFill>
            </a:endParaRP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>
          <a:xfrm>
            <a:off x="8382000" y="6446838"/>
            <a:ext cx="685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>
                    <a:alpha val="99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32D78A-10B3-4DCD-84B7-9E85168884D1}" type="slidenum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alpha val="99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74176" y="990600"/>
            <a:ext cx="8312624" cy="51816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>
          <a:xfrm>
            <a:off x="6324600" y="6446838"/>
            <a:ext cx="1981200" cy="365125"/>
          </a:xfrm>
          <a:prstGeom prst="rect">
            <a:avLst/>
          </a:prstGeom>
        </p:spPr>
        <p:txBody>
          <a:bodyPr/>
          <a:lstStyle/>
          <a:p>
            <a:fld id="{0D5B9A0F-CCD0-4348-8112-2A1A806F4019}" type="datetime1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8/6/2018</a:t>
            </a:fld>
            <a:endParaRPr lang="en-US" dirty="0">
              <a:solidFill>
                <a:srgbClr val="FFFFFF">
                  <a:alpha val="99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274637"/>
            <a:ext cx="8305800" cy="487363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slide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81000" y="838200"/>
            <a:ext cx="8343900" cy="0"/>
          </a:xfrm>
          <a:prstGeom prst="line">
            <a:avLst/>
          </a:prstGeom>
          <a:ln>
            <a:solidFill>
              <a:srgbClr val="E69E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60694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382000" y="6446838"/>
            <a:ext cx="685800" cy="365125"/>
          </a:xfrm>
          <a:prstGeom prst="rect">
            <a:avLst/>
          </a:prstGeom>
        </p:spPr>
        <p:txBody>
          <a:bodyPr/>
          <a:lstStyle/>
          <a:p>
            <a:fld id="{C632D78A-10B3-4DCD-84B7-9E85168884D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>
          <a:xfrm>
            <a:off x="8382000" y="6446838"/>
            <a:ext cx="685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>
                    <a:alpha val="99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32D78A-10B3-4DCD-84B7-9E85168884D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74176" y="990600"/>
            <a:ext cx="8312624" cy="51816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616265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616265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616265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616265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616265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>
          <a:xfrm>
            <a:off x="6324600" y="6446838"/>
            <a:ext cx="1981200" cy="365125"/>
          </a:xfrm>
          <a:prstGeom prst="rect">
            <a:avLst/>
          </a:prstGeom>
        </p:spPr>
        <p:txBody>
          <a:bodyPr/>
          <a:lstStyle/>
          <a:p>
            <a:fld id="{0D5B9A0F-CCD0-4348-8112-2A1A806F4019}" type="datetime1">
              <a:rPr lang="en-US" smtClean="0"/>
              <a:t>8/6/2018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0"/>
            <a:ext cx="8305800" cy="838199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200">
                <a:solidFill>
                  <a:srgbClr val="616265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81000" y="838200"/>
            <a:ext cx="834390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61733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33312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17 Global 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1522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382000" y="6446838"/>
            <a:ext cx="685800" cy="365125"/>
          </a:xfrm>
          <a:prstGeom prst="rect">
            <a:avLst/>
          </a:prstGeom>
        </p:spPr>
        <p:txBody>
          <a:bodyPr/>
          <a:lstStyle/>
          <a:p>
            <a:fld id="{C632D78A-10B3-4DCD-84B7-9E85168884D1}" type="slidenum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alpha val="99000"/>
                </a:srgbClr>
              </a:solidFill>
            </a:endParaRP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>
          <a:xfrm>
            <a:off x="8382000" y="6446838"/>
            <a:ext cx="685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>
                    <a:alpha val="99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32D78A-10B3-4DCD-84B7-9E85168884D1}" type="slidenum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alpha val="99000"/>
                </a:srgbClr>
              </a:solidFill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>
          <a:xfrm>
            <a:off x="6324600" y="6446838"/>
            <a:ext cx="1981200" cy="365125"/>
          </a:xfrm>
          <a:prstGeom prst="rect">
            <a:avLst/>
          </a:prstGeom>
        </p:spPr>
        <p:txBody>
          <a:bodyPr/>
          <a:lstStyle/>
          <a:p>
            <a:fld id="{0D5B9A0F-CCD0-4348-8112-2A1A806F4019}" type="datetime1">
              <a:rPr lang="en-US" smtClean="0">
                <a:solidFill>
                  <a:srgbClr val="001B5A"/>
                </a:solidFill>
              </a:rPr>
              <a:pPr/>
              <a:t>8/6/2018</a:t>
            </a:fld>
            <a:endParaRPr lang="en-US" dirty="0">
              <a:solidFill>
                <a:srgbClr val="001B5A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381000" y="274637"/>
            <a:ext cx="8305800" cy="487363"/>
          </a:xfrm>
          <a:prstGeom prst="rect">
            <a:avLst/>
          </a:prstGeom>
        </p:spPr>
        <p:txBody>
          <a:bodyPr/>
          <a:lstStyle>
            <a:lvl1pPr algn="l">
              <a:defRPr sz="2400" b="0">
                <a:solidFill>
                  <a:srgbClr val="043170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slide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81000" y="838200"/>
            <a:ext cx="8343900" cy="0"/>
          </a:xfrm>
          <a:prstGeom prst="line">
            <a:avLst/>
          </a:prstGeom>
          <a:ln>
            <a:solidFill>
              <a:srgbClr val="EEB1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9048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17 Global 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03001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14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3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4x3_Print.eps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0292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4800600"/>
            <a:ext cx="9144000" cy="1295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rgbClr val="003E7E"/>
              </a:solidFill>
            </a:endParaRPr>
          </a:p>
        </p:txBody>
      </p:sp>
      <p:sp>
        <p:nvSpPr>
          <p:cNvPr id="13" name="Text Placeholder 9"/>
          <p:cNvSpPr txBox="1">
            <a:spLocks/>
          </p:cNvSpPr>
          <p:nvPr userDrawn="1"/>
        </p:nvSpPr>
        <p:spPr>
          <a:xfrm>
            <a:off x="609600" y="4800600"/>
            <a:ext cx="6636011" cy="12954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 baseline="0">
                <a:solidFill>
                  <a:srgbClr val="043170">
                    <a:alpha val="99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bg1">
                    <a:alpha val="99000"/>
                  </a:schemeClr>
                </a:solidFill>
              </a:rPr>
              <a:t>GRM U.S.</a:t>
            </a:r>
          </a:p>
        </p:txBody>
      </p:sp>
      <p:pic>
        <p:nvPicPr>
          <p:cNvPr id="3" name="Picture 2" descr="LM-Masterbrand-horiz-rev.eps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9400" y="5181600"/>
            <a:ext cx="1844211" cy="457200"/>
          </a:xfrm>
          <a:prstGeom prst="rect">
            <a:avLst/>
          </a:prstGeom>
        </p:spPr>
      </p:pic>
      <p:sp>
        <p:nvSpPr>
          <p:cNvPr id="15" name="Text Placeholder 9"/>
          <p:cNvSpPr txBox="1">
            <a:spLocks/>
          </p:cNvSpPr>
          <p:nvPr userDrawn="1"/>
        </p:nvSpPr>
        <p:spPr>
          <a:xfrm>
            <a:off x="609600" y="6096000"/>
            <a:ext cx="6636011" cy="7620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 baseline="0">
                <a:solidFill>
                  <a:srgbClr val="043170">
                    <a:alpha val="99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50" dirty="0">
                <a:solidFill>
                  <a:schemeClr val="accent6">
                    <a:alpha val="99000"/>
                  </a:schemeClr>
                </a:solidFill>
              </a:rPr>
              <a:t>For Internal Purposes Only — Not to Be</a:t>
            </a:r>
            <a:r>
              <a:rPr lang="en-US" sz="850" baseline="0" dirty="0">
                <a:solidFill>
                  <a:schemeClr val="accent6">
                    <a:alpha val="99000"/>
                  </a:schemeClr>
                </a:solidFill>
              </a:rPr>
              <a:t> Distributed</a:t>
            </a:r>
            <a:endParaRPr lang="en-US" sz="850" dirty="0">
              <a:solidFill>
                <a:schemeClr val="accent6">
                  <a:alpha val="99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467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4x3_Print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0292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4800600"/>
            <a:ext cx="9144000" cy="1295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rgbClr val="003E7E"/>
              </a:solidFill>
            </a:endParaRPr>
          </a:p>
        </p:txBody>
      </p:sp>
      <p:pic>
        <p:nvPicPr>
          <p:cNvPr id="3" name="Picture 2" descr="LM-Masterbrand-horiz-rev.eps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1473" y="5029200"/>
            <a:ext cx="3381054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412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6400800"/>
            <a:ext cx="9144000" cy="4572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rgbClr val="003E7E"/>
              </a:solidFill>
            </a:endParaRPr>
          </a:p>
        </p:txBody>
      </p:sp>
      <p:sp>
        <p:nvSpPr>
          <p:cNvPr id="10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8382000" y="6446838"/>
            <a:ext cx="685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alpha val="99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632D78A-10B3-4DCD-84B7-9E85168884D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Date Placeholder 1"/>
          <p:cNvSpPr>
            <a:spLocks noGrp="1"/>
          </p:cNvSpPr>
          <p:nvPr>
            <p:ph type="dt" sz="half" idx="2"/>
          </p:nvPr>
        </p:nvSpPr>
        <p:spPr>
          <a:xfrm>
            <a:off x="6324600" y="6446838"/>
            <a:ext cx="1981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alpha val="99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548966E-5C31-4663-8FDC-41D52186FAA4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52400" y="6490902"/>
            <a:ext cx="2209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bg1">
                    <a:alpha val="99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M U.S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905000" y="6515100"/>
            <a:ext cx="4876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kern="1200" dirty="0">
                <a:solidFill>
                  <a:schemeClr val="bg1"/>
                </a:solidFill>
                <a:latin typeface="+mn-lt"/>
                <a:ea typeface="+mn-ea"/>
                <a:cs typeface="Arial"/>
              </a:rPr>
              <a:t>Confidential – Proprietary – May Contain Trade Secrets</a:t>
            </a:r>
            <a:endParaRPr lang="en-US" sz="1000" dirty="0">
              <a:solidFill>
                <a:schemeClr val="bg1"/>
              </a:solidFill>
              <a:latin typeface="+mn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57936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70" r:id="rId2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6400800"/>
            <a:ext cx="9144000" cy="457200"/>
          </a:xfrm>
          <a:prstGeom prst="rect">
            <a:avLst/>
          </a:prstGeom>
          <a:solidFill>
            <a:srgbClr val="E69E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3E7E"/>
              </a:solidFill>
            </a:endParaRPr>
          </a:p>
        </p:txBody>
      </p:sp>
      <p:sp>
        <p:nvSpPr>
          <p:cNvPr id="10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8382000" y="6446838"/>
            <a:ext cx="685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alpha val="99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632D78A-10B3-4DCD-84B7-9E85168884D1}" type="slidenum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alpha val="99000"/>
                </a:srgbClr>
              </a:solidFill>
            </a:endParaRPr>
          </a:p>
        </p:txBody>
      </p:sp>
      <p:sp>
        <p:nvSpPr>
          <p:cNvPr id="11" name="Date Placeholder 1"/>
          <p:cNvSpPr>
            <a:spLocks noGrp="1"/>
          </p:cNvSpPr>
          <p:nvPr>
            <p:ph type="dt" sz="half" idx="2"/>
          </p:nvPr>
        </p:nvSpPr>
        <p:spPr>
          <a:xfrm>
            <a:off x="6324600" y="6446838"/>
            <a:ext cx="1981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alpha val="99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548966E-5C31-4663-8FDC-41D52186FAA4}" type="datetime1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8/6/2018</a:t>
            </a:fld>
            <a:endParaRPr lang="en-US" dirty="0">
              <a:solidFill>
                <a:srgbClr val="FFFFFF">
                  <a:alpha val="99000"/>
                </a:srgb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52400" y="6490902"/>
            <a:ext cx="2209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FFFF">
                    <a:alpha val="99000"/>
                  </a:srgbClr>
                </a:solidFill>
                <a:cs typeface="Arial" panose="020B0604020202020204" pitchFamily="34" charset="0"/>
              </a:rPr>
              <a:t>GRM U.S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905000" y="6515100"/>
            <a:ext cx="4876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FFFFFF"/>
                </a:solidFill>
                <a:cs typeface="Arial"/>
              </a:rPr>
              <a:t>Confidential – Proprietary – May Contain Trade Secrets</a:t>
            </a:r>
          </a:p>
        </p:txBody>
      </p:sp>
    </p:spTree>
    <p:extLst>
      <p:ext uri="{BB962C8B-B14F-4D97-AF65-F5344CB8AC3E}">
        <p14:creationId xmlns:p14="http://schemas.microsoft.com/office/powerpoint/2010/main" val="491538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microsoft.com/office/2007/relationships/diagramDrawing" Target="../diagrams/drawing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diagramColors" Target="../diagrams/colors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3.xml"/><Relationship Id="rId11" Type="http://schemas.openxmlformats.org/officeDocument/2006/relationships/diagramQuickStyle" Target="../diagrams/quickStyle4.xml"/><Relationship Id="rId5" Type="http://schemas.openxmlformats.org/officeDocument/2006/relationships/diagramQuickStyle" Target="../diagrams/quickStyle3.xml"/><Relationship Id="rId10" Type="http://schemas.openxmlformats.org/officeDocument/2006/relationships/diagramLayout" Target="../diagrams/layout4.xml"/><Relationship Id="rId4" Type="http://schemas.openxmlformats.org/officeDocument/2006/relationships/diagramLayout" Target="../diagrams/layout3.xml"/><Relationship Id="rId9" Type="http://schemas.openxmlformats.org/officeDocument/2006/relationships/diagramData" Target="../diagrams/data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17" Type="http://schemas.openxmlformats.org/officeDocument/2006/relationships/tags" Target="../tags/tag126.xml"/><Relationship Id="rId21" Type="http://schemas.openxmlformats.org/officeDocument/2006/relationships/tags" Target="../tags/tag30.xml"/><Relationship Id="rId42" Type="http://schemas.openxmlformats.org/officeDocument/2006/relationships/tags" Target="../tags/tag51.xml"/><Relationship Id="rId63" Type="http://schemas.openxmlformats.org/officeDocument/2006/relationships/tags" Target="../tags/tag72.xml"/><Relationship Id="rId84" Type="http://schemas.openxmlformats.org/officeDocument/2006/relationships/tags" Target="../tags/tag93.xml"/><Relationship Id="rId138" Type="http://schemas.openxmlformats.org/officeDocument/2006/relationships/tags" Target="../tags/tag147.xml"/><Relationship Id="rId159" Type="http://schemas.openxmlformats.org/officeDocument/2006/relationships/tags" Target="../tags/tag168.xml"/><Relationship Id="rId170" Type="http://schemas.openxmlformats.org/officeDocument/2006/relationships/tags" Target="../tags/tag179.xml"/><Relationship Id="rId191" Type="http://schemas.openxmlformats.org/officeDocument/2006/relationships/tags" Target="../tags/tag200.xml"/><Relationship Id="rId205" Type="http://schemas.openxmlformats.org/officeDocument/2006/relationships/tags" Target="../tags/tag214.xml"/><Relationship Id="rId226" Type="http://schemas.openxmlformats.org/officeDocument/2006/relationships/tags" Target="../tags/tag235.xml"/><Relationship Id="rId247" Type="http://schemas.openxmlformats.org/officeDocument/2006/relationships/tags" Target="../tags/tag256.xml"/><Relationship Id="rId107" Type="http://schemas.openxmlformats.org/officeDocument/2006/relationships/tags" Target="../tags/tag116.xml"/><Relationship Id="rId268" Type="http://schemas.openxmlformats.org/officeDocument/2006/relationships/tags" Target="../tags/tag277.xml"/><Relationship Id="rId11" Type="http://schemas.openxmlformats.org/officeDocument/2006/relationships/tags" Target="../tags/tag20.xml"/><Relationship Id="rId32" Type="http://schemas.openxmlformats.org/officeDocument/2006/relationships/tags" Target="../tags/tag41.xml"/><Relationship Id="rId53" Type="http://schemas.openxmlformats.org/officeDocument/2006/relationships/tags" Target="../tags/tag62.xml"/><Relationship Id="rId74" Type="http://schemas.openxmlformats.org/officeDocument/2006/relationships/tags" Target="../tags/tag83.xml"/><Relationship Id="rId128" Type="http://schemas.openxmlformats.org/officeDocument/2006/relationships/tags" Target="../tags/tag137.xml"/><Relationship Id="rId149" Type="http://schemas.openxmlformats.org/officeDocument/2006/relationships/tags" Target="../tags/tag158.xml"/><Relationship Id="rId5" Type="http://schemas.openxmlformats.org/officeDocument/2006/relationships/tags" Target="../tags/tag14.xml"/><Relationship Id="rId95" Type="http://schemas.openxmlformats.org/officeDocument/2006/relationships/tags" Target="../tags/tag104.xml"/><Relationship Id="rId160" Type="http://schemas.openxmlformats.org/officeDocument/2006/relationships/tags" Target="../tags/tag169.xml"/><Relationship Id="rId181" Type="http://schemas.openxmlformats.org/officeDocument/2006/relationships/tags" Target="../tags/tag190.xml"/><Relationship Id="rId216" Type="http://schemas.openxmlformats.org/officeDocument/2006/relationships/tags" Target="../tags/tag225.xml"/><Relationship Id="rId237" Type="http://schemas.openxmlformats.org/officeDocument/2006/relationships/tags" Target="../tags/tag246.xml"/><Relationship Id="rId258" Type="http://schemas.openxmlformats.org/officeDocument/2006/relationships/tags" Target="../tags/tag267.xml"/><Relationship Id="rId279" Type="http://schemas.openxmlformats.org/officeDocument/2006/relationships/diagramQuickStyle" Target="../diagrams/quickStyle5.xml"/><Relationship Id="rId22" Type="http://schemas.openxmlformats.org/officeDocument/2006/relationships/tags" Target="../tags/tag31.xml"/><Relationship Id="rId43" Type="http://schemas.openxmlformats.org/officeDocument/2006/relationships/tags" Target="../tags/tag52.xml"/><Relationship Id="rId64" Type="http://schemas.openxmlformats.org/officeDocument/2006/relationships/tags" Target="../tags/tag73.xml"/><Relationship Id="rId118" Type="http://schemas.openxmlformats.org/officeDocument/2006/relationships/tags" Target="../tags/tag127.xml"/><Relationship Id="rId139" Type="http://schemas.openxmlformats.org/officeDocument/2006/relationships/tags" Target="../tags/tag148.xml"/><Relationship Id="rId85" Type="http://schemas.openxmlformats.org/officeDocument/2006/relationships/tags" Target="../tags/tag94.xml"/><Relationship Id="rId150" Type="http://schemas.openxmlformats.org/officeDocument/2006/relationships/tags" Target="../tags/tag159.xml"/><Relationship Id="rId171" Type="http://schemas.openxmlformats.org/officeDocument/2006/relationships/tags" Target="../tags/tag180.xml"/><Relationship Id="rId192" Type="http://schemas.openxmlformats.org/officeDocument/2006/relationships/tags" Target="../tags/tag201.xml"/><Relationship Id="rId206" Type="http://schemas.openxmlformats.org/officeDocument/2006/relationships/tags" Target="../tags/tag215.xml"/><Relationship Id="rId227" Type="http://schemas.openxmlformats.org/officeDocument/2006/relationships/tags" Target="../tags/tag236.xml"/><Relationship Id="rId248" Type="http://schemas.openxmlformats.org/officeDocument/2006/relationships/tags" Target="../tags/tag257.xml"/><Relationship Id="rId269" Type="http://schemas.openxmlformats.org/officeDocument/2006/relationships/tags" Target="../tags/tag278.xml"/><Relationship Id="rId12" Type="http://schemas.openxmlformats.org/officeDocument/2006/relationships/tags" Target="../tags/tag21.xml"/><Relationship Id="rId33" Type="http://schemas.openxmlformats.org/officeDocument/2006/relationships/tags" Target="../tags/tag42.xml"/><Relationship Id="rId108" Type="http://schemas.openxmlformats.org/officeDocument/2006/relationships/tags" Target="../tags/tag117.xml"/><Relationship Id="rId129" Type="http://schemas.openxmlformats.org/officeDocument/2006/relationships/tags" Target="../tags/tag138.xml"/><Relationship Id="rId280" Type="http://schemas.openxmlformats.org/officeDocument/2006/relationships/diagramColors" Target="../diagrams/colors5.xml"/><Relationship Id="rId54" Type="http://schemas.openxmlformats.org/officeDocument/2006/relationships/tags" Target="../tags/tag63.xml"/><Relationship Id="rId75" Type="http://schemas.openxmlformats.org/officeDocument/2006/relationships/tags" Target="../tags/tag84.xml"/><Relationship Id="rId96" Type="http://schemas.openxmlformats.org/officeDocument/2006/relationships/tags" Target="../tags/tag105.xml"/><Relationship Id="rId140" Type="http://schemas.openxmlformats.org/officeDocument/2006/relationships/tags" Target="../tags/tag149.xml"/><Relationship Id="rId161" Type="http://schemas.openxmlformats.org/officeDocument/2006/relationships/tags" Target="../tags/tag170.xml"/><Relationship Id="rId182" Type="http://schemas.openxmlformats.org/officeDocument/2006/relationships/tags" Target="../tags/tag191.xml"/><Relationship Id="rId217" Type="http://schemas.openxmlformats.org/officeDocument/2006/relationships/tags" Target="../tags/tag226.xml"/><Relationship Id="rId6" Type="http://schemas.openxmlformats.org/officeDocument/2006/relationships/tags" Target="../tags/tag15.xml"/><Relationship Id="rId238" Type="http://schemas.openxmlformats.org/officeDocument/2006/relationships/tags" Target="../tags/tag247.xml"/><Relationship Id="rId259" Type="http://schemas.openxmlformats.org/officeDocument/2006/relationships/tags" Target="../tags/tag268.xml"/><Relationship Id="rId23" Type="http://schemas.openxmlformats.org/officeDocument/2006/relationships/tags" Target="../tags/tag32.xml"/><Relationship Id="rId119" Type="http://schemas.openxmlformats.org/officeDocument/2006/relationships/tags" Target="../tags/tag128.xml"/><Relationship Id="rId270" Type="http://schemas.openxmlformats.org/officeDocument/2006/relationships/tags" Target="../tags/tag279.xml"/><Relationship Id="rId44" Type="http://schemas.openxmlformats.org/officeDocument/2006/relationships/tags" Target="../tags/tag53.xml"/><Relationship Id="rId65" Type="http://schemas.openxmlformats.org/officeDocument/2006/relationships/tags" Target="../tags/tag74.xml"/><Relationship Id="rId86" Type="http://schemas.openxmlformats.org/officeDocument/2006/relationships/tags" Target="../tags/tag95.xml"/><Relationship Id="rId130" Type="http://schemas.openxmlformats.org/officeDocument/2006/relationships/tags" Target="../tags/tag139.xml"/><Relationship Id="rId151" Type="http://schemas.openxmlformats.org/officeDocument/2006/relationships/tags" Target="../tags/tag160.xml"/><Relationship Id="rId172" Type="http://schemas.openxmlformats.org/officeDocument/2006/relationships/tags" Target="../tags/tag181.xml"/><Relationship Id="rId193" Type="http://schemas.openxmlformats.org/officeDocument/2006/relationships/tags" Target="../tags/tag202.xml"/><Relationship Id="rId207" Type="http://schemas.openxmlformats.org/officeDocument/2006/relationships/tags" Target="../tags/tag216.xml"/><Relationship Id="rId228" Type="http://schemas.openxmlformats.org/officeDocument/2006/relationships/tags" Target="../tags/tag237.xml"/><Relationship Id="rId249" Type="http://schemas.openxmlformats.org/officeDocument/2006/relationships/tags" Target="../tags/tag258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39" Type="http://schemas.openxmlformats.org/officeDocument/2006/relationships/tags" Target="../tags/tag48.xml"/><Relationship Id="rId109" Type="http://schemas.openxmlformats.org/officeDocument/2006/relationships/tags" Target="../tags/tag118.xml"/><Relationship Id="rId260" Type="http://schemas.openxmlformats.org/officeDocument/2006/relationships/tags" Target="../tags/tag269.xml"/><Relationship Id="rId265" Type="http://schemas.openxmlformats.org/officeDocument/2006/relationships/tags" Target="../tags/tag274.xml"/><Relationship Id="rId281" Type="http://schemas.microsoft.com/office/2007/relationships/diagramDrawing" Target="../diagrams/drawing5.xml"/><Relationship Id="rId34" Type="http://schemas.openxmlformats.org/officeDocument/2006/relationships/tags" Target="../tags/tag43.xml"/><Relationship Id="rId50" Type="http://schemas.openxmlformats.org/officeDocument/2006/relationships/tags" Target="../tags/tag59.xml"/><Relationship Id="rId55" Type="http://schemas.openxmlformats.org/officeDocument/2006/relationships/tags" Target="../tags/tag64.xml"/><Relationship Id="rId76" Type="http://schemas.openxmlformats.org/officeDocument/2006/relationships/tags" Target="../tags/tag85.xml"/><Relationship Id="rId97" Type="http://schemas.openxmlformats.org/officeDocument/2006/relationships/tags" Target="../tags/tag106.xml"/><Relationship Id="rId104" Type="http://schemas.openxmlformats.org/officeDocument/2006/relationships/tags" Target="../tags/tag113.xml"/><Relationship Id="rId120" Type="http://schemas.openxmlformats.org/officeDocument/2006/relationships/tags" Target="../tags/tag129.xml"/><Relationship Id="rId125" Type="http://schemas.openxmlformats.org/officeDocument/2006/relationships/tags" Target="../tags/tag134.xml"/><Relationship Id="rId141" Type="http://schemas.openxmlformats.org/officeDocument/2006/relationships/tags" Target="../tags/tag150.xml"/><Relationship Id="rId146" Type="http://schemas.openxmlformats.org/officeDocument/2006/relationships/tags" Target="../tags/tag155.xml"/><Relationship Id="rId167" Type="http://schemas.openxmlformats.org/officeDocument/2006/relationships/tags" Target="../tags/tag176.xml"/><Relationship Id="rId188" Type="http://schemas.openxmlformats.org/officeDocument/2006/relationships/tags" Target="../tags/tag197.xml"/><Relationship Id="rId7" Type="http://schemas.openxmlformats.org/officeDocument/2006/relationships/tags" Target="../tags/tag16.xml"/><Relationship Id="rId71" Type="http://schemas.openxmlformats.org/officeDocument/2006/relationships/tags" Target="../tags/tag80.xml"/><Relationship Id="rId92" Type="http://schemas.openxmlformats.org/officeDocument/2006/relationships/tags" Target="../tags/tag101.xml"/><Relationship Id="rId162" Type="http://schemas.openxmlformats.org/officeDocument/2006/relationships/tags" Target="../tags/tag171.xml"/><Relationship Id="rId183" Type="http://schemas.openxmlformats.org/officeDocument/2006/relationships/tags" Target="../tags/tag192.xml"/><Relationship Id="rId213" Type="http://schemas.openxmlformats.org/officeDocument/2006/relationships/tags" Target="../tags/tag222.xml"/><Relationship Id="rId218" Type="http://schemas.openxmlformats.org/officeDocument/2006/relationships/tags" Target="../tags/tag227.xml"/><Relationship Id="rId234" Type="http://schemas.openxmlformats.org/officeDocument/2006/relationships/tags" Target="../tags/tag243.xml"/><Relationship Id="rId239" Type="http://schemas.openxmlformats.org/officeDocument/2006/relationships/tags" Target="../tags/tag248.xml"/><Relationship Id="rId2" Type="http://schemas.openxmlformats.org/officeDocument/2006/relationships/tags" Target="../tags/tag11.xml"/><Relationship Id="rId29" Type="http://schemas.openxmlformats.org/officeDocument/2006/relationships/tags" Target="../tags/tag38.xml"/><Relationship Id="rId250" Type="http://schemas.openxmlformats.org/officeDocument/2006/relationships/tags" Target="../tags/tag259.xml"/><Relationship Id="rId255" Type="http://schemas.openxmlformats.org/officeDocument/2006/relationships/tags" Target="../tags/tag264.xml"/><Relationship Id="rId271" Type="http://schemas.openxmlformats.org/officeDocument/2006/relationships/tags" Target="../tags/tag280.xml"/><Relationship Id="rId276" Type="http://schemas.openxmlformats.org/officeDocument/2006/relationships/notesSlide" Target="../notesSlides/notesSlide13.xml"/><Relationship Id="rId24" Type="http://schemas.openxmlformats.org/officeDocument/2006/relationships/tags" Target="../tags/tag33.xml"/><Relationship Id="rId40" Type="http://schemas.openxmlformats.org/officeDocument/2006/relationships/tags" Target="../tags/tag49.xml"/><Relationship Id="rId45" Type="http://schemas.openxmlformats.org/officeDocument/2006/relationships/tags" Target="../tags/tag54.xml"/><Relationship Id="rId66" Type="http://schemas.openxmlformats.org/officeDocument/2006/relationships/tags" Target="../tags/tag75.xml"/><Relationship Id="rId87" Type="http://schemas.openxmlformats.org/officeDocument/2006/relationships/tags" Target="../tags/tag96.xml"/><Relationship Id="rId110" Type="http://schemas.openxmlformats.org/officeDocument/2006/relationships/tags" Target="../tags/tag119.xml"/><Relationship Id="rId115" Type="http://schemas.openxmlformats.org/officeDocument/2006/relationships/tags" Target="../tags/tag124.xml"/><Relationship Id="rId131" Type="http://schemas.openxmlformats.org/officeDocument/2006/relationships/tags" Target="../tags/tag140.xml"/><Relationship Id="rId136" Type="http://schemas.openxmlformats.org/officeDocument/2006/relationships/tags" Target="../tags/tag145.xml"/><Relationship Id="rId157" Type="http://schemas.openxmlformats.org/officeDocument/2006/relationships/tags" Target="../tags/tag166.xml"/><Relationship Id="rId178" Type="http://schemas.openxmlformats.org/officeDocument/2006/relationships/tags" Target="../tags/tag187.xml"/><Relationship Id="rId61" Type="http://schemas.openxmlformats.org/officeDocument/2006/relationships/tags" Target="../tags/tag70.xml"/><Relationship Id="rId82" Type="http://schemas.openxmlformats.org/officeDocument/2006/relationships/tags" Target="../tags/tag91.xml"/><Relationship Id="rId152" Type="http://schemas.openxmlformats.org/officeDocument/2006/relationships/tags" Target="../tags/tag161.xml"/><Relationship Id="rId173" Type="http://schemas.openxmlformats.org/officeDocument/2006/relationships/tags" Target="../tags/tag182.xml"/><Relationship Id="rId194" Type="http://schemas.openxmlformats.org/officeDocument/2006/relationships/tags" Target="../tags/tag203.xml"/><Relationship Id="rId199" Type="http://schemas.openxmlformats.org/officeDocument/2006/relationships/tags" Target="../tags/tag208.xml"/><Relationship Id="rId203" Type="http://schemas.openxmlformats.org/officeDocument/2006/relationships/tags" Target="../tags/tag212.xml"/><Relationship Id="rId208" Type="http://schemas.openxmlformats.org/officeDocument/2006/relationships/tags" Target="../tags/tag217.xml"/><Relationship Id="rId229" Type="http://schemas.openxmlformats.org/officeDocument/2006/relationships/tags" Target="../tags/tag238.xml"/><Relationship Id="rId19" Type="http://schemas.openxmlformats.org/officeDocument/2006/relationships/tags" Target="../tags/tag28.xml"/><Relationship Id="rId224" Type="http://schemas.openxmlformats.org/officeDocument/2006/relationships/tags" Target="../tags/tag233.xml"/><Relationship Id="rId240" Type="http://schemas.openxmlformats.org/officeDocument/2006/relationships/tags" Target="../tags/tag249.xml"/><Relationship Id="rId245" Type="http://schemas.openxmlformats.org/officeDocument/2006/relationships/tags" Target="../tags/tag254.xml"/><Relationship Id="rId261" Type="http://schemas.openxmlformats.org/officeDocument/2006/relationships/tags" Target="../tags/tag270.xml"/><Relationship Id="rId266" Type="http://schemas.openxmlformats.org/officeDocument/2006/relationships/tags" Target="../tags/tag275.xml"/><Relationship Id="rId14" Type="http://schemas.openxmlformats.org/officeDocument/2006/relationships/tags" Target="../tags/tag23.xml"/><Relationship Id="rId30" Type="http://schemas.openxmlformats.org/officeDocument/2006/relationships/tags" Target="../tags/tag39.xml"/><Relationship Id="rId35" Type="http://schemas.openxmlformats.org/officeDocument/2006/relationships/tags" Target="../tags/tag44.xml"/><Relationship Id="rId56" Type="http://schemas.openxmlformats.org/officeDocument/2006/relationships/tags" Target="../tags/tag65.xml"/><Relationship Id="rId77" Type="http://schemas.openxmlformats.org/officeDocument/2006/relationships/tags" Target="../tags/tag86.xml"/><Relationship Id="rId100" Type="http://schemas.openxmlformats.org/officeDocument/2006/relationships/tags" Target="../tags/tag109.xml"/><Relationship Id="rId105" Type="http://schemas.openxmlformats.org/officeDocument/2006/relationships/tags" Target="../tags/tag114.xml"/><Relationship Id="rId126" Type="http://schemas.openxmlformats.org/officeDocument/2006/relationships/tags" Target="../tags/tag135.xml"/><Relationship Id="rId147" Type="http://schemas.openxmlformats.org/officeDocument/2006/relationships/tags" Target="../tags/tag156.xml"/><Relationship Id="rId168" Type="http://schemas.openxmlformats.org/officeDocument/2006/relationships/tags" Target="../tags/tag177.xml"/><Relationship Id="rId282" Type="http://schemas.openxmlformats.org/officeDocument/2006/relationships/image" Target="../media/image23.png"/><Relationship Id="rId8" Type="http://schemas.openxmlformats.org/officeDocument/2006/relationships/tags" Target="../tags/tag17.xml"/><Relationship Id="rId51" Type="http://schemas.openxmlformats.org/officeDocument/2006/relationships/tags" Target="../tags/tag60.xml"/><Relationship Id="rId72" Type="http://schemas.openxmlformats.org/officeDocument/2006/relationships/tags" Target="../tags/tag81.xml"/><Relationship Id="rId93" Type="http://schemas.openxmlformats.org/officeDocument/2006/relationships/tags" Target="../tags/tag102.xml"/><Relationship Id="rId98" Type="http://schemas.openxmlformats.org/officeDocument/2006/relationships/tags" Target="../tags/tag107.xml"/><Relationship Id="rId121" Type="http://schemas.openxmlformats.org/officeDocument/2006/relationships/tags" Target="../tags/tag130.xml"/><Relationship Id="rId142" Type="http://schemas.openxmlformats.org/officeDocument/2006/relationships/tags" Target="../tags/tag151.xml"/><Relationship Id="rId163" Type="http://schemas.openxmlformats.org/officeDocument/2006/relationships/tags" Target="../tags/tag172.xml"/><Relationship Id="rId184" Type="http://schemas.openxmlformats.org/officeDocument/2006/relationships/tags" Target="../tags/tag193.xml"/><Relationship Id="rId189" Type="http://schemas.openxmlformats.org/officeDocument/2006/relationships/tags" Target="../tags/tag198.xml"/><Relationship Id="rId219" Type="http://schemas.openxmlformats.org/officeDocument/2006/relationships/tags" Target="../tags/tag228.xml"/><Relationship Id="rId3" Type="http://schemas.openxmlformats.org/officeDocument/2006/relationships/tags" Target="../tags/tag12.xml"/><Relationship Id="rId214" Type="http://schemas.openxmlformats.org/officeDocument/2006/relationships/tags" Target="../tags/tag223.xml"/><Relationship Id="rId230" Type="http://schemas.openxmlformats.org/officeDocument/2006/relationships/tags" Target="../tags/tag239.xml"/><Relationship Id="rId235" Type="http://schemas.openxmlformats.org/officeDocument/2006/relationships/tags" Target="../tags/tag244.xml"/><Relationship Id="rId251" Type="http://schemas.openxmlformats.org/officeDocument/2006/relationships/tags" Target="../tags/tag260.xml"/><Relationship Id="rId256" Type="http://schemas.openxmlformats.org/officeDocument/2006/relationships/tags" Target="../tags/tag265.xml"/><Relationship Id="rId277" Type="http://schemas.openxmlformats.org/officeDocument/2006/relationships/diagramData" Target="../diagrams/data5.xml"/><Relationship Id="rId25" Type="http://schemas.openxmlformats.org/officeDocument/2006/relationships/tags" Target="../tags/tag34.xml"/><Relationship Id="rId46" Type="http://schemas.openxmlformats.org/officeDocument/2006/relationships/tags" Target="../tags/tag55.xml"/><Relationship Id="rId67" Type="http://schemas.openxmlformats.org/officeDocument/2006/relationships/tags" Target="../tags/tag76.xml"/><Relationship Id="rId116" Type="http://schemas.openxmlformats.org/officeDocument/2006/relationships/tags" Target="../tags/tag125.xml"/><Relationship Id="rId137" Type="http://schemas.openxmlformats.org/officeDocument/2006/relationships/tags" Target="../tags/tag146.xml"/><Relationship Id="rId158" Type="http://schemas.openxmlformats.org/officeDocument/2006/relationships/tags" Target="../tags/tag167.xml"/><Relationship Id="rId272" Type="http://schemas.openxmlformats.org/officeDocument/2006/relationships/tags" Target="../tags/tag281.xml"/><Relationship Id="rId20" Type="http://schemas.openxmlformats.org/officeDocument/2006/relationships/tags" Target="../tags/tag29.xml"/><Relationship Id="rId41" Type="http://schemas.openxmlformats.org/officeDocument/2006/relationships/tags" Target="../tags/tag50.xml"/><Relationship Id="rId62" Type="http://schemas.openxmlformats.org/officeDocument/2006/relationships/tags" Target="../tags/tag71.xml"/><Relationship Id="rId83" Type="http://schemas.openxmlformats.org/officeDocument/2006/relationships/tags" Target="../tags/tag92.xml"/><Relationship Id="rId88" Type="http://schemas.openxmlformats.org/officeDocument/2006/relationships/tags" Target="../tags/tag97.xml"/><Relationship Id="rId111" Type="http://schemas.openxmlformats.org/officeDocument/2006/relationships/tags" Target="../tags/tag120.xml"/><Relationship Id="rId132" Type="http://schemas.openxmlformats.org/officeDocument/2006/relationships/tags" Target="../tags/tag141.xml"/><Relationship Id="rId153" Type="http://schemas.openxmlformats.org/officeDocument/2006/relationships/tags" Target="../tags/tag162.xml"/><Relationship Id="rId174" Type="http://schemas.openxmlformats.org/officeDocument/2006/relationships/tags" Target="../tags/tag183.xml"/><Relationship Id="rId179" Type="http://schemas.openxmlformats.org/officeDocument/2006/relationships/tags" Target="../tags/tag188.xml"/><Relationship Id="rId195" Type="http://schemas.openxmlformats.org/officeDocument/2006/relationships/tags" Target="../tags/tag204.xml"/><Relationship Id="rId209" Type="http://schemas.openxmlformats.org/officeDocument/2006/relationships/tags" Target="../tags/tag218.xml"/><Relationship Id="rId190" Type="http://schemas.openxmlformats.org/officeDocument/2006/relationships/tags" Target="../tags/tag199.xml"/><Relationship Id="rId204" Type="http://schemas.openxmlformats.org/officeDocument/2006/relationships/tags" Target="../tags/tag213.xml"/><Relationship Id="rId220" Type="http://schemas.openxmlformats.org/officeDocument/2006/relationships/tags" Target="../tags/tag229.xml"/><Relationship Id="rId225" Type="http://schemas.openxmlformats.org/officeDocument/2006/relationships/tags" Target="../tags/tag234.xml"/><Relationship Id="rId241" Type="http://schemas.openxmlformats.org/officeDocument/2006/relationships/tags" Target="../tags/tag250.xml"/><Relationship Id="rId246" Type="http://schemas.openxmlformats.org/officeDocument/2006/relationships/tags" Target="../tags/tag255.xml"/><Relationship Id="rId267" Type="http://schemas.openxmlformats.org/officeDocument/2006/relationships/tags" Target="../tags/tag276.xml"/><Relationship Id="rId15" Type="http://schemas.openxmlformats.org/officeDocument/2006/relationships/tags" Target="../tags/tag24.xml"/><Relationship Id="rId36" Type="http://schemas.openxmlformats.org/officeDocument/2006/relationships/tags" Target="../tags/tag45.xml"/><Relationship Id="rId57" Type="http://schemas.openxmlformats.org/officeDocument/2006/relationships/tags" Target="../tags/tag66.xml"/><Relationship Id="rId106" Type="http://schemas.openxmlformats.org/officeDocument/2006/relationships/tags" Target="../tags/tag115.xml"/><Relationship Id="rId127" Type="http://schemas.openxmlformats.org/officeDocument/2006/relationships/tags" Target="../tags/tag136.xml"/><Relationship Id="rId262" Type="http://schemas.openxmlformats.org/officeDocument/2006/relationships/tags" Target="../tags/tag271.xml"/><Relationship Id="rId283" Type="http://schemas.openxmlformats.org/officeDocument/2006/relationships/image" Target="../media/image24.jpeg"/><Relationship Id="rId10" Type="http://schemas.openxmlformats.org/officeDocument/2006/relationships/tags" Target="../tags/tag19.xml"/><Relationship Id="rId31" Type="http://schemas.openxmlformats.org/officeDocument/2006/relationships/tags" Target="../tags/tag40.xml"/><Relationship Id="rId52" Type="http://schemas.openxmlformats.org/officeDocument/2006/relationships/tags" Target="../tags/tag61.xml"/><Relationship Id="rId73" Type="http://schemas.openxmlformats.org/officeDocument/2006/relationships/tags" Target="../tags/tag82.xml"/><Relationship Id="rId78" Type="http://schemas.openxmlformats.org/officeDocument/2006/relationships/tags" Target="../tags/tag87.xml"/><Relationship Id="rId94" Type="http://schemas.openxmlformats.org/officeDocument/2006/relationships/tags" Target="../tags/tag103.xml"/><Relationship Id="rId99" Type="http://schemas.openxmlformats.org/officeDocument/2006/relationships/tags" Target="../tags/tag108.xml"/><Relationship Id="rId101" Type="http://schemas.openxmlformats.org/officeDocument/2006/relationships/tags" Target="../tags/tag110.xml"/><Relationship Id="rId122" Type="http://schemas.openxmlformats.org/officeDocument/2006/relationships/tags" Target="../tags/tag131.xml"/><Relationship Id="rId143" Type="http://schemas.openxmlformats.org/officeDocument/2006/relationships/tags" Target="../tags/tag152.xml"/><Relationship Id="rId148" Type="http://schemas.openxmlformats.org/officeDocument/2006/relationships/tags" Target="../tags/tag157.xml"/><Relationship Id="rId164" Type="http://schemas.openxmlformats.org/officeDocument/2006/relationships/tags" Target="../tags/tag173.xml"/><Relationship Id="rId169" Type="http://schemas.openxmlformats.org/officeDocument/2006/relationships/tags" Target="../tags/tag178.xml"/><Relationship Id="rId185" Type="http://schemas.openxmlformats.org/officeDocument/2006/relationships/tags" Target="../tags/tag194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80" Type="http://schemas.openxmlformats.org/officeDocument/2006/relationships/tags" Target="../tags/tag189.xml"/><Relationship Id="rId210" Type="http://schemas.openxmlformats.org/officeDocument/2006/relationships/tags" Target="../tags/tag219.xml"/><Relationship Id="rId215" Type="http://schemas.openxmlformats.org/officeDocument/2006/relationships/tags" Target="../tags/tag224.xml"/><Relationship Id="rId236" Type="http://schemas.openxmlformats.org/officeDocument/2006/relationships/tags" Target="../tags/tag245.xml"/><Relationship Id="rId257" Type="http://schemas.openxmlformats.org/officeDocument/2006/relationships/tags" Target="../tags/tag266.xml"/><Relationship Id="rId278" Type="http://schemas.openxmlformats.org/officeDocument/2006/relationships/diagramLayout" Target="../diagrams/layout5.xml"/><Relationship Id="rId26" Type="http://schemas.openxmlformats.org/officeDocument/2006/relationships/tags" Target="../tags/tag35.xml"/><Relationship Id="rId231" Type="http://schemas.openxmlformats.org/officeDocument/2006/relationships/tags" Target="../tags/tag240.xml"/><Relationship Id="rId252" Type="http://schemas.openxmlformats.org/officeDocument/2006/relationships/tags" Target="../tags/tag261.xml"/><Relationship Id="rId273" Type="http://schemas.openxmlformats.org/officeDocument/2006/relationships/tags" Target="../tags/tag282.xml"/><Relationship Id="rId47" Type="http://schemas.openxmlformats.org/officeDocument/2006/relationships/tags" Target="../tags/tag56.xml"/><Relationship Id="rId68" Type="http://schemas.openxmlformats.org/officeDocument/2006/relationships/tags" Target="../tags/tag77.xml"/><Relationship Id="rId89" Type="http://schemas.openxmlformats.org/officeDocument/2006/relationships/tags" Target="../tags/tag98.xml"/><Relationship Id="rId112" Type="http://schemas.openxmlformats.org/officeDocument/2006/relationships/tags" Target="../tags/tag121.xml"/><Relationship Id="rId133" Type="http://schemas.openxmlformats.org/officeDocument/2006/relationships/tags" Target="../tags/tag142.xml"/><Relationship Id="rId154" Type="http://schemas.openxmlformats.org/officeDocument/2006/relationships/tags" Target="../tags/tag163.xml"/><Relationship Id="rId175" Type="http://schemas.openxmlformats.org/officeDocument/2006/relationships/tags" Target="../tags/tag184.xml"/><Relationship Id="rId196" Type="http://schemas.openxmlformats.org/officeDocument/2006/relationships/tags" Target="../tags/tag205.xml"/><Relationship Id="rId200" Type="http://schemas.openxmlformats.org/officeDocument/2006/relationships/tags" Target="../tags/tag209.xml"/><Relationship Id="rId16" Type="http://schemas.openxmlformats.org/officeDocument/2006/relationships/tags" Target="../tags/tag25.xml"/><Relationship Id="rId221" Type="http://schemas.openxmlformats.org/officeDocument/2006/relationships/tags" Target="../tags/tag230.xml"/><Relationship Id="rId242" Type="http://schemas.openxmlformats.org/officeDocument/2006/relationships/tags" Target="../tags/tag251.xml"/><Relationship Id="rId263" Type="http://schemas.openxmlformats.org/officeDocument/2006/relationships/tags" Target="../tags/tag272.xml"/><Relationship Id="rId37" Type="http://schemas.openxmlformats.org/officeDocument/2006/relationships/tags" Target="../tags/tag46.xml"/><Relationship Id="rId58" Type="http://schemas.openxmlformats.org/officeDocument/2006/relationships/tags" Target="../tags/tag67.xml"/><Relationship Id="rId79" Type="http://schemas.openxmlformats.org/officeDocument/2006/relationships/tags" Target="../tags/tag88.xml"/><Relationship Id="rId102" Type="http://schemas.openxmlformats.org/officeDocument/2006/relationships/tags" Target="../tags/tag111.xml"/><Relationship Id="rId123" Type="http://schemas.openxmlformats.org/officeDocument/2006/relationships/tags" Target="../tags/tag132.xml"/><Relationship Id="rId144" Type="http://schemas.openxmlformats.org/officeDocument/2006/relationships/tags" Target="../tags/tag153.xml"/><Relationship Id="rId90" Type="http://schemas.openxmlformats.org/officeDocument/2006/relationships/tags" Target="../tags/tag99.xml"/><Relationship Id="rId165" Type="http://schemas.openxmlformats.org/officeDocument/2006/relationships/tags" Target="../tags/tag174.xml"/><Relationship Id="rId186" Type="http://schemas.openxmlformats.org/officeDocument/2006/relationships/tags" Target="../tags/tag195.xml"/><Relationship Id="rId211" Type="http://schemas.openxmlformats.org/officeDocument/2006/relationships/tags" Target="../tags/tag220.xml"/><Relationship Id="rId232" Type="http://schemas.openxmlformats.org/officeDocument/2006/relationships/tags" Target="../tags/tag241.xml"/><Relationship Id="rId253" Type="http://schemas.openxmlformats.org/officeDocument/2006/relationships/tags" Target="../tags/tag262.xml"/><Relationship Id="rId274" Type="http://schemas.openxmlformats.org/officeDocument/2006/relationships/tags" Target="../tags/tag283.xml"/><Relationship Id="rId27" Type="http://schemas.openxmlformats.org/officeDocument/2006/relationships/tags" Target="../tags/tag36.xml"/><Relationship Id="rId48" Type="http://schemas.openxmlformats.org/officeDocument/2006/relationships/tags" Target="../tags/tag57.xml"/><Relationship Id="rId69" Type="http://schemas.openxmlformats.org/officeDocument/2006/relationships/tags" Target="../tags/tag78.xml"/><Relationship Id="rId113" Type="http://schemas.openxmlformats.org/officeDocument/2006/relationships/tags" Target="../tags/tag122.xml"/><Relationship Id="rId134" Type="http://schemas.openxmlformats.org/officeDocument/2006/relationships/tags" Target="../tags/tag143.xml"/><Relationship Id="rId80" Type="http://schemas.openxmlformats.org/officeDocument/2006/relationships/tags" Target="../tags/tag89.xml"/><Relationship Id="rId155" Type="http://schemas.openxmlformats.org/officeDocument/2006/relationships/tags" Target="../tags/tag164.xml"/><Relationship Id="rId176" Type="http://schemas.openxmlformats.org/officeDocument/2006/relationships/tags" Target="../tags/tag185.xml"/><Relationship Id="rId197" Type="http://schemas.openxmlformats.org/officeDocument/2006/relationships/tags" Target="../tags/tag206.xml"/><Relationship Id="rId201" Type="http://schemas.openxmlformats.org/officeDocument/2006/relationships/tags" Target="../tags/tag210.xml"/><Relationship Id="rId222" Type="http://schemas.openxmlformats.org/officeDocument/2006/relationships/tags" Target="../tags/tag231.xml"/><Relationship Id="rId243" Type="http://schemas.openxmlformats.org/officeDocument/2006/relationships/tags" Target="../tags/tag252.xml"/><Relationship Id="rId264" Type="http://schemas.openxmlformats.org/officeDocument/2006/relationships/tags" Target="../tags/tag273.xml"/><Relationship Id="rId17" Type="http://schemas.openxmlformats.org/officeDocument/2006/relationships/tags" Target="../tags/tag26.xml"/><Relationship Id="rId38" Type="http://schemas.openxmlformats.org/officeDocument/2006/relationships/tags" Target="../tags/tag47.xml"/><Relationship Id="rId59" Type="http://schemas.openxmlformats.org/officeDocument/2006/relationships/tags" Target="../tags/tag68.xml"/><Relationship Id="rId103" Type="http://schemas.openxmlformats.org/officeDocument/2006/relationships/tags" Target="../tags/tag112.xml"/><Relationship Id="rId124" Type="http://schemas.openxmlformats.org/officeDocument/2006/relationships/tags" Target="../tags/tag133.xml"/><Relationship Id="rId70" Type="http://schemas.openxmlformats.org/officeDocument/2006/relationships/tags" Target="../tags/tag79.xml"/><Relationship Id="rId91" Type="http://schemas.openxmlformats.org/officeDocument/2006/relationships/tags" Target="../tags/tag100.xml"/><Relationship Id="rId145" Type="http://schemas.openxmlformats.org/officeDocument/2006/relationships/tags" Target="../tags/tag154.xml"/><Relationship Id="rId166" Type="http://schemas.openxmlformats.org/officeDocument/2006/relationships/tags" Target="../tags/tag175.xml"/><Relationship Id="rId187" Type="http://schemas.openxmlformats.org/officeDocument/2006/relationships/tags" Target="../tags/tag196.xml"/><Relationship Id="rId1" Type="http://schemas.openxmlformats.org/officeDocument/2006/relationships/tags" Target="../tags/tag10.xml"/><Relationship Id="rId212" Type="http://schemas.openxmlformats.org/officeDocument/2006/relationships/tags" Target="../tags/tag221.xml"/><Relationship Id="rId233" Type="http://schemas.openxmlformats.org/officeDocument/2006/relationships/tags" Target="../tags/tag242.xml"/><Relationship Id="rId254" Type="http://schemas.openxmlformats.org/officeDocument/2006/relationships/tags" Target="../tags/tag263.xml"/><Relationship Id="rId28" Type="http://schemas.openxmlformats.org/officeDocument/2006/relationships/tags" Target="../tags/tag37.xml"/><Relationship Id="rId49" Type="http://schemas.openxmlformats.org/officeDocument/2006/relationships/tags" Target="../tags/tag58.xml"/><Relationship Id="rId114" Type="http://schemas.openxmlformats.org/officeDocument/2006/relationships/tags" Target="../tags/tag123.xml"/><Relationship Id="rId275" Type="http://schemas.openxmlformats.org/officeDocument/2006/relationships/slideLayout" Target="../slideLayouts/slideLayout11.xml"/><Relationship Id="rId60" Type="http://schemas.openxmlformats.org/officeDocument/2006/relationships/tags" Target="../tags/tag69.xml"/><Relationship Id="rId81" Type="http://schemas.openxmlformats.org/officeDocument/2006/relationships/tags" Target="../tags/tag90.xml"/><Relationship Id="rId135" Type="http://schemas.openxmlformats.org/officeDocument/2006/relationships/tags" Target="../tags/tag144.xml"/><Relationship Id="rId156" Type="http://schemas.openxmlformats.org/officeDocument/2006/relationships/tags" Target="../tags/tag165.xml"/><Relationship Id="rId177" Type="http://schemas.openxmlformats.org/officeDocument/2006/relationships/tags" Target="../tags/tag186.xml"/><Relationship Id="rId198" Type="http://schemas.openxmlformats.org/officeDocument/2006/relationships/tags" Target="../tags/tag207.xml"/><Relationship Id="rId202" Type="http://schemas.openxmlformats.org/officeDocument/2006/relationships/tags" Target="../tags/tag211.xml"/><Relationship Id="rId223" Type="http://schemas.openxmlformats.org/officeDocument/2006/relationships/tags" Target="../tags/tag232.xml"/><Relationship Id="rId244" Type="http://schemas.openxmlformats.org/officeDocument/2006/relationships/tags" Target="../tags/tag25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1.JP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33.emf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32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35.JP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Relationship Id="rId9" Type="http://schemas.openxmlformats.org/officeDocument/2006/relationships/image" Target="../media/image37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tags" Target="../tags/tag7.xml"/><Relationship Id="rId7" Type="http://schemas.openxmlformats.org/officeDocument/2006/relationships/image" Target="../media/image4.emf"/><Relationship Id="rId12" Type="http://schemas.openxmlformats.org/officeDocument/2006/relationships/image" Target="../media/image11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0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duct Innovation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Alex Xu | ADP Intern | August 7</a:t>
            </a:r>
            <a:r>
              <a:rPr lang="en-US" baseline="30000" dirty="0" smtClean="0"/>
              <a:t>th</a:t>
            </a:r>
            <a:r>
              <a:rPr lang="en-US" dirty="0" smtClean="0"/>
              <a:t>, 2018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526198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87175" y="487433"/>
            <a:ext cx="8305800" cy="487363"/>
          </a:xfrm>
        </p:spPr>
        <p:txBody>
          <a:bodyPr/>
          <a:lstStyle/>
          <a:p>
            <a:r>
              <a:rPr lang="en-US" sz="2000" dirty="0" smtClean="0"/>
              <a:t>Snow insurance for municipalities is a vitamin not a pain killer</a:t>
            </a:r>
            <a:endParaRPr lang="en-US" sz="2000" dirty="0"/>
          </a:p>
        </p:txBody>
      </p:sp>
      <p:grpSp>
        <p:nvGrpSpPr>
          <p:cNvPr id="6" name="Group 5"/>
          <p:cNvGrpSpPr/>
          <p:nvPr/>
        </p:nvGrpSpPr>
        <p:grpSpPr>
          <a:xfrm>
            <a:off x="8217408" y="48768"/>
            <a:ext cx="914400" cy="914400"/>
            <a:chOff x="2634224" y="1540"/>
            <a:chExt cx="1072887" cy="1072887"/>
          </a:xfrm>
          <a:solidFill>
            <a:srgbClr val="5381AC"/>
          </a:solidFill>
        </p:grpSpPr>
        <p:sp>
          <p:nvSpPr>
            <p:cNvPr id="7" name="Oval 6"/>
            <p:cNvSpPr/>
            <p:nvPr/>
          </p:nvSpPr>
          <p:spPr>
            <a:xfrm>
              <a:off x="2634224" y="1540"/>
              <a:ext cx="1072887" cy="107288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Oval 4"/>
            <p:cNvSpPr/>
            <p:nvPr/>
          </p:nvSpPr>
          <p:spPr>
            <a:xfrm>
              <a:off x="2791345" y="158661"/>
              <a:ext cx="758645" cy="75864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00" b="1" dirty="0">
                  <a:solidFill>
                    <a:schemeClr val="bg1"/>
                  </a:solidFill>
                </a:rPr>
                <a:t>Desirability</a:t>
              </a:r>
              <a:endParaRPr lang="en-US" sz="900" b="1" kern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266747" y="2264835"/>
            <a:ext cx="4812869" cy="1643069"/>
            <a:chOff x="277470" y="3064256"/>
            <a:chExt cx="4451980" cy="1768126"/>
          </a:xfrm>
          <a:solidFill>
            <a:srgbClr val="C00000"/>
          </a:solidFill>
        </p:grpSpPr>
        <p:sp>
          <p:nvSpPr>
            <p:cNvPr id="16" name="TextBox 15"/>
            <p:cNvSpPr txBox="1"/>
            <p:nvPr/>
          </p:nvSpPr>
          <p:spPr>
            <a:xfrm>
              <a:off x="353670" y="3092843"/>
              <a:ext cx="2057400" cy="715089"/>
            </a:xfrm>
            <a:prstGeom prst="wedgeRoundRectCallout">
              <a:avLst>
                <a:gd name="adj1" fmla="val -8072"/>
                <a:gd name="adj2" fmla="val 63367"/>
                <a:gd name="adj3" fmla="val 16667"/>
              </a:avLst>
            </a:prstGeom>
            <a:solidFill>
              <a:srgbClr val="C00000">
                <a:alpha val="10000"/>
              </a:srgbClr>
            </a:solidFill>
          </p:spPr>
          <p:txBody>
            <a:bodyPr wrap="square" rtlCol="0">
              <a:spAutoFit/>
            </a:bodyPr>
            <a:lstStyle/>
            <a:p>
              <a:pPr lvl="0"/>
              <a:r>
                <a:rPr lang="en-US" sz="1200" dirty="0"/>
                <a:t>"It was easier to plan for a hurricane than it is for snow and ice."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77470" y="4282728"/>
              <a:ext cx="2209800" cy="549654"/>
            </a:xfrm>
            <a:prstGeom prst="wedgeRoundRectCallout">
              <a:avLst>
                <a:gd name="adj1" fmla="val 35071"/>
                <a:gd name="adj2" fmla="val 57776"/>
                <a:gd name="adj3" fmla="val 16667"/>
              </a:avLst>
            </a:prstGeom>
            <a:solidFill>
              <a:srgbClr val="C00000">
                <a:alpha val="10000"/>
              </a:srgbClr>
            </a:solidFill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"I view it as a hedge. </a:t>
              </a:r>
              <a:r>
                <a:rPr lang="en-US" sz="1200" b="1" dirty="0"/>
                <a:t>It helps me sleep at </a:t>
              </a:r>
              <a:r>
                <a:rPr lang="en-US" sz="1200" b="1" dirty="0" smtClean="0"/>
                <a:t>night</a:t>
              </a:r>
              <a:endParaRPr lang="en-US" sz="1200" b="1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518981" y="3064256"/>
              <a:ext cx="2210469" cy="1648963"/>
            </a:xfrm>
            <a:prstGeom prst="wedgeRoundRectCallout">
              <a:avLst>
                <a:gd name="adj1" fmla="val -31787"/>
                <a:gd name="adj2" fmla="val 70321"/>
                <a:gd name="adj3" fmla="val 16667"/>
              </a:avLst>
            </a:prstGeom>
            <a:solidFill>
              <a:srgbClr val="C00000">
                <a:alpha val="10000"/>
              </a:srgbClr>
            </a:solidFill>
          </p:spPr>
          <p:txBody>
            <a:bodyPr wrap="square" rtlCol="0">
              <a:spAutoFit/>
            </a:bodyPr>
            <a:lstStyle/>
            <a:p>
              <a:pPr lvl="0"/>
              <a:r>
                <a:rPr lang="en-US" sz="1200" dirty="0"/>
                <a:t>"</a:t>
              </a:r>
              <a:r>
                <a:rPr lang="en-US" sz="1200" b="1" dirty="0"/>
                <a:t>The need is clear</a:t>
              </a:r>
              <a:r>
                <a:rPr lang="en-US" sz="1200" dirty="0"/>
                <a:t>. [Municipalities] can't sock aside their own money. This is a potentially valuable tool for local government.“</a:t>
              </a:r>
            </a:p>
            <a:p>
              <a:pPr lvl="0"/>
              <a:r>
                <a:rPr lang="en-US" sz="1200" dirty="0"/>
                <a:t>- Shayne Kavanagh</a:t>
              </a:r>
            </a:p>
            <a:p>
              <a:pPr lvl="0"/>
              <a:r>
                <a:rPr lang="en-US" sz="1200" dirty="0"/>
                <a:t>GFOA Consultant</a:t>
              </a: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175360" y="4237463"/>
            <a:ext cx="5029201" cy="1123712"/>
          </a:xfrm>
          <a:prstGeom prst="wedgeRoundRectCallout">
            <a:avLst>
              <a:gd name="adj1" fmla="val 35071"/>
              <a:gd name="adj2" fmla="val 57776"/>
              <a:gd name="adj3" fmla="val 16667"/>
            </a:avLst>
          </a:prstGeom>
          <a:solidFill>
            <a:srgbClr val="C00000">
              <a:alpha val="10000"/>
            </a:srgbClr>
          </a:solidFill>
        </p:spPr>
        <p:txBody>
          <a:bodyPr wrap="square" rtlCol="0">
            <a:spAutoFit/>
          </a:bodyPr>
          <a:lstStyle/>
          <a:p>
            <a:pPr lvl="0"/>
            <a:r>
              <a:rPr lang="en-US" sz="1200" dirty="0"/>
              <a:t>Often asked: "why are we leaving this money sitting idle when we could </a:t>
            </a:r>
            <a:r>
              <a:rPr lang="en-US" sz="1200" b="1" dirty="0"/>
              <a:t>return it to taxpayers</a:t>
            </a:r>
            <a:r>
              <a:rPr lang="en-US" sz="1200" dirty="0"/>
              <a:t>?”</a:t>
            </a:r>
          </a:p>
          <a:p>
            <a:pPr lvl="0"/>
            <a:r>
              <a:rPr lang="en-US" sz="1200" dirty="0"/>
              <a:t>- Steve </a:t>
            </a:r>
            <a:r>
              <a:rPr lang="en-US" sz="1200" dirty="0" err="1"/>
              <a:t>Krekloq</a:t>
            </a:r>
            <a:endParaRPr lang="en-US" sz="1200" dirty="0"/>
          </a:p>
          <a:p>
            <a:pPr lvl="0"/>
            <a:r>
              <a:rPr lang="en-US" sz="1200" dirty="0"/>
              <a:t>Village Admin, Germantown </a:t>
            </a:r>
          </a:p>
          <a:p>
            <a:endParaRPr lang="en-US" sz="1200" dirty="0"/>
          </a:p>
        </p:txBody>
      </p:sp>
      <p:sp>
        <p:nvSpPr>
          <p:cNvPr id="23" name="TextBox 22"/>
          <p:cNvSpPr txBox="1"/>
          <p:nvPr/>
        </p:nvSpPr>
        <p:spPr>
          <a:xfrm>
            <a:off x="5257800" y="2243353"/>
            <a:ext cx="1828800" cy="1923990"/>
          </a:xfrm>
          <a:prstGeom prst="wedgeRoundRectCallout">
            <a:avLst>
              <a:gd name="adj1" fmla="val 669"/>
              <a:gd name="adj2" fmla="val 58251"/>
              <a:gd name="adj3" fmla="val 16667"/>
            </a:avLst>
          </a:prstGeom>
          <a:solidFill>
            <a:schemeClr val="accent1">
              <a:alpha val="20000"/>
            </a:schemeClr>
          </a:solidFill>
        </p:spPr>
        <p:txBody>
          <a:bodyPr wrap="square" rtlCol="0">
            <a:spAutoFit/>
          </a:bodyPr>
          <a:lstStyle/>
          <a:p>
            <a:pPr lvl="0"/>
            <a:r>
              <a:rPr lang="en-US" sz="1200" dirty="0" smtClean="0"/>
              <a:t>“A </a:t>
            </a:r>
            <a:r>
              <a:rPr lang="en-US" sz="1200" dirty="0"/>
              <a:t>good value product, </a:t>
            </a:r>
            <a:r>
              <a:rPr lang="en-US" sz="1200" b="1" dirty="0"/>
              <a:t>but may end up being cost prohibitive </a:t>
            </a:r>
            <a:r>
              <a:rPr lang="en-US" sz="1200" dirty="0"/>
              <a:t>from a revenue </a:t>
            </a:r>
            <a:r>
              <a:rPr lang="en-US" sz="1200" dirty="0" smtClean="0"/>
              <a:t>standpoint”</a:t>
            </a:r>
            <a:endParaRPr lang="en-US" sz="1200" dirty="0"/>
          </a:p>
          <a:p>
            <a:pPr lvl="0"/>
            <a:r>
              <a:rPr lang="en-US" sz="1200" dirty="0"/>
              <a:t>- Alfred Jordan </a:t>
            </a:r>
          </a:p>
          <a:p>
            <a:pPr lvl="0"/>
            <a:r>
              <a:rPr lang="en-US" sz="1200" dirty="0"/>
              <a:t>Former Director of </a:t>
            </a:r>
            <a:r>
              <a:rPr lang="en-US" sz="1200" dirty="0" smtClean="0"/>
              <a:t>DPW, Detroit, Michigan</a:t>
            </a:r>
            <a:endParaRPr lang="en-US" sz="1200" dirty="0"/>
          </a:p>
        </p:txBody>
      </p:sp>
      <p:sp>
        <p:nvSpPr>
          <p:cNvPr id="26" name="TextBox 25"/>
          <p:cNvSpPr txBox="1"/>
          <p:nvPr/>
        </p:nvSpPr>
        <p:spPr>
          <a:xfrm>
            <a:off x="7193093" y="2239084"/>
            <a:ext cx="1695061" cy="2089011"/>
          </a:xfrm>
          <a:prstGeom prst="wedgeRoundRectCallout">
            <a:avLst>
              <a:gd name="adj1" fmla="val 669"/>
              <a:gd name="adj2" fmla="val 58251"/>
              <a:gd name="adj3" fmla="val 16667"/>
            </a:avLst>
          </a:prstGeom>
          <a:solidFill>
            <a:schemeClr val="accent1">
              <a:alpha val="20000"/>
            </a:schemeClr>
          </a:solidFill>
        </p:spPr>
        <p:txBody>
          <a:bodyPr wrap="square" rtlCol="0">
            <a:spAutoFit/>
          </a:bodyPr>
          <a:lstStyle/>
          <a:p>
            <a:pPr lvl="0"/>
            <a:r>
              <a:rPr lang="en-US" sz="1200" dirty="0" smtClean="0"/>
              <a:t>“The </a:t>
            </a:r>
            <a:r>
              <a:rPr lang="en-US" sz="1200" dirty="0"/>
              <a:t>screw-up potential is so great with </a:t>
            </a:r>
            <a:r>
              <a:rPr lang="en-US" sz="1200" b="1" dirty="0"/>
              <a:t>public-relations disaster</a:t>
            </a:r>
            <a:r>
              <a:rPr lang="en-US" sz="1200" dirty="0" smtClean="0"/>
              <a:t>.” </a:t>
            </a:r>
            <a:endParaRPr lang="en-US" sz="1200" dirty="0"/>
          </a:p>
          <a:p>
            <a:pPr lvl="0"/>
            <a:r>
              <a:rPr lang="en-US" sz="1200" dirty="0"/>
              <a:t>- Richard Davis </a:t>
            </a:r>
          </a:p>
          <a:p>
            <a:pPr lvl="0"/>
            <a:r>
              <a:rPr lang="en-US" sz="1200" dirty="0"/>
              <a:t>Independent Consultant on Public Sector Finance/Budgeting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5360627" y="4521351"/>
            <a:ext cx="1676400" cy="89511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200" b="1" dirty="0">
                <a:solidFill>
                  <a:schemeClr val="tx1"/>
                </a:solidFill>
              </a:rPr>
              <a:t>Lack of market saturation despite available products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7193093" y="4521351"/>
            <a:ext cx="1676400" cy="89511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200" dirty="0">
                <a:solidFill>
                  <a:schemeClr val="tx1"/>
                </a:solidFill>
              </a:rPr>
              <a:t>Municipals tend to self-insure </a:t>
            </a:r>
            <a:r>
              <a:rPr lang="en-US" sz="1200" b="1" dirty="0">
                <a:solidFill>
                  <a:schemeClr val="tx1"/>
                </a:solidFill>
              </a:rPr>
              <a:t>out of policy, not out of fiduciary duty</a:t>
            </a:r>
          </a:p>
        </p:txBody>
      </p:sp>
      <p:sp>
        <p:nvSpPr>
          <p:cNvPr id="29" name="Rectangle 28"/>
          <p:cNvSpPr/>
          <p:nvPr/>
        </p:nvSpPr>
        <p:spPr>
          <a:xfrm>
            <a:off x="387175" y="1270472"/>
            <a:ext cx="8382000" cy="614533"/>
          </a:xfrm>
          <a:prstGeom prst="rect">
            <a:avLst/>
          </a:prstGeom>
          <a:solidFill>
            <a:schemeClr val="accent5"/>
          </a:solidFill>
          <a:ln w="25400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le</a:t>
            </a:r>
            <a:r>
              <a:rPr kumimoji="0" lang="en-US" sz="18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he desire for such product exists, it is not critical to a Municipality’s capacity to function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9268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81000" y="455235"/>
            <a:ext cx="8305800" cy="487363"/>
          </a:xfrm>
        </p:spPr>
        <p:txBody>
          <a:bodyPr/>
          <a:lstStyle/>
          <a:p>
            <a:r>
              <a:rPr lang="en-US" sz="2000" dirty="0" smtClean="0"/>
              <a:t>Only one of our two hypotheses has so far proven true</a:t>
            </a:r>
            <a:endParaRPr lang="en-US" sz="2000" dirty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857870424"/>
              </p:ext>
            </p:extLst>
          </p:nvPr>
        </p:nvGraphicFramePr>
        <p:xfrm>
          <a:off x="533400" y="975518"/>
          <a:ext cx="8153400" cy="7770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8153400" y="61118"/>
            <a:ext cx="914400" cy="914400"/>
            <a:chOff x="2634224" y="1540"/>
            <a:chExt cx="1072887" cy="1072887"/>
          </a:xfrm>
          <a:solidFill>
            <a:srgbClr val="5381AC"/>
          </a:solidFill>
        </p:grpSpPr>
        <p:sp>
          <p:nvSpPr>
            <p:cNvPr id="10" name="Oval 9"/>
            <p:cNvSpPr/>
            <p:nvPr/>
          </p:nvSpPr>
          <p:spPr>
            <a:xfrm>
              <a:off x="2634224" y="1540"/>
              <a:ext cx="1072887" cy="107288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Oval 4"/>
            <p:cNvSpPr/>
            <p:nvPr/>
          </p:nvSpPr>
          <p:spPr>
            <a:xfrm>
              <a:off x="2791345" y="158661"/>
              <a:ext cx="758645" cy="75864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dirty="0">
                  <a:solidFill>
                    <a:schemeClr val="bg1"/>
                  </a:solidFill>
                </a:rPr>
                <a:t>Feasibility</a:t>
              </a:r>
              <a:endParaRPr lang="en-US" sz="1000" b="1" kern="12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7674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19100" y="196564"/>
            <a:ext cx="8305800" cy="487363"/>
          </a:xfrm>
        </p:spPr>
        <p:txBody>
          <a:bodyPr/>
          <a:lstStyle/>
          <a:p>
            <a:r>
              <a:rPr lang="en-US" sz="2000" dirty="0" smtClean="0"/>
              <a:t>In alignment with our initial hypothesis, there exists a plethora of </a:t>
            </a:r>
            <a:br>
              <a:rPr lang="en-US" sz="2000" dirty="0" smtClean="0"/>
            </a:br>
            <a:r>
              <a:rPr lang="en-US" sz="2000" dirty="0" smtClean="0"/>
              <a:t>tools to measure snow related metrics</a:t>
            </a:r>
            <a:endParaRPr lang="en-US" sz="2000" dirty="0"/>
          </a:p>
        </p:txBody>
      </p:sp>
      <p:grpSp>
        <p:nvGrpSpPr>
          <p:cNvPr id="13" name="Group 12"/>
          <p:cNvGrpSpPr/>
          <p:nvPr/>
        </p:nvGrpSpPr>
        <p:grpSpPr>
          <a:xfrm>
            <a:off x="8153400" y="61118"/>
            <a:ext cx="914400" cy="914400"/>
            <a:chOff x="2634224" y="1540"/>
            <a:chExt cx="1072887" cy="1072887"/>
          </a:xfrm>
          <a:solidFill>
            <a:srgbClr val="5381AC"/>
          </a:solidFill>
        </p:grpSpPr>
        <p:sp>
          <p:nvSpPr>
            <p:cNvPr id="14" name="Oval 13"/>
            <p:cNvSpPr/>
            <p:nvPr/>
          </p:nvSpPr>
          <p:spPr>
            <a:xfrm>
              <a:off x="2634224" y="1540"/>
              <a:ext cx="1072887" cy="107288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Oval 4"/>
            <p:cNvSpPr/>
            <p:nvPr/>
          </p:nvSpPr>
          <p:spPr>
            <a:xfrm>
              <a:off x="2791345" y="158661"/>
              <a:ext cx="758645" cy="75864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dirty="0">
                  <a:solidFill>
                    <a:schemeClr val="bg1"/>
                  </a:solidFill>
                </a:rPr>
                <a:t>Feasibility</a:t>
              </a:r>
              <a:endParaRPr lang="en-US" sz="1000" b="1" kern="1200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12" name="Table 7"/>
          <p:cNvGraphicFramePr>
            <a:graphicFrameLocks noGrp="1"/>
          </p:cNvGraphicFramePr>
          <p:nvPr>
            <p:extLst/>
          </p:nvPr>
        </p:nvGraphicFramePr>
        <p:xfrm>
          <a:off x="259647" y="1974804"/>
          <a:ext cx="8579553" cy="4205069"/>
        </p:xfrm>
        <a:graphic>
          <a:graphicData uri="http://schemas.openxmlformats.org/drawingml/2006/table">
            <a:tbl>
              <a:tblPr firstRow="1" bandRow="1"/>
              <a:tblGrid>
                <a:gridCol w="121353"/>
                <a:gridCol w="1271883"/>
                <a:gridCol w="152400"/>
                <a:gridCol w="3352800"/>
                <a:gridCol w="228600"/>
                <a:gridCol w="3330528"/>
                <a:gridCol w="121989"/>
              </a:tblGrid>
              <a:tr h="2620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400" dirty="0"/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</a:rPr>
                        <a:t>Oracl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Description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</a:rPr>
                        <a:t>Advantage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48224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/>
                      <a:endParaRPr lang="en-US" sz="1400" b="1" dirty="0" smtClean="0"/>
                    </a:p>
                    <a:p>
                      <a:pPr lvl="0"/>
                      <a:r>
                        <a:rPr lang="en-US" sz="1400" b="0" dirty="0" err="1" smtClean="0"/>
                        <a:t>Verisk</a:t>
                      </a:r>
                      <a:r>
                        <a:rPr lang="en-US" sz="1400" b="0" dirty="0" smtClean="0"/>
                        <a:t> - SNODAS</a:t>
                      </a:r>
                      <a:endParaRPr lang="en-US" sz="1400" b="0" dirty="0"/>
                    </a:p>
                  </a:txBody>
                  <a:tcPr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 fontAlgn="base">
                        <a:spcBef>
                          <a:spcPct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400" dirty="0" smtClean="0">
                        <a:latin typeface="+mj-lt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endParaRPr lang="en-US" sz="1400" dirty="0" smtClean="0"/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err="1" smtClean="0"/>
                        <a:t>Verisk’s</a:t>
                      </a:r>
                      <a:r>
                        <a:rPr lang="en-US" sz="1400" dirty="0" smtClean="0"/>
                        <a:t> proprietary metric modeling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Interpolates snow</a:t>
                      </a:r>
                      <a:r>
                        <a:rPr lang="en-US" sz="1400" baseline="0" dirty="0" smtClean="0"/>
                        <a:t> fall data for towns in between weather stations</a:t>
                      </a:r>
                      <a:endParaRPr lang="en-US" sz="1400" dirty="0" smtClean="0"/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Headed by Tom Connor</a:t>
                      </a:r>
                    </a:p>
                  </a:txBody>
                  <a:tcPr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kern="120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endParaRPr lang="en-US" sz="1400" dirty="0" smtClean="0"/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Could give the most precise report of weather metrics</a:t>
                      </a:r>
                      <a:endParaRPr lang="en-US" sz="1400" dirty="0"/>
                    </a:p>
                  </a:txBody>
                  <a:tcPr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ase">
                        <a:spcBef>
                          <a:spcPct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US" sz="1400" b="1" dirty="0" smtClean="0"/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10234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/>
                      <a:endParaRPr lang="en-US" sz="1400" dirty="0" smtClean="0"/>
                    </a:p>
                    <a:p>
                      <a:pPr lvl="0"/>
                      <a:r>
                        <a:rPr lang="en-US" sz="1400" dirty="0" smtClean="0"/>
                        <a:t>Weather Station Data</a:t>
                      </a:r>
                      <a:endParaRPr lang="en-US" sz="1400" dirty="0"/>
                    </a:p>
                  </a:txBody>
                  <a:tcPr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ase">
                        <a:spcBef>
                          <a:spcPct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US" sz="1400" dirty="0" smtClean="0">
                        <a:latin typeface="+mj-lt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endParaRPr lang="en-US" sz="1400" dirty="0" smtClean="0"/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Metrics gathered from the local weather station</a:t>
                      </a:r>
                      <a:endParaRPr lang="en-US" sz="1400" dirty="0"/>
                    </a:p>
                  </a:txBody>
                  <a:tcPr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kern="120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endParaRPr lang="en-US" sz="1400" dirty="0" smtClean="0"/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The most commonly accepted form of weather reporting</a:t>
                      </a:r>
                      <a:endParaRPr lang="en-US" sz="1400" dirty="0"/>
                    </a:p>
                  </a:txBody>
                  <a:tcPr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ase">
                        <a:spcBef>
                          <a:spcPct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US" sz="1400" b="1" dirty="0" smtClean="0"/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44888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 smtClean="0">
                        <a:latin typeface="+mj-lt"/>
                      </a:endParaRPr>
                    </a:p>
                    <a:p>
                      <a:pPr lvl="0"/>
                      <a:endParaRPr lang="en-US" sz="1400" dirty="0" smtClean="0"/>
                    </a:p>
                    <a:p>
                      <a:pPr lvl="0"/>
                      <a:r>
                        <a:rPr lang="en-US" sz="1400" dirty="0" smtClean="0"/>
                        <a:t>3</a:t>
                      </a:r>
                      <a:r>
                        <a:rPr lang="en-US" sz="1400" baseline="30000" dirty="0" smtClean="0"/>
                        <a:t>rd</a:t>
                      </a:r>
                      <a:r>
                        <a:rPr lang="en-US" sz="1400" dirty="0" smtClean="0"/>
                        <a:t> Party Reporting (Celsius Pro)</a:t>
                      </a:r>
                      <a:endParaRPr lang="en-US" sz="1400" dirty="0"/>
                    </a:p>
                  </a:txBody>
                  <a:tcPr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ase">
                        <a:spcBef>
                          <a:spcPct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US" sz="1400" dirty="0" smtClean="0">
                        <a:latin typeface="+mj-lt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0" kern="1200" baseline="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0" kern="1200" baseline="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A known weather metric reporting entity for insurers, reinsurers, and weather brokers. Based out of Switzerland </a:t>
                      </a:r>
                      <a:endParaRPr lang="en-US" sz="1400" dirty="0"/>
                    </a:p>
                  </a:txBody>
                  <a:tcPr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kern="120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b="0" kern="120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0" kern="120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Liberty can expect to offer the same level of precision as its competitors overseas</a:t>
                      </a:r>
                      <a:endParaRPr lang="en-US" sz="1400" dirty="0"/>
                    </a:p>
                  </a:txBody>
                  <a:tcPr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ase">
                        <a:spcBef>
                          <a:spcPct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US" sz="1400" b="1" dirty="0" smtClean="0"/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2709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 smtClean="0">
                        <a:latin typeface="+mj-lt"/>
                      </a:endParaRPr>
                    </a:p>
                  </a:txBody>
                  <a:tcPr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ase">
                        <a:spcBef>
                          <a:spcPct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US" sz="1400" dirty="0" smtClean="0">
                        <a:latin typeface="+mj-lt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kern="1200" baseline="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kern="120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b="0" kern="120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ase">
                        <a:spcBef>
                          <a:spcPct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US" sz="1400" b="1" dirty="0" smtClean="0"/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542832013"/>
              </p:ext>
            </p:extLst>
          </p:nvPr>
        </p:nvGraphicFramePr>
        <p:xfrm>
          <a:off x="533400" y="975518"/>
          <a:ext cx="8153400" cy="7770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016129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98890" y="185756"/>
            <a:ext cx="8305800" cy="487363"/>
          </a:xfrm>
        </p:spPr>
        <p:txBody>
          <a:bodyPr/>
          <a:lstStyle/>
          <a:p>
            <a:r>
              <a:rPr lang="en-US" sz="2000" dirty="0" smtClean="0"/>
              <a:t>Contrary to our second hypothesis, single variable of snow-inches 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en-US" sz="2000" dirty="0" smtClean="0"/>
              <a:t>is similarly predictive as multivariate modeling</a:t>
            </a:r>
            <a:endParaRPr lang="en-US" sz="2000" dirty="0"/>
          </a:p>
        </p:txBody>
      </p:sp>
      <p:graphicFrame>
        <p:nvGraphicFramePr>
          <p:cNvPr id="6" name="Diagram 5"/>
          <p:cNvGraphicFramePr/>
          <p:nvPr>
            <p:extLst/>
          </p:nvPr>
        </p:nvGraphicFramePr>
        <p:xfrm>
          <a:off x="374176" y="990600"/>
          <a:ext cx="8312624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1767682"/>
            <a:ext cx="8153399" cy="4175918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8153400" y="61118"/>
            <a:ext cx="914400" cy="914400"/>
            <a:chOff x="2634224" y="1540"/>
            <a:chExt cx="1072887" cy="1072887"/>
          </a:xfrm>
          <a:solidFill>
            <a:srgbClr val="5381AC"/>
          </a:solidFill>
        </p:grpSpPr>
        <p:sp>
          <p:nvSpPr>
            <p:cNvPr id="9" name="Oval 8"/>
            <p:cNvSpPr/>
            <p:nvPr/>
          </p:nvSpPr>
          <p:spPr>
            <a:xfrm>
              <a:off x="2634224" y="1540"/>
              <a:ext cx="1072887" cy="107288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Oval 4"/>
            <p:cNvSpPr/>
            <p:nvPr/>
          </p:nvSpPr>
          <p:spPr>
            <a:xfrm>
              <a:off x="2791345" y="158661"/>
              <a:ext cx="758645" cy="75864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dirty="0">
                  <a:solidFill>
                    <a:schemeClr val="bg1"/>
                  </a:solidFill>
                </a:rPr>
                <a:t>Feasibility</a:t>
              </a:r>
              <a:endParaRPr lang="en-US" sz="1000" b="1" kern="1200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2802155771"/>
              </p:ext>
            </p:extLst>
          </p:nvPr>
        </p:nvGraphicFramePr>
        <p:xfrm>
          <a:off x="533400" y="975518"/>
          <a:ext cx="8153400" cy="7770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04598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12173" y="192759"/>
            <a:ext cx="8305800" cy="487363"/>
          </a:xfrm>
        </p:spPr>
        <p:txBody>
          <a:bodyPr/>
          <a:lstStyle/>
          <a:p>
            <a:r>
              <a:rPr lang="en-US" sz="2000" dirty="0" smtClean="0"/>
              <a:t>Solaria needs the backing of multiple core Liberty functions to </a:t>
            </a:r>
            <a:br>
              <a:rPr lang="en-US" sz="2000" dirty="0" smtClean="0"/>
            </a:br>
            <a:r>
              <a:rPr lang="en-US" sz="2000" dirty="0" smtClean="0"/>
              <a:t>bring this product to market - or just the Public Entities Unit  </a:t>
            </a:r>
            <a:endParaRPr lang="en-US" sz="2000" dirty="0"/>
          </a:p>
        </p:txBody>
      </p:sp>
      <p:sp>
        <p:nvSpPr>
          <p:cNvPr id="14" name="Rectangle 13"/>
          <p:cNvSpPr/>
          <p:nvPr/>
        </p:nvSpPr>
        <p:spPr>
          <a:xfrm>
            <a:off x="6968888" y="4338051"/>
            <a:ext cx="990600" cy="80634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Legal Complianc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236196" y="3367311"/>
            <a:ext cx="990600" cy="80634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laim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7678856" y="3355353"/>
            <a:ext cx="990600" cy="81830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Finance</a:t>
            </a:r>
            <a:endParaRPr lang="en-US" dirty="0" smtClean="0"/>
          </a:p>
        </p:txBody>
      </p:sp>
      <p:sp>
        <p:nvSpPr>
          <p:cNvPr id="21" name="Rectangle 20"/>
          <p:cNvSpPr/>
          <p:nvPr/>
        </p:nvSpPr>
        <p:spPr>
          <a:xfrm>
            <a:off x="6236196" y="2165454"/>
            <a:ext cx="970085" cy="80634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ctuarial</a:t>
            </a:r>
          </a:p>
        </p:txBody>
      </p:sp>
      <p:sp>
        <p:nvSpPr>
          <p:cNvPr id="22" name="Rectangle 21"/>
          <p:cNvSpPr/>
          <p:nvPr/>
        </p:nvSpPr>
        <p:spPr>
          <a:xfrm>
            <a:off x="7678856" y="2167037"/>
            <a:ext cx="990600" cy="80634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Marketing</a:t>
            </a:r>
            <a:endParaRPr lang="en-US" sz="1400" dirty="0" smtClean="0"/>
          </a:p>
        </p:txBody>
      </p:sp>
      <p:grpSp>
        <p:nvGrpSpPr>
          <p:cNvPr id="24" name="Group 23"/>
          <p:cNvGrpSpPr/>
          <p:nvPr/>
        </p:nvGrpSpPr>
        <p:grpSpPr>
          <a:xfrm>
            <a:off x="8153400" y="61118"/>
            <a:ext cx="914400" cy="914400"/>
            <a:chOff x="2634224" y="1540"/>
            <a:chExt cx="1072887" cy="1072887"/>
          </a:xfrm>
          <a:solidFill>
            <a:srgbClr val="5381AC"/>
          </a:solidFill>
        </p:grpSpPr>
        <p:sp>
          <p:nvSpPr>
            <p:cNvPr id="25" name="Oval 24"/>
            <p:cNvSpPr/>
            <p:nvPr/>
          </p:nvSpPr>
          <p:spPr>
            <a:xfrm>
              <a:off x="2634224" y="1540"/>
              <a:ext cx="1072887" cy="107288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Oval 4"/>
            <p:cNvSpPr/>
            <p:nvPr/>
          </p:nvSpPr>
          <p:spPr>
            <a:xfrm>
              <a:off x="2791345" y="158661"/>
              <a:ext cx="758645" cy="75864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dirty="0">
                  <a:solidFill>
                    <a:schemeClr val="bg1"/>
                  </a:solidFill>
                </a:rPr>
                <a:t>Feasibility</a:t>
              </a:r>
              <a:endParaRPr lang="en-US" sz="1000" b="1" kern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27" name="Oval 26"/>
          <p:cNvSpPr/>
          <p:nvPr/>
        </p:nvSpPr>
        <p:spPr>
          <a:xfrm>
            <a:off x="3505200" y="1141159"/>
            <a:ext cx="1447800" cy="685800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olaria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363656" y="2438400"/>
            <a:ext cx="3217744" cy="16764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iberty Mutual’s </a:t>
            </a:r>
          </a:p>
          <a:p>
            <a:pPr algn="ctr"/>
            <a:r>
              <a:rPr lang="en-US" dirty="0" smtClean="0"/>
              <a:t>Public Entities Unit</a:t>
            </a:r>
            <a:endParaRPr lang="en-US" dirty="0"/>
          </a:p>
        </p:txBody>
      </p:sp>
      <p:cxnSp>
        <p:nvCxnSpPr>
          <p:cNvPr id="10" name="Straight Arrow Connector 9"/>
          <p:cNvCxnSpPr/>
          <p:nvPr/>
        </p:nvCxnSpPr>
        <p:spPr>
          <a:xfrm flipH="1">
            <a:off x="2133600" y="1752600"/>
            <a:ext cx="1447800" cy="6096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4953000" y="1752600"/>
            <a:ext cx="1066800" cy="55689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742063" y="4313237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871916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81000" y="152400"/>
            <a:ext cx="8305800" cy="487363"/>
          </a:xfrm>
        </p:spPr>
        <p:txBody>
          <a:bodyPr/>
          <a:lstStyle/>
          <a:p>
            <a:r>
              <a:rPr lang="en-US" sz="2000" dirty="0" smtClean="0"/>
              <a:t>Midsize municipalities could generate $10k – $100k annually in </a:t>
            </a:r>
            <a:br>
              <a:rPr lang="en-US" sz="2000" dirty="0" smtClean="0"/>
            </a:br>
            <a:r>
              <a:rPr lang="en-US" sz="2000" dirty="0" smtClean="0"/>
              <a:t>premiums</a:t>
            </a:r>
            <a:endParaRPr lang="en-US" sz="2000" dirty="0"/>
          </a:p>
        </p:txBody>
      </p:sp>
      <p:grpSp>
        <p:nvGrpSpPr>
          <p:cNvPr id="11" name="Group 10"/>
          <p:cNvGrpSpPr/>
          <p:nvPr/>
        </p:nvGrpSpPr>
        <p:grpSpPr>
          <a:xfrm>
            <a:off x="8153400" y="61118"/>
            <a:ext cx="914400" cy="914400"/>
            <a:chOff x="2634224" y="1540"/>
            <a:chExt cx="1072887" cy="1072887"/>
          </a:xfrm>
          <a:solidFill>
            <a:srgbClr val="5381AC"/>
          </a:solidFill>
        </p:grpSpPr>
        <p:sp>
          <p:nvSpPr>
            <p:cNvPr id="12" name="Oval 11"/>
            <p:cNvSpPr/>
            <p:nvPr/>
          </p:nvSpPr>
          <p:spPr>
            <a:xfrm>
              <a:off x="2634224" y="1540"/>
              <a:ext cx="1072887" cy="107288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Oval 4"/>
            <p:cNvSpPr/>
            <p:nvPr/>
          </p:nvSpPr>
          <p:spPr>
            <a:xfrm>
              <a:off x="2791345" y="158661"/>
              <a:ext cx="758645" cy="75864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kern="1200" dirty="0" smtClean="0">
                  <a:solidFill>
                    <a:schemeClr val="bg1"/>
                  </a:solidFill>
                </a:rPr>
                <a:t>Viability</a:t>
              </a:r>
              <a:endParaRPr lang="en-US" sz="1000" b="1" kern="1200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14" name="Table 13"/>
          <p:cNvGraphicFramePr>
            <a:graphicFrameLocks noGrp="1"/>
          </p:cNvGraphicFramePr>
          <p:nvPr>
            <p:extLst/>
          </p:nvPr>
        </p:nvGraphicFramePr>
        <p:xfrm>
          <a:off x="381000" y="1295400"/>
          <a:ext cx="4038600" cy="20574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19200"/>
                <a:gridCol w="1143000"/>
                <a:gridCol w="1676400"/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Geographic Regions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gion Population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unicipal</a:t>
                      </a:r>
                      <a:r>
                        <a:rPr lang="en-US" sz="1400" baseline="0" dirty="0" smtClean="0"/>
                        <a:t> Spending on snow per region (</a:t>
                      </a:r>
                      <a:r>
                        <a:rPr lang="en-US" sz="1400" baseline="0" dirty="0" err="1" smtClean="0"/>
                        <a:t>Aprox</a:t>
                      </a:r>
                      <a:r>
                        <a:rPr lang="en-US" sz="1400" baseline="0" dirty="0" smtClean="0"/>
                        <a:t>)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Northea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57,000,000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$ 1.2B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id-Atlantic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41,660,000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$ 408M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Great Lake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60,000,000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$ 430M</a:t>
                      </a:r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16" name="Group 15"/>
          <p:cNvGrpSpPr/>
          <p:nvPr/>
        </p:nvGrpSpPr>
        <p:grpSpPr>
          <a:xfrm>
            <a:off x="1056940" y="4495800"/>
            <a:ext cx="6725319" cy="1308143"/>
            <a:chOff x="4787230" y="809998"/>
            <a:chExt cx="2048152" cy="1846587"/>
          </a:xfrm>
        </p:grpSpPr>
        <p:sp>
          <p:nvSpPr>
            <p:cNvPr id="17" name="Rounded Rectangle 16"/>
            <p:cNvSpPr/>
            <p:nvPr/>
          </p:nvSpPr>
          <p:spPr>
            <a:xfrm>
              <a:off x="4787230" y="809998"/>
              <a:ext cx="2048152" cy="1846587"/>
            </a:xfrm>
            <a:prstGeom prst="roundRect">
              <a:avLst>
                <a:gd name="adj" fmla="val 10000"/>
              </a:avLst>
            </a:prstGeom>
            <a:noFill/>
            <a:ln>
              <a:solidFill>
                <a:schemeClr val="accent3">
                  <a:lumMod val="75000"/>
                </a:schemeClr>
              </a:solidFill>
              <a:prstDash val="sysDot"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Rounded Rectangle 4"/>
            <p:cNvSpPr/>
            <p:nvPr/>
          </p:nvSpPr>
          <p:spPr>
            <a:xfrm>
              <a:off x="4843635" y="864084"/>
              <a:ext cx="1939982" cy="173841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285750" lvl="0" indent="-285750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400" dirty="0" smtClean="0">
                  <a:solidFill>
                    <a:srgbClr val="616265"/>
                  </a:solidFill>
                </a:rPr>
                <a:t>Northeast, Mid-Atlantic, Great Lakes regions constitutes approximately 67% of the snow insurance market</a:t>
              </a:r>
            </a:p>
            <a:p>
              <a:pPr marL="285750" lvl="0" indent="-285750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400" kern="1200" dirty="0" smtClean="0">
                  <a:solidFill>
                    <a:srgbClr val="616265"/>
                  </a:solidFill>
                </a:rPr>
                <a:t>Snow and Ice management industry is growing annually at 3.2%</a:t>
              </a:r>
              <a:endParaRPr lang="en-US" sz="1400" kern="1200" dirty="0">
                <a:solidFill>
                  <a:srgbClr val="616265"/>
                </a:solidFill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2575" y="1447800"/>
            <a:ext cx="2790825" cy="1838325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1056939" y="3862111"/>
            <a:ext cx="6725319" cy="614532"/>
          </a:xfrm>
          <a:prstGeom prst="rect">
            <a:avLst/>
          </a:prstGeom>
          <a:solidFill>
            <a:schemeClr val="bg2">
              <a:lumMod val="50000"/>
            </a:schemeClr>
          </a:solidFill>
          <a:ln w="25400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</a:t>
            </a:r>
            <a:r>
              <a:rPr kumimoji="0" lang="en-US" sz="18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sights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5936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81000" y="204975"/>
            <a:ext cx="8305800" cy="487363"/>
          </a:xfrm>
        </p:spPr>
        <p:txBody>
          <a:bodyPr/>
          <a:lstStyle/>
          <a:p>
            <a:r>
              <a:rPr lang="en-US" sz="2000" dirty="0"/>
              <a:t>Liberty </a:t>
            </a:r>
            <a:r>
              <a:rPr lang="en-US" sz="2000" dirty="0" smtClean="0"/>
              <a:t>has regulatory advantage over foreign </a:t>
            </a:r>
            <a:r>
              <a:rPr lang="en-US" sz="2000" dirty="0"/>
              <a:t>competitors </a:t>
            </a:r>
            <a:r>
              <a:rPr lang="en-US" sz="2000" dirty="0" smtClean="0"/>
              <a:t>and </a:t>
            </a:r>
            <a:br>
              <a:rPr lang="en-US" sz="2000" dirty="0" smtClean="0"/>
            </a:br>
            <a:r>
              <a:rPr lang="en-US" sz="2000" dirty="0" smtClean="0"/>
              <a:t>there’s indications that we can undercut domestic competition </a:t>
            </a:r>
            <a:endParaRPr lang="en-US" sz="2000" dirty="0"/>
          </a:p>
        </p:txBody>
      </p:sp>
      <p:grpSp>
        <p:nvGrpSpPr>
          <p:cNvPr id="6" name="Group 5"/>
          <p:cNvGrpSpPr/>
          <p:nvPr/>
        </p:nvGrpSpPr>
        <p:grpSpPr>
          <a:xfrm>
            <a:off x="8153400" y="61118"/>
            <a:ext cx="914400" cy="914400"/>
            <a:chOff x="2634224" y="1540"/>
            <a:chExt cx="1072887" cy="1072887"/>
          </a:xfrm>
          <a:solidFill>
            <a:srgbClr val="5381AC"/>
          </a:solidFill>
        </p:grpSpPr>
        <p:sp>
          <p:nvSpPr>
            <p:cNvPr id="7" name="Oval 6"/>
            <p:cNvSpPr/>
            <p:nvPr/>
          </p:nvSpPr>
          <p:spPr>
            <a:xfrm>
              <a:off x="2634224" y="1540"/>
              <a:ext cx="1072887" cy="107288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Oval 4"/>
            <p:cNvSpPr/>
            <p:nvPr/>
          </p:nvSpPr>
          <p:spPr>
            <a:xfrm>
              <a:off x="2791345" y="158661"/>
              <a:ext cx="758645" cy="75864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kern="1200" dirty="0" smtClean="0">
                  <a:solidFill>
                    <a:schemeClr val="bg1"/>
                  </a:solidFill>
                </a:rPr>
                <a:t>Viability</a:t>
              </a:r>
              <a:endParaRPr lang="en-US" sz="1000" b="1" kern="1200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3761014967"/>
              </p:ext>
            </p:extLst>
          </p:nvPr>
        </p:nvGraphicFramePr>
        <p:xfrm>
          <a:off x="5901883" y="1111572"/>
          <a:ext cx="2985067" cy="43796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77" r:lo="rId278" r:qs="rId279" r:cs="rId280"/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304800" y="1164447"/>
            <a:ext cx="4953000" cy="3352800"/>
            <a:chOff x="644522" y="2041759"/>
            <a:chExt cx="8051405" cy="4280400"/>
          </a:xfrm>
          <a:solidFill>
            <a:srgbClr val="FFFFFF">
              <a:lumMod val="85000"/>
            </a:srgbClr>
          </a:solidFill>
        </p:grpSpPr>
        <p:sp>
          <p:nvSpPr>
            <p:cNvPr id="11" name="Zimbabwe"/>
            <p:cNvSpPr>
              <a:spLocks/>
            </p:cNvSpPr>
            <p:nvPr/>
          </p:nvSpPr>
          <p:spPr bwMode="auto">
            <a:xfrm>
              <a:off x="4898137" y="5066271"/>
              <a:ext cx="208873" cy="221145"/>
            </a:xfrm>
            <a:custGeom>
              <a:avLst/>
              <a:gdLst>
                <a:gd name="T0" fmla="*/ 386 w 575"/>
                <a:gd name="T1" fmla="*/ 4 h 514"/>
                <a:gd name="T2" fmla="*/ 395 w 575"/>
                <a:gd name="T3" fmla="*/ 32 h 514"/>
                <a:gd name="T4" fmla="*/ 429 w 575"/>
                <a:gd name="T5" fmla="*/ 37 h 514"/>
                <a:gd name="T6" fmla="*/ 466 w 575"/>
                <a:gd name="T7" fmla="*/ 48 h 514"/>
                <a:gd name="T8" fmla="*/ 503 w 575"/>
                <a:gd name="T9" fmla="*/ 68 h 514"/>
                <a:gd name="T10" fmla="*/ 535 w 575"/>
                <a:gd name="T11" fmla="*/ 75 h 514"/>
                <a:gd name="T12" fmla="*/ 562 w 575"/>
                <a:gd name="T13" fmla="*/ 90 h 514"/>
                <a:gd name="T14" fmla="*/ 561 w 575"/>
                <a:gd name="T15" fmla="*/ 117 h 514"/>
                <a:gd name="T16" fmla="*/ 562 w 575"/>
                <a:gd name="T17" fmla="*/ 152 h 514"/>
                <a:gd name="T18" fmla="*/ 558 w 575"/>
                <a:gd name="T19" fmla="*/ 191 h 514"/>
                <a:gd name="T20" fmla="*/ 563 w 575"/>
                <a:gd name="T21" fmla="*/ 216 h 514"/>
                <a:gd name="T22" fmla="*/ 553 w 575"/>
                <a:gd name="T23" fmla="*/ 238 h 514"/>
                <a:gd name="T24" fmla="*/ 536 w 575"/>
                <a:gd name="T25" fmla="*/ 257 h 514"/>
                <a:gd name="T26" fmla="*/ 545 w 575"/>
                <a:gd name="T27" fmla="*/ 274 h 514"/>
                <a:gd name="T28" fmla="*/ 542 w 575"/>
                <a:gd name="T29" fmla="*/ 302 h 514"/>
                <a:gd name="T30" fmla="*/ 549 w 575"/>
                <a:gd name="T31" fmla="*/ 314 h 514"/>
                <a:gd name="T32" fmla="*/ 551 w 575"/>
                <a:gd name="T33" fmla="*/ 335 h 514"/>
                <a:gd name="T34" fmla="*/ 537 w 575"/>
                <a:gd name="T35" fmla="*/ 360 h 514"/>
                <a:gd name="T36" fmla="*/ 510 w 575"/>
                <a:gd name="T37" fmla="*/ 383 h 514"/>
                <a:gd name="T38" fmla="*/ 499 w 575"/>
                <a:gd name="T39" fmla="*/ 419 h 514"/>
                <a:gd name="T40" fmla="*/ 497 w 575"/>
                <a:gd name="T41" fmla="*/ 437 h 514"/>
                <a:gd name="T42" fmla="*/ 418 w 575"/>
                <a:gd name="T43" fmla="*/ 514 h 514"/>
                <a:gd name="T44" fmla="*/ 414 w 575"/>
                <a:gd name="T45" fmla="*/ 513 h 514"/>
                <a:gd name="T46" fmla="*/ 385 w 575"/>
                <a:gd name="T47" fmla="*/ 506 h 514"/>
                <a:gd name="T48" fmla="*/ 343 w 575"/>
                <a:gd name="T49" fmla="*/ 508 h 514"/>
                <a:gd name="T50" fmla="*/ 300 w 575"/>
                <a:gd name="T51" fmla="*/ 492 h 514"/>
                <a:gd name="T52" fmla="*/ 280 w 575"/>
                <a:gd name="T53" fmla="*/ 494 h 514"/>
                <a:gd name="T54" fmla="*/ 270 w 575"/>
                <a:gd name="T55" fmla="*/ 487 h 514"/>
                <a:gd name="T56" fmla="*/ 259 w 575"/>
                <a:gd name="T57" fmla="*/ 466 h 514"/>
                <a:gd name="T58" fmla="*/ 228 w 575"/>
                <a:gd name="T59" fmla="*/ 453 h 514"/>
                <a:gd name="T60" fmla="*/ 186 w 575"/>
                <a:gd name="T61" fmla="*/ 446 h 514"/>
                <a:gd name="T62" fmla="*/ 166 w 575"/>
                <a:gd name="T63" fmla="*/ 410 h 514"/>
                <a:gd name="T64" fmla="*/ 166 w 575"/>
                <a:gd name="T65" fmla="*/ 366 h 514"/>
                <a:gd name="T66" fmla="*/ 141 w 575"/>
                <a:gd name="T67" fmla="*/ 353 h 514"/>
                <a:gd name="T68" fmla="*/ 122 w 575"/>
                <a:gd name="T69" fmla="*/ 328 h 514"/>
                <a:gd name="T70" fmla="*/ 122 w 575"/>
                <a:gd name="T71" fmla="*/ 328 h 514"/>
                <a:gd name="T72" fmla="*/ 82 w 575"/>
                <a:gd name="T73" fmla="*/ 307 h 514"/>
                <a:gd name="T74" fmla="*/ 75 w 575"/>
                <a:gd name="T75" fmla="*/ 299 h 514"/>
                <a:gd name="T76" fmla="*/ 59 w 575"/>
                <a:gd name="T77" fmla="*/ 281 h 514"/>
                <a:gd name="T78" fmla="*/ 50 w 575"/>
                <a:gd name="T79" fmla="*/ 246 h 514"/>
                <a:gd name="T80" fmla="*/ 27 w 575"/>
                <a:gd name="T81" fmla="*/ 213 h 514"/>
                <a:gd name="T82" fmla="*/ 3 w 575"/>
                <a:gd name="T83" fmla="*/ 175 h 514"/>
                <a:gd name="T84" fmla="*/ 6 w 575"/>
                <a:gd name="T85" fmla="*/ 163 h 514"/>
                <a:gd name="T86" fmla="*/ 13 w 575"/>
                <a:gd name="T87" fmla="*/ 165 h 514"/>
                <a:gd name="T88" fmla="*/ 47 w 575"/>
                <a:gd name="T89" fmla="*/ 175 h 514"/>
                <a:gd name="T90" fmla="*/ 83 w 575"/>
                <a:gd name="T91" fmla="*/ 173 h 514"/>
                <a:gd name="T92" fmla="*/ 120 w 575"/>
                <a:gd name="T93" fmla="*/ 178 h 514"/>
                <a:gd name="T94" fmla="*/ 153 w 575"/>
                <a:gd name="T95" fmla="*/ 150 h 514"/>
                <a:gd name="T96" fmla="*/ 184 w 575"/>
                <a:gd name="T97" fmla="*/ 112 h 514"/>
                <a:gd name="T98" fmla="*/ 217 w 575"/>
                <a:gd name="T99" fmla="*/ 90 h 514"/>
                <a:gd name="T100" fmla="*/ 252 w 575"/>
                <a:gd name="T101" fmla="*/ 73 h 514"/>
                <a:gd name="T102" fmla="*/ 271 w 575"/>
                <a:gd name="T103" fmla="*/ 35 h 514"/>
                <a:gd name="T104" fmla="*/ 298 w 575"/>
                <a:gd name="T105" fmla="*/ 15 h 514"/>
                <a:gd name="T106" fmla="*/ 332 w 575"/>
                <a:gd name="T107" fmla="*/ 6 h 514"/>
                <a:gd name="T108" fmla="*/ 378 w 575"/>
                <a:gd name="T109" fmla="*/ 5 h 514"/>
                <a:gd name="T110" fmla="*/ 381 w 575"/>
                <a:gd name="T111" fmla="*/ 4 h 514"/>
                <a:gd name="T112" fmla="*/ 386 w 575"/>
                <a:gd name="T113" fmla="*/ 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5" h="514">
                  <a:moveTo>
                    <a:pt x="386" y="4"/>
                  </a:moveTo>
                  <a:cubicBezTo>
                    <a:pt x="388" y="14"/>
                    <a:pt x="378" y="36"/>
                    <a:pt x="395" y="32"/>
                  </a:cubicBezTo>
                  <a:cubicBezTo>
                    <a:pt x="407" y="32"/>
                    <a:pt x="419" y="32"/>
                    <a:pt x="429" y="37"/>
                  </a:cubicBezTo>
                  <a:cubicBezTo>
                    <a:pt x="444" y="25"/>
                    <a:pt x="452" y="46"/>
                    <a:pt x="466" y="48"/>
                  </a:cubicBezTo>
                  <a:cubicBezTo>
                    <a:pt x="483" y="45"/>
                    <a:pt x="487" y="69"/>
                    <a:pt x="503" y="68"/>
                  </a:cubicBezTo>
                  <a:cubicBezTo>
                    <a:pt x="514" y="67"/>
                    <a:pt x="525" y="70"/>
                    <a:pt x="535" y="75"/>
                  </a:cubicBezTo>
                  <a:cubicBezTo>
                    <a:pt x="548" y="77"/>
                    <a:pt x="547" y="96"/>
                    <a:pt x="562" y="90"/>
                  </a:cubicBezTo>
                  <a:cubicBezTo>
                    <a:pt x="575" y="96"/>
                    <a:pt x="547" y="107"/>
                    <a:pt x="561" y="117"/>
                  </a:cubicBezTo>
                  <a:cubicBezTo>
                    <a:pt x="566" y="128"/>
                    <a:pt x="568" y="141"/>
                    <a:pt x="562" y="152"/>
                  </a:cubicBezTo>
                  <a:cubicBezTo>
                    <a:pt x="573" y="165"/>
                    <a:pt x="554" y="177"/>
                    <a:pt x="558" y="191"/>
                  </a:cubicBezTo>
                  <a:cubicBezTo>
                    <a:pt x="560" y="200"/>
                    <a:pt x="558" y="208"/>
                    <a:pt x="563" y="216"/>
                  </a:cubicBezTo>
                  <a:cubicBezTo>
                    <a:pt x="560" y="224"/>
                    <a:pt x="544" y="228"/>
                    <a:pt x="553" y="238"/>
                  </a:cubicBezTo>
                  <a:cubicBezTo>
                    <a:pt x="556" y="252"/>
                    <a:pt x="530" y="241"/>
                    <a:pt x="536" y="257"/>
                  </a:cubicBezTo>
                  <a:cubicBezTo>
                    <a:pt x="528" y="267"/>
                    <a:pt x="553" y="262"/>
                    <a:pt x="545" y="274"/>
                  </a:cubicBezTo>
                  <a:cubicBezTo>
                    <a:pt x="545" y="284"/>
                    <a:pt x="532" y="295"/>
                    <a:pt x="542" y="302"/>
                  </a:cubicBezTo>
                  <a:cubicBezTo>
                    <a:pt x="538" y="311"/>
                    <a:pt x="541" y="317"/>
                    <a:pt x="549" y="314"/>
                  </a:cubicBezTo>
                  <a:cubicBezTo>
                    <a:pt x="552" y="321"/>
                    <a:pt x="556" y="327"/>
                    <a:pt x="551" y="335"/>
                  </a:cubicBezTo>
                  <a:cubicBezTo>
                    <a:pt x="547" y="343"/>
                    <a:pt x="538" y="349"/>
                    <a:pt x="537" y="360"/>
                  </a:cubicBezTo>
                  <a:cubicBezTo>
                    <a:pt x="529" y="370"/>
                    <a:pt x="523" y="380"/>
                    <a:pt x="510" y="383"/>
                  </a:cubicBezTo>
                  <a:cubicBezTo>
                    <a:pt x="506" y="395"/>
                    <a:pt x="514" y="411"/>
                    <a:pt x="499" y="419"/>
                  </a:cubicBezTo>
                  <a:cubicBezTo>
                    <a:pt x="493" y="426"/>
                    <a:pt x="511" y="438"/>
                    <a:pt x="497" y="437"/>
                  </a:cubicBezTo>
                  <a:cubicBezTo>
                    <a:pt x="471" y="463"/>
                    <a:pt x="445" y="489"/>
                    <a:pt x="418" y="514"/>
                  </a:cubicBezTo>
                  <a:cubicBezTo>
                    <a:pt x="416" y="514"/>
                    <a:pt x="415" y="513"/>
                    <a:pt x="414" y="513"/>
                  </a:cubicBezTo>
                  <a:cubicBezTo>
                    <a:pt x="404" y="511"/>
                    <a:pt x="395" y="507"/>
                    <a:pt x="385" y="506"/>
                  </a:cubicBezTo>
                  <a:cubicBezTo>
                    <a:pt x="371" y="506"/>
                    <a:pt x="357" y="509"/>
                    <a:pt x="343" y="508"/>
                  </a:cubicBezTo>
                  <a:cubicBezTo>
                    <a:pt x="328" y="504"/>
                    <a:pt x="316" y="493"/>
                    <a:pt x="300" y="492"/>
                  </a:cubicBezTo>
                  <a:cubicBezTo>
                    <a:pt x="293" y="494"/>
                    <a:pt x="286" y="495"/>
                    <a:pt x="280" y="494"/>
                  </a:cubicBezTo>
                  <a:cubicBezTo>
                    <a:pt x="276" y="493"/>
                    <a:pt x="272" y="491"/>
                    <a:pt x="270" y="487"/>
                  </a:cubicBezTo>
                  <a:cubicBezTo>
                    <a:pt x="257" y="488"/>
                    <a:pt x="254" y="476"/>
                    <a:pt x="259" y="466"/>
                  </a:cubicBezTo>
                  <a:cubicBezTo>
                    <a:pt x="250" y="462"/>
                    <a:pt x="238" y="459"/>
                    <a:pt x="228" y="453"/>
                  </a:cubicBezTo>
                  <a:cubicBezTo>
                    <a:pt x="214" y="454"/>
                    <a:pt x="201" y="448"/>
                    <a:pt x="186" y="446"/>
                  </a:cubicBezTo>
                  <a:cubicBezTo>
                    <a:pt x="182" y="433"/>
                    <a:pt x="176" y="420"/>
                    <a:pt x="166" y="410"/>
                  </a:cubicBezTo>
                  <a:cubicBezTo>
                    <a:pt x="165" y="395"/>
                    <a:pt x="175" y="377"/>
                    <a:pt x="166" y="366"/>
                  </a:cubicBezTo>
                  <a:cubicBezTo>
                    <a:pt x="156" y="361"/>
                    <a:pt x="133" y="372"/>
                    <a:pt x="141" y="353"/>
                  </a:cubicBezTo>
                  <a:cubicBezTo>
                    <a:pt x="142" y="338"/>
                    <a:pt x="133" y="334"/>
                    <a:pt x="122" y="328"/>
                  </a:cubicBezTo>
                  <a:cubicBezTo>
                    <a:pt x="122" y="328"/>
                    <a:pt x="122" y="328"/>
                    <a:pt x="122" y="328"/>
                  </a:cubicBezTo>
                  <a:cubicBezTo>
                    <a:pt x="106" y="328"/>
                    <a:pt x="95" y="314"/>
                    <a:pt x="82" y="307"/>
                  </a:cubicBezTo>
                  <a:cubicBezTo>
                    <a:pt x="80" y="304"/>
                    <a:pt x="79" y="302"/>
                    <a:pt x="75" y="299"/>
                  </a:cubicBezTo>
                  <a:cubicBezTo>
                    <a:pt x="70" y="293"/>
                    <a:pt x="58" y="293"/>
                    <a:pt x="59" y="281"/>
                  </a:cubicBezTo>
                  <a:cubicBezTo>
                    <a:pt x="55" y="269"/>
                    <a:pt x="49" y="259"/>
                    <a:pt x="50" y="246"/>
                  </a:cubicBezTo>
                  <a:cubicBezTo>
                    <a:pt x="36" y="238"/>
                    <a:pt x="41" y="221"/>
                    <a:pt x="27" y="213"/>
                  </a:cubicBezTo>
                  <a:cubicBezTo>
                    <a:pt x="17" y="201"/>
                    <a:pt x="14" y="186"/>
                    <a:pt x="3" y="175"/>
                  </a:cubicBezTo>
                  <a:cubicBezTo>
                    <a:pt x="0" y="170"/>
                    <a:pt x="2" y="164"/>
                    <a:pt x="6" y="163"/>
                  </a:cubicBezTo>
                  <a:cubicBezTo>
                    <a:pt x="8" y="162"/>
                    <a:pt x="10" y="163"/>
                    <a:pt x="13" y="165"/>
                  </a:cubicBezTo>
                  <a:cubicBezTo>
                    <a:pt x="25" y="167"/>
                    <a:pt x="43" y="158"/>
                    <a:pt x="47" y="175"/>
                  </a:cubicBezTo>
                  <a:cubicBezTo>
                    <a:pt x="59" y="182"/>
                    <a:pt x="71" y="163"/>
                    <a:pt x="83" y="173"/>
                  </a:cubicBezTo>
                  <a:cubicBezTo>
                    <a:pt x="96" y="177"/>
                    <a:pt x="107" y="187"/>
                    <a:pt x="120" y="178"/>
                  </a:cubicBezTo>
                  <a:cubicBezTo>
                    <a:pt x="137" y="178"/>
                    <a:pt x="141" y="159"/>
                    <a:pt x="153" y="150"/>
                  </a:cubicBezTo>
                  <a:cubicBezTo>
                    <a:pt x="166" y="139"/>
                    <a:pt x="178" y="127"/>
                    <a:pt x="184" y="112"/>
                  </a:cubicBezTo>
                  <a:cubicBezTo>
                    <a:pt x="190" y="98"/>
                    <a:pt x="206" y="97"/>
                    <a:pt x="217" y="90"/>
                  </a:cubicBezTo>
                  <a:cubicBezTo>
                    <a:pt x="227" y="82"/>
                    <a:pt x="240" y="78"/>
                    <a:pt x="252" y="73"/>
                  </a:cubicBezTo>
                  <a:cubicBezTo>
                    <a:pt x="273" y="72"/>
                    <a:pt x="268" y="49"/>
                    <a:pt x="271" y="35"/>
                  </a:cubicBezTo>
                  <a:cubicBezTo>
                    <a:pt x="276" y="25"/>
                    <a:pt x="291" y="24"/>
                    <a:pt x="298" y="15"/>
                  </a:cubicBezTo>
                  <a:cubicBezTo>
                    <a:pt x="309" y="10"/>
                    <a:pt x="321" y="7"/>
                    <a:pt x="332" y="6"/>
                  </a:cubicBezTo>
                  <a:cubicBezTo>
                    <a:pt x="347" y="0"/>
                    <a:pt x="363" y="6"/>
                    <a:pt x="378" y="5"/>
                  </a:cubicBezTo>
                  <a:cubicBezTo>
                    <a:pt x="379" y="5"/>
                    <a:pt x="380" y="5"/>
                    <a:pt x="381" y="4"/>
                  </a:cubicBezTo>
                  <a:lnTo>
                    <a:pt x="386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2" name="Zambia"/>
            <p:cNvSpPr>
              <a:spLocks/>
            </p:cNvSpPr>
            <p:nvPr/>
          </p:nvSpPr>
          <p:spPr bwMode="auto">
            <a:xfrm>
              <a:off x="4814447" y="4824264"/>
              <a:ext cx="320694" cy="322121"/>
            </a:xfrm>
            <a:custGeom>
              <a:avLst/>
              <a:gdLst>
                <a:gd name="T0" fmla="*/ 180 w 882"/>
                <a:gd name="T1" fmla="*/ 237 h 747"/>
                <a:gd name="T2" fmla="*/ 256 w 882"/>
                <a:gd name="T3" fmla="*/ 224 h 747"/>
                <a:gd name="T4" fmla="*/ 275 w 882"/>
                <a:gd name="T5" fmla="*/ 265 h 747"/>
                <a:gd name="T6" fmla="*/ 347 w 882"/>
                <a:gd name="T7" fmla="*/ 284 h 747"/>
                <a:gd name="T8" fmla="*/ 395 w 882"/>
                <a:gd name="T9" fmla="*/ 258 h 747"/>
                <a:gd name="T10" fmla="*/ 441 w 882"/>
                <a:gd name="T11" fmla="*/ 307 h 747"/>
                <a:gd name="T12" fmla="*/ 491 w 882"/>
                <a:gd name="T13" fmla="*/ 354 h 747"/>
                <a:gd name="T14" fmla="*/ 531 w 882"/>
                <a:gd name="T15" fmla="*/ 393 h 747"/>
                <a:gd name="T16" fmla="*/ 577 w 882"/>
                <a:gd name="T17" fmla="*/ 399 h 747"/>
                <a:gd name="T18" fmla="*/ 583 w 882"/>
                <a:gd name="T19" fmla="*/ 302 h 747"/>
                <a:gd name="T20" fmla="*/ 557 w 882"/>
                <a:gd name="T21" fmla="*/ 323 h 747"/>
                <a:gd name="T22" fmla="*/ 492 w 882"/>
                <a:gd name="T23" fmla="*/ 279 h 747"/>
                <a:gd name="T24" fmla="*/ 497 w 882"/>
                <a:gd name="T25" fmla="*/ 196 h 747"/>
                <a:gd name="T26" fmla="*/ 507 w 882"/>
                <a:gd name="T27" fmla="*/ 120 h 747"/>
                <a:gd name="T28" fmla="*/ 508 w 882"/>
                <a:gd name="T29" fmla="*/ 64 h 747"/>
                <a:gd name="T30" fmla="*/ 628 w 882"/>
                <a:gd name="T31" fmla="*/ 6 h 747"/>
                <a:gd name="T32" fmla="*/ 666 w 882"/>
                <a:gd name="T33" fmla="*/ 0 h 747"/>
                <a:gd name="T34" fmla="*/ 725 w 882"/>
                <a:gd name="T35" fmla="*/ 47 h 747"/>
                <a:gd name="T36" fmla="*/ 775 w 882"/>
                <a:gd name="T37" fmla="*/ 73 h 747"/>
                <a:gd name="T38" fmla="*/ 824 w 882"/>
                <a:gd name="T39" fmla="*/ 94 h 747"/>
                <a:gd name="T40" fmla="*/ 827 w 882"/>
                <a:gd name="T41" fmla="*/ 101 h 747"/>
                <a:gd name="T42" fmla="*/ 848 w 882"/>
                <a:gd name="T43" fmla="*/ 123 h 747"/>
                <a:gd name="T44" fmla="*/ 869 w 882"/>
                <a:gd name="T45" fmla="*/ 173 h 747"/>
                <a:gd name="T46" fmla="*/ 851 w 882"/>
                <a:gd name="T47" fmla="*/ 202 h 747"/>
                <a:gd name="T48" fmla="*/ 839 w 882"/>
                <a:gd name="T49" fmla="*/ 257 h 747"/>
                <a:gd name="T50" fmla="*/ 849 w 882"/>
                <a:gd name="T51" fmla="*/ 319 h 747"/>
                <a:gd name="T52" fmla="*/ 819 w 882"/>
                <a:gd name="T53" fmla="*/ 341 h 747"/>
                <a:gd name="T54" fmla="*/ 805 w 882"/>
                <a:gd name="T55" fmla="*/ 402 h 747"/>
                <a:gd name="T56" fmla="*/ 799 w 882"/>
                <a:gd name="T57" fmla="*/ 428 h 747"/>
                <a:gd name="T58" fmla="*/ 825 w 882"/>
                <a:gd name="T59" fmla="*/ 446 h 747"/>
                <a:gd name="T60" fmla="*/ 750 w 882"/>
                <a:gd name="T61" fmla="*/ 470 h 747"/>
                <a:gd name="T62" fmla="*/ 652 w 882"/>
                <a:gd name="T63" fmla="*/ 499 h 747"/>
                <a:gd name="T64" fmla="*/ 614 w 882"/>
                <a:gd name="T65" fmla="*/ 549 h 747"/>
                <a:gd name="T66" fmla="*/ 608 w 882"/>
                <a:gd name="T67" fmla="*/ 565 h 747"/>
                <a:gd name="T68" fmla="*/ 528 w 882"/>
                <a:gd name="T69" fmla="*/ 575 h 747"/>
                <a:gd name="T70" fmla="*/ 482 w 882"/>
                <a:gd name="T71" fmla="*/ 633 h 747"/>
                <a:gd name="T72" fmla="*/ 414 w 882"/>
                <a:gd name="T73" fmla="*/ 672 h 747"/>
                <a:gd name="T74" fmla="*/ 350 w 882"/>
                <a:gd name="T75" fmla="*/ 738 h 747"/>
                <a:gd name="T76" fmla="*/ 277 w 882"/>
                <a:gd name="T77" fmla="*/ 735 h 747"/>
                <a:gd name="T78" fmla="*/ 236 w 882"/>
                <a:gd name="T79" fmla="*/ 723 h 747"/>
                <a:gd name="T80" fmla="*/ 226 w 882"/>
                <a:gd name="T81" fmla="*/ 715 h 747"/>
                <a:gd name="T82" fmla="*/ 145 w 882"/>
                <a:gd name="T83" fmla="*/ 699 h 747"/>
                <a:gd name="T84" fmla="*/ 100 w 882"/>
                <a:gd name="T85" fmla="*/ 704 h 747"/>
                <a:gd name="T86" fmla="*/ 23 w 882"/>
                <a:gd name="T87" fmla="*/ 632 h 747"/>
                <a:gd name="T88" fmla="*/ 6 w 882"/>
                <a:gd name="T89" fmla="*/ 358 h 747"/>
                <a:gd name="T90" fmla="*/ 154 w 882"/>
                <a:gd name="T91" fmla="*/ 357 h 747"/>
                <a:gd name="T92" fmla="*/ 155 w 882"/>
                <a:gd name="T93" fmla="*/ 277 h 747"/>
                <a:gd name="T94" fmla="*/ 158 w 882"/>
                <a:gd name="T95" fmla="*/ 205 h 747"/>
                <a:gd name="T96" fmla="*/ 169 w 882"/>
                <a:gd name="T97" fmla="*/ 211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82" h="747">
                  <a:moveTo>
                    <a:pt x="169" y="211"/>
                  </a:moveTo>
                  <a:cubicBezTo>
                    <a:pt x="185" y="206"/>
                    <a:pt x="195" y="231"/>
                    <a:pt x="180" y="237"/>
                  </a:cubicBezTo>
                  <a:cubicBezTo>
                    <a:pt x="186" y="243"/>
                    <a:pt x="197" y="247"/>
                    <a:pt x="204" y="238"/>
                  </a:cubicBezTo>
                  <a:cubicBezTo>
                    <a:pt x="219" y="227"/>
                    <a:pt x="239" y="232"/>
                    <a:pt x="256" y="224"/>
                  </a:cubicBezTo>
                  <a:cubicBezTo>
                    <a:pt x="255" y="235"/>
                    <a:pt x="250" y="247"/>
                    <a:pt x="258" y="258"/>
                  </a:cubicBezTo>
                  <a:cubicBezTo>
                    <a:pt x="267" y="257"/>
                    <a:pt x="266" y="273"/>
                    <a:pt x="275" y="265"/>
                  </a:cubicBezTo>
                  <a:cubicBezTo>
                    <a:pt x="285" y="271"/>
                    <a:pt x="296" y="269"/>
                    <a:pt x="305" y="278"/>
                  </a:cubicBezTo>
                  <a:cubicBezTo>
                    <a:pt x="319" y="280"/>
                    <a:pt x="334" y="278"/>
                    <a:pt x="347" y="284"/>
                  </a:cubicBezTo>
                  <a:cubicBezTo>
                    <a:pt x="360" y="288"/>
                    <a:pt x="379" y="283"/>
                    <a:pt x="380" y="267"/>
                  </a:cubicBezTo>
                  <a:cubicBezTo>
                    <a:pt x="377" y="258"/>
                    <a:pt x="389" y="248"/>
                    <a:pt x="395" y="258"/>
                  </a:cubicBezTo>
                  <a:cubicBezTo>
                    <a:pt x="391" y="271"/>
                    <a:pt x="405" y="276"/>
                    <a:pt x="412" y="284"/>
                  </a:cubicBezTo>
                  <a:cubicBezTo>
                    <a:pt x="413" y="299"/>
                    <a:pt x="426" y="316"/>
                    <a:pt x="441" y="307"/>
                  </a:cubicBezTo>
                  <a:cubicBezTo>
                    <a:pt x="451" y="315"/>
                    <a:pt x="462" y="319"/>
                    <a:pt x="475" y="321"/>
                  </a:cubicBezTo>
                  <a:cubicBezTo>
                    <a:pt x="490" y="328"/>
                    <a:pt x="484" y="343"/>
                    <a:pt x="491" y="354"/>
                  </a:cubicBezTo>
                  <a:cubicBezTo>
                    <a:pt x="499" y="347"/>
                    <a:pt x="508" y="360"/>
                    <a:pt x="511" y="368"/>
                  </a:cubicBezTo>
                  <a:cubicBezTo>
                    <a:pt x="519" y="377"/>
                    <a:pt x="514" y="397"/>
                    <a:pt x="531" y="393"/>
                  </a:cubicBezTo>
                  <a:cubicBezTo>
                    <a:pt x="544" y="401"/>
                    <a:pt x="558" y="374"/>
                    <a:pt x="571" y="385"/>
                  </a:cubicBezTo>
                  <a:cubicBezTo>
                    <a:pt x="569" y="391"/>
                    <a:pt x="562" y="395"/>
                    <a:pt x="577" y="399"/>
                  </a:cubicBezTo>
                  <a:cubicBezTo>
                    <a:pt x="583" y="389"/>
                    <a:pt x="579" y="369"/>
                    <a:pt x="582" y="355"/>
                  </a:cubicBezTo>
                  <a:cubicBezTo>
                    <a:pt x="582" y="337"/>
                    <a:pt x="584" y="319"/>
                    <a:pt x="583" y="302"/>
                  </a:cubicBezTo>
                  <a:cubicBezTo>
                    <a:pt x="576" y="304"/>
                    <a:pt x="567" y="302"/>
                    <a:pt x="560" y="307"/>
                  </a:cubicBezTo>
                  <a:cubicBezTo>
                    <a:pt x="550" y="313"/>
                    <a:pt x="570" y="322"/>
                    <a:pt x="557" y="323"/>
                  </a:cubicBezTo>
                  <a:cubicBezTo>
                    <a:pt x="546" y="312"/>
                    <a:pt x="527" y="324"/>
                    <a:pt x="522" y="307"/>
                  </a:cubicBezTo>
                  <a:cubicBezTo>
                    <a:pt x="514" y="295"/>
                    <a:pt x="504" y="286"/>
                    <a:pt x="492" y="279"/>
                  </a:cubicBezTo>
                  <a:cubicBezTo>
                    <a:pt x="485" y="268"/>
                    <a:pt x="474" y="252"/>
                    <a:pt x="483" y="240"/>
                  </a:cubicBezTo>
                  <a:cubicBezTo>
                    <a:pt x="490" y="226"/>
                    <a:pt x="491" y="211"/>
                    <a:pt x="497" y="196"/>
                  </a:cubicBezTo>
                  <a:cubicBezTo>
                    <a:pt x="510" y="189"/>
                    <a:pt x="502" y="177"/>
                    <a:pt x="502" y="165"/>
                  </a:cubicBezTo>
                  <a:cubicBezTo>
                    <a:pt x="498" y="150"/>
                    <a:pt x="503" y="135"/>
                    <a:pt x="507" y="120"/>
                  </a:cubicBezTo>
                  <a:cubicBezTo>
                    <a:pt x="502" y="108"/>
                    <a:pt x="500" y="95"/>
                    <a:pt x="492" y="85"/>
                  </a:cubicBezTo>
                  <a:cubicBezTo>
                    <a:pt x="476" y="78"/>
                    <a:pt x="503" y="71"/>
                    <a:pt x="508" y="64"/>
                  </a:cubicBezTo>
                  <a:cubicBezTo>
                    <a:pt x="518" y="53"/>
                    <a:pt x="538" y="38"/>
                    <a:pt x="527" y="21"/>
                  </a:cubicBezTo>
                  <a:cubicBezTo>
                    <a:pt x="560" y="16"/>
                    <a:pt x="594" y="11"/>
                    <a:pt x="628" y="6"/>
                  </a:cubicBezTo>
                  <a:cubicBezTo>
                    <a:pt x="639" y="3"/>
                    <a:pt x="653" y="4"/>
                    <a:pt x="663" y="0"/>
                  </a:cubicBezTo>
                  <a:cubicBezTo>
                    <a:pt x="666" y="0"/>
                    <a:pt x="666" y="0"/>
                    <a:pt x="666" y="0"/>
                  </a:cubicBezTo>
                  <a:cubicBezTo>
                    <a:pt x="670" y="13"/>
                    <a:pt x="676" y="27"/>
                    <a:pt x="689" y="32"/>
                  </a:cubicBezTo>
                  <a:cubicBezTo>
                    <a:pt x="702" y="31"/>
                    <a:pt x="722" y="30"/>
                    <a:pt x="725" y="47"/>
                  </a:cubicBezTo>
                  <a:cubicBezTo>
                    <a:pt x="727" y="63"/>
                    <a:pt x="754" y="47"/>
                    <a:pt x="751" y="65"/>
                  </a:cubicBezTo>
                  <a:cubicBezTo>
                    <a:pt x="758" y="69"/>
                    <a:pt x="767" y="66"/>
                    <a:pt x="775" y="73"/>
                  </a:cubicBezTo>
                  <a:cubicBezTo>
                    <a:pt x="785" y="70"/>
                    <a:pt x="791" y="79"/>
                    <a:pt x="798" y="84"/>
                  </a:cubicBezTo>
                  <a:cubicBezTo>
                    <a:pt x="808" y="83"/>
                    <a:pt x="814" y="92"/>
                    <a:pt x="824" y="94"/>
                  </a:cubicBezTo>
                  <a:cubicBezTo>
                    <a:pt x="824" y="95"/>
                    <a:pt x="824" y="95"/>
                    <a:pt x="824" y="95"/>
                  </a:cubicBezTo>
                  <a:cubicBezTo>
                    <a:pt x="823" y="99"/>
                    <a:pt x="823" y="101"/>
                    <a:pt x="827" y="101"/>
                  </a:cubicBezTo>
                  <a:cubicBezTo>
                    <a:pt x="827" y="104"/>
                    <a:pt x="828" y="113"/>
                    <a:pt x="833" y="113"/>
                  </a:cubicBezTo>
                  <a:cubicBezTo>
                    <a:pt x="841" y="103"/>
                    <a:pt x="844" y="117"/>
                    <a:pt x="848" y="123"/>
                  </a:cubicBezTo>
                  <a:cubicBezTo>
                    <a:pt x="864" y="129"/>
                    <a:pt x="842" y="144"/>
                    <a:pt x="855" y="149"/>
                  </a:cubicBezTo>
                  <a:cubicBezTo>
                    <a:pt x="868" y="153"/>
                    <a:pt x="864" y="165"/>
                    <a:pt x="869" y="173"/>
                  </a:cubicBezTo>
                  <a:cubicBezTo>
                    <a:pt x="882" y="183"/>
                    <a:pt x="869" y="191"/>
                    <a:pt x="862" y="198"/>
                  </a:cubicBezTo>
                  <a:cubicBezTo>
                    <a:pt x="857" y="204"/>
                    <a:pt x="855" y="200"/>
                    <a:pt x="851" y="202"/>
                  </a:cubicBezTo>
                  <a:cubicBezTo>
                    <a:pt x="839" y="204"/>
                    <a:pt x="844" y="212"/>
                    <a:pt x="847" y="219"/>
                  </a:cubicBezTo>
                  <a:cubicBezTo>
                    <a:pt x="860" y="234"/>
                    <a:pt x="839" y="243"/>
                    <a:pt x="839" y="257"/>
                  </a:cubicBezTo>
                  <a:cubicBezTo>
                    <a:pt x="847" y="262"/>
                    <a:pt x="845" y="273"/>
                    <a:pt x="844" y="283"/>
                  </a:cubicBezTo>
                  <a:cubicBezTo>
                    <a:pt x="840" y="295"/>
                    <a:pt x="836" y="312"/>
                    <a:pt x="849" y="319"/>
                  </a:cubicBezTo>
                  <a:cubicBezTo>
                    <a:pt x="866" y="314"/>
                    <a:pt x="848" y="336"/>
                    <a:pt x="840" y="333"/>
                  </a:cubicBezTo>
                  <a:cubicBezTo>
                    <a:pt x="835" y="342"/>
                    <a:pt x="824" y="334"/>
                    <a:pt x="819" y="341"/>
                  </a:cubicBezTo>
                  <a:cubicBezTo>
                    <a:pt x="807" y="351"/>
                    <a:pt x="822" y="361"/>
                    <a:pt x="815" y="371"/>
                  </a:cubicBezTo>
                  <a:cubicBezTo>
                    <a:pt x="816" y="383"/>
                    <a:pt x="810" y="392"/>
                    <a:pt x="805" y="402"/>
                  </a:cubicBezTo>
                  <a:cubicBezTo>
                    <a:pt x="804" y="411"/>
                    <a:pt x="781" y="412"/>
                    <a:pt x="796" y="417"/>
                  </a:cubicBezTo>
                  <a:cubicBezTo>
                    <a:pt x="806" y="420"/>
                    <a:pt x="792" y="425"/>
                    <a:pt x="799" y="428"/>
                  </a:cubicBezTo>
                  <a:cubicBezTo>
                    <a:pt x="811" y="428"/>
                    <a:pt x="808" y="451"/>
                    <a:pt x="816" y="445"/>
                  </a:cubicBezTo>
                  <a:cubicBezTo>
                    <a:pt x="820" y="437"/>
                    <a:pt x="827" y="442"/>
                    <a:pt x="825" y="446"/>
                  </a:cubicBezTo>
                  <a:cubicBezTo>
                    <a:pt x="825" y="447"/>
                    <a:pt x="823" y="448"/>
                    <a:pt x="820" y="448"/>
                  </a:cubicBezTo>
                  <a:cubicBezTo>
                    <a:pt x="796" y="455"/>
                    <a:pt x="774" y="466"/>
                    <a:pt x="750" y="470"/>
                  </a:cubicBezTo>
                  <a:cubicBezTo>
                    <a:pt x="736" y="475"/>
                    <a:pt x="722" y="478"/>
                    <a:pt x="708" y="484"/>
                  </a:cubicBezTo>
                  <a:cubicBezTo>
                    <a:pt x="691" y="494"/>
                    <a:pt x="670" y="494"/>
                    <a:pt x="652" y="499"/>
                  </a:cubicBezTo>
                  <a:cubicBezTo>
                    <a:pt x="637" y="502"/>
                    <a:pt x="624" y="510"/>
                    <a:pt x="611" y="514"/>
                  </a:cubicBezTo>
                  <a:cubicBezTo>
                    <a:pt x="594" y="520"/>
                    <a:pt x="612" y="539"/>
                    <a:pt x="614" y="549"/>
                  </a:cubicBezTo>
                  <a:cubicBezTo>
                    <a:pt x="609" y="552"/>
                    <a:pt x="619" y="561"/>
                    <a:pt x="611" y="564"/>
                  </a:cubicBezTo>
                  <a:cubicBezTo>
                    <a:pt x="610" y="565"/>
                    <a:pt x="609" y="565"/>
                    <a:pt x="608" y="565"/>
                  </a:cubicBezTo>
                  <a:cubicBezTo>
                    <a:pt x="593" y="566"/>
                    <a:pt x="577" y="560"/>
                    <a:pt x="562" y="566"/>
                  </a:cubicBezTo>
                  <a:cubicBezTo>
                    <a:pt x="551" y="567"/>
                    <a:pt x="539" y="570"/>
                    <a:pt x="528" y="575"/>
                  </a:cubicBezTo>
                  <a:cubicBezTo>
                    <a:pt x="521" y="584"/>
                    <a:pt x="506" y="585"/>
                    <a:pt x="501" y="595"/>
                  </a:cubicBezTo>
                  <a:cubicBezTo>
                    <a:pt x="498" y="609"/>
                    <a:pt x="503" y="632"/>
                    <a:pt x="482" y="633"/>
                  </a:cubicBezTo>
                  <a:cubicBezTo>
                    <a:pt x="470" y="638"/>
                    <a:pt x="457" y="642"/>
                    <a:pt x="447" y="650"/>
                  </a:cubicBezTo>
                  <a:cubicBezTo>
                    <a:pt x="436" y="657"/>
                    <a:pt x="420" y="658"/>
                    <a:pt x="414" y="672"/>
                  </a:cubicBezTo>
                  <a:cubicBezTo>
                    <a:pt x="408" y="687"/>
                    <a:pt x="396" y="699"/>
                    <a:pt x="383" y="710"/>
                  </a:cubicBezTo>
                  <a:cubicBezTo>
                    <a:pt x="371" y="719"/>
                    <a:pt x="367" y="738"/>
                    <a:pt x="350" y="738"/>
                  </a:cubicBezTo>
                  <a:cubicBezTo>
                    <a:pt x="337" y="747"/>
                    <a:pt x="326" y="737"/>
                    <a:pt x="313" y="733"/>
                  </a:cubicBezTo>
                  <a:cubicBezTo>
                    <a:pt x="301" y="723"/>
                    <a:pt x="289" y="742"/>
                    <a:pt x="277" y="735"/>
                  </a:cubicBezTo>
                  <a:cubicBezTo>
                    <a:pt x="273" y="718"/>
                    <a:pt x="255" y="727"/>
                    <a:pt x="243" y="725"/>
                  </a:cubicBezTo>
                  <a:cubicBezTo>
                    <a:pt x="240" y="723"/>
                    <a:pt x="238" y="722"/>
                    <a:pt x="236" y="723"/>
                  </a:cubicBezTo>
                  <a:cubicBezTo>
                    <a:pt x="232" y="721"/>
                    <a:pt x="232" y="721"/>
                    <a:pt x="232" y="721"/>
                  </a:cubicBezTo>
                  <a:cubicBezTo>
                    <a:pt x="232" y="721"/>
                    <a:pt x="230" y="720"/>
                    <a:pt x="226" y="715"/>
                  </a:cubicBezTo>
                  <a:cubicBezTo>
                    <a:pt x="218" y="704"/>
                    <a:pt x="205" y="698"/>
                    <a:pt x="191" y="698"/>
                  </a:cubicBezTo>
                  <a:cubicBezTo>
                    <a:pt x="177" y="700"/>
                    <a:pt x="161" y="693"/>
                    <a:pt x="145" y="699"/>
                  </a:cubicBezTo>
                  <a:cubicBezTo>
                    <a:pt x="132" y="700"/>
                    <a:pt x="118" y="707"/>
                    <a:pt x="104" y="705"/>
                  </a:cubicBezTo>
                  <a:cubicBezTo>
                    <a:pt x="103" y="705"/>
                    <a:pt x="101" y="704"/>
                    <a:pt x="100" y="704"/>
                  </a:cubicBezTo>
                  <a:cubicBezTo>
                    <a:pt x="86" y="699"/>
                    <a:pt x="78" y="687"/>
                    <a:pt x="68" y="677"/>
                  </a:cubicBezTo>
                  <a:cubicBezTo>
                    <a:pt x="51" y="664"/>
                    <a:pt x="40" y="645"/>
                    <a:pt x="23" y="632"/>
                  </a:cubicBezTo>
                  <a:cubicBezTo>
                    <a:pt x="6" y="626"/>
                    <a:pt x="11" y="607"/>
                    <a:pt x="0" y="596"/>
                  </a:cubicBezTo>
                  <a:cubicBezTo>
                    <a:pt x="2" y="516"/>
                    <a:pt x="4" y="437"/>
                    <a:pt x="6" y="358"/>
                  </a:cubicBezTo>
                  <a:cubicBezTo>
                    <a:pt x="41" y="358"/>
                    <a:pt x="77" y="359"/>
                    <a:pt x="112" y="359"/>
                  </a:cubicBezTo>
                  <a:cubicBezTo>
                    <a:pt x="126" y="358"/>
                    <a:pt x="144" y="363"/>
                    <a:pt x="154" y="357"/>
                  </a:cubicBezTo>
                  <a:cubicBezTo>
                    <a:pt x="139" y="345"/>
                    <a:pt x="150" y="326"/>
                    <a:pt x="158" y="312"/>
                  </a:cubicBezTo>
                  <a:cubicBezTo>
                    <a:pt x="156" y="301"/>
                    <a:pt x="151" y="289"/>
                    <a:pt x="155" y="277"/>
                  </a:cubicBezTo>
                  <a:cubicBezTo>
                    <a:pt x="157" y="265"/>
                    <a:pt x="152" y="253"/>
                    <a:pt x="160" y="242"/>
                  </a:cubicBezTo>
                  <a:cubicBezTo>
                    <a:pt x="161" y="230"/>
                    <a:pt x="158" y="217"/>
                    <a:pt x="158" y="205"/>
                  </a:cubicBezTo>
                  <a:cubicBezTo>
                    <a:pt x="157" y="203"/>
                    <a:pt x="157" y="202"/>
                    <a:pt x="158" y="201"/>
                  </a:cubicBezTo>
                  <a:cubicBezTo>
                    <a:pt x="159" y="195"/>
                    <a:pt x="171" y="204"/>
                    <a:pt x="169" y="211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3" name="Yemen"/>
            <p:cNvSpPr>
              <a:spLocks/>
            </p:cNvSpPr>
            <p:nvPr/>
          </p:nvSpPr>
          <p:spPr bwMode="auto">
            <a:xfrm>
              <a:off x="5340826" y="3975201"/>
              <a:ext cx="266227" cy="172742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7" y="7"/>
                </a:cxn>
                <a:cxn ang="0">
                  <a:pos x="15" y="18"/>
                </a:cxn>
                <a:cxn ang="0">
                  <a:pos x="32" y="4"/>
                </a:cxn>
                <a:cxn ang="0">
                  <a:pos x="46" y="0"/>
                </a:cxn>
                <a:cxn ang="0">
                  <a:pos x="48" y="7"/>
                </a:cxn>
                <a:cxn ang="0">
                  <a:pos x="48" y="9"/>
                </a:cxn>
                <a:cxn ang="0">
                  <a:pos x="46" y="9"/>
                </a:cxn>
                <a:cxn ang="0">
                  <a:pos x="46" y="13"/>
                </a:cxn>
                <a:cxn ang="0">
                  <a:pos x="34" y="18"/>
                </a:cxn>
                <a:cxn ang="0">
                  <a:pos x="23" y="29"/>
                </a:cxn>
                <a:cxn ang="0">
                  <a:pos x="15" y="29"/>
                </a:cxn>
                <a:cxn ang="0">
                  <a:pos x="11" y="31"/>
                </a:cxn>
                <a:cxn ang="0">
                  <a:pos x="7" y="31"/>
                </a:cxn>
                <a:cxn ang="0">
                  <a:pos x="2" y="20"/>
                </a:cxn>
                <a:cxn ang="0">
                  <a:pos x="0" y="9"/>
                </a:cxn>
              </a:cxnLst>
              <a:rect l="0" t="0" r="r" b="b"/>
              <a:pathLst>
                <a:path w="48" h="31">
                  <a:moveTo>
                    <a:pt x="0" y="9"/>
                  </a:moveTo>
                  <a:lnTo>
                    <a:pt x="7" y="7"/>
                  </a:lnTo>
                  <a:lnTo>
                    <a:pt x="15" y="18"/>
                  </a:lnTo>
                  <a:lnTo>
                    <a:pt x="32" y="4"/>
                  </a:lnTo>
                  <a:lnTo>
                    <a:pt x="46" y="0"/>
                  </a:lnTo>
                  <a:lnTo>
                    <a:pt x="48" y="7"/>
                  </a:lnTo>
                  <a:lnTo>
                    <a:pt x="48" y="9"/>
                  </a:lnTo>
                  <a:lnTo>
                    <a:pt x="46" y="9"/>
                  </a:lnTo>
                  <a:lnTo>
                    <a:pt x="46" y="13"/>
                  </a:lnTo>
                  <a:lnTo>
                    <a:pt x="34" y="18"/>
                  </a:lnTo>
                  <a:lnTo>
                    <a:pt x="23" y="29"/>
                  </a:lnTo>
                  <a:lnTo>
                    <a:pt x="15" y="29"/>
                  </a:lnTo>
                  <a:lnTo>
                    <a:pt x="11" y="31"/>
                  </a:lnTo>
                  <a:lnTo>
                    <a:pt x="7" y="31"/>
                  </a:lnTo>
                  <a:lnTo>
                    <a:pt x="2" y="20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4" name="Vietnam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6874364" y="3814113"/>
              <a:ext cx="216352" cy="451449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11"/>
                </a:cxn>
                <a:cxn ang="0">
                  <a:pos x="10" y="15"/>
                </a:cxn>
                <a:cxn ang="0">
                  <a:pos x="12" y="18"/>
                </a:cxn>
                <a:cxn ang="0">
                  <a:pos x="10" y="20"/>
                </a:cxn>
                <a:cxn ang="0">
                  <a:pos x="21" y="33"/>
                </a:cxn>
                <a:cxn ang="0">
                  <a:pos x="21" y="36"/>
                </a:cxn>
                <a:cxn ang="0">
                  <a:pos x="27" y="42"/>
                </a:cxn>
                <a:cxn ang="0">
                  <a:pos x="31" y="47"/>
                </a:cxn>
                <a:cxn ang="0">
                  <a:pos x="31" y="60"/>
                </a:cxn>
                <a:cxn ang="0">
                  <a:pos x="25" y="67"/>
                </a:cxn>
                <a:cxn ang="0">
                  <a:pos x="21" y="69"/>
                </a:cxn>
                <a:cxn ang="0">
                  <a:pos x="16" y="72"/>
                </a:cxn>
                <a:cxn ang="0">
                  <a:pos x="19" y="76"/>
                </a:cxn>
                <a:cxn ang="0">
                  <a:pos x="19" y="81"/>
                </a:cxn>
                <a:cxn ang="0">
                  <a:pos x="27" y="78"/>
                </a:cxn>
                <a:cxn ang="0">
                  <a:pos x="27" y="72"/>
                </a:cxn>
                <a:cxn ang="0">
                  <a:pos x="31" y="72"/>
                </a:cxn>
                <a:cxn ang="0">
                  <a:pos x="39" y="67"/>
                </a:cxn>
                <a:cxn ang="0">
                  <a:pos x="39" y="54"/>
                </a:cxn>
                <a:cxn ang="0">
                  <a:pos x="35" y="45"/>
                </a:cxn>
                <a:cxn ang="0">
                  <a:pos x="19" y="27"/>
                </a:cxn>
                <a:cxn ang="0">
                  <a:pos x="16" y="24"/>
                </a:cxn>
                <a:cxn ang="0">
                  <a:pos x="19" y="18"/>
                </a:cxn>
                <a:cxn ang="0">
                  <a:pos x="21" y="11"/>
                </a:cxn>
                <a:cxn ang="0">
                  <a:pos x="27" y="9"/>
                </a:cxn>
                <a:cxn ang="0">
                  <a:pos x="21" y="4"/>
                </a:cxn>
                <a:cxn ang="0">
                  <a:pos x="19" y="2"/>
                </a:cxn>
                <a:cxn ang="0">
                  <a:pos x="12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39" h="81">
                  <a:moveTo>
                    <a:pt x="0" y="2"/>
                  </a:moveTo>
                  <a:lnTo>
                    <a:pt x="4" y="11"/>
                  </a:lnTo>
                  <a:lnTo>
                    <a:pt x="10" y="15"/>
                  </a:lnTo>
                  <a:lnTo>
                    <a:pt x="12" y="18"/>
                  </a:lnTo>
                  <a:lnTo>
                    <a:pt x="10" y="20"/>
                  </a:lnTo>
                  <a:lnTo>
                    <a:pt x="21" y="33"/>
                  </a:lnTo>
                  <a:lnTo>
                    <a:pt x="21" y="36"/>
                  </a:lnTo>
                  <a:lnTo>
                    <a:pt x="27" y="42"/>
                  </a:lnTo>
                  <a:lnTo>
                    <a:pt x="31" y="47"/>
                  </a:lnTo>
                  <a:lnTo>
                    <a:pt x="31" y="60"/>
                  </a:lnTo>
                  <a:lnTo>
                    <a:pt x="25" y="67"/>
                  </a:lnTo>
                  <a:lnTo>
                    <a:pt x="21" y="69"/>
                  </a:lnTo>
                  <a:lnTo>
                    <a:pt x="16" y="72"/>
                  </a:lnTo>
                  <a:lnTo>
                    <a:pt x="19" y="76"/>
                  </a:lnTo>
                  <a:lnTo>
                    <a:pt x="19" y="81"/>
                  </a:lnTo>
                  <a:lnTo>
                    <a:pt x="27" y="78"/>
                  </a:lnTo>
                  <a:lnTo>
                    <a:pt x="27" y="72"/>
                  </a:lnTo>
                  <a:lnTo>
                    <a:pt x="31" y="72"/>
                  </a:lnTo>
                  <a:lnTo>
                    <a:pt x="39" y="67"/>
                  </a:lnTo>
                  <a:lnTo>
                    <a:pt x="39" y="54"/>
                  </a:lnTo>
                  <a:lnTo>
                    <a:pt x="35" y="45"/>
                  </a:lnTo>
                  <a:lnTo>
                    <a:pt x="19" y="27"/>
                  </a:lnTo>
                  <a:lnTo>
                    <a:pt x="16" y="24"/>
                  </a:lnTo>
                  <a:lnTo>
                    <a:pt x="19" y="18"/>
                  </a:lnTo>
                  <a:lnTo>
                    <a:pt x="21" y="11"/>
                  </a:lnTo>
                  <a:lnTo>
                    <a:pt x="27" y="9"/>
                  </a:lnTo>
                  <a:lnTo>
                    <a:pt x="21" y="4"/>
                  </a:lnTo>
                  <a:lnTo>
                    <a:pt x="19" y="2"/>
                  </a:lnTo>
                  <a:lnTo>
                    <a:pt x="1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5" name="Venezuela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336509" y="4165239"/>
              <a:ext cx="332850" cy="362274"/>
            </a:xfrm>
            <a:custGeom>
              <a:avLst/>
              <a:gdLst/>
              <a:ahLst/>
              <a:cxnLst>
                <a:cxn ang="0">
                  <a:pos x="60" y="22"/>
                </a:cxn>
                <a:cxn ang="0">
                  <a:pos x="56" y="24"/>
                </a:cxn>
                <a:cxn ang="0">
                  <a:pos x="56" y="27"/>
                </a:cxn>
                <a:cxn ang="0">
                  <a:pos x="58" y="31"/>
                </a:cxn>
                <a:cxn ang="0">
                  <a:pos x="56" y="31"/>
                </a:cxn>
                <a:cxn ang="0">
                  <a:pos x="52" y="36"/>
                </a:cxn>
                <a:cxn ang="0">
                  <a:pos x="56" y="40"/>
                </a:cxn>
                <a:cxn ang="0">
                  <a:pos x="56" y="42"/>
                </a:cxn>
                <a:cxn ang="0">
                  <a:pos x="44" y="49"/>
                </a:cxn>
                <a:cxn ang="0">
                  <a:pos x="35" y="47"/>
                </a:cxn>
                <a:cxn ang="0">
                  <a:pos x="39" y="49"/>
                </a:cxn>
                <a:cxn ang="0">
                  <a:pos x="39" y="56"/>
                </a:cxn>
                <a:cxn ang="0">
                  <a:pos x="41" y="58"/>
                </a:cxn>
                <a:cxn ang="0">
                  <a:pos x="33" y="65"/>
                </a:cxn>
                <a:cxn ang="0">
                  <a:pos x="27" y="65"/>
                </a:cxn>
                <a:cxn ang="0">
                  <a:pos x="27" y="60"/>
                </a:cxn>
                <a:cxn ang="0">
                  <a:pos x="21" y="51"/>
                </a:cxn>
                <a:cxn ang="0">
                  <a:pos x="25" y="51"/>
                </a:cxn>
                <a:cxn ang="0">
                  <a:pos x="21" y="42"/>
                </a:cxn>
                <a:cxn ang="0">
                  <a:pos x="25" y="33"/>
                </a:cxn>
                <a:cxn ang="0">
                  <a:pos x="16" y="33"/>
                </a:cxn>
                <a:cxn ang="0">
                  <a:pos x="12" y="31"/>
                </a:cxn>
                <a:cxn ang="0">
                  <a:pos x="4" y="27"/>
                </a:cxn>
                <a:cxn ang="0">
                  <a:pos x="2" y="27"/>
                </a:cxn>
                <a:cxn ang="0">
                  <a:pos x="2" y="24"/>
                </a:cxn>
                <a:cxn ang="0">
                  <a:pos x="0" y="15"/>
                </a:cxn>
                <a:cxn ang="0">
                  <a:pos x="2" y="6"/>
                </a:cxn>
                <a:cxn ang="0">
                  <a:pos x="4" y="4"/>
                </a:cxn>
                <a:cxn ang="0">
                  <a:pos x="8" y="9"/>
                </a:cxn>
                <a:cxn ang="0">
                  <a:pos x="4" y="13"/>
                </a:cxn>
                <a:cxn ang="0">
                  <a:pos x="4" y="18"/>
                </a:cxn>
                <a:cxn ang="0">
                  <a:pos x="8" y="15"/>
                </a:cxn>
                <a:cxn ang="0">
                  <a:pos x="8" y="6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1" y="6"/>
                </a:cxn>
                <a:cxn ang="0">
                  <a:pos x="21" y="9"/>
                </a:cxn>
                <a:cxn ang="0">
                  <a:pos x="31" y="9"/>
                </a:cxn>
                <a:cxn ang="0">
                  <a:pos x="35" y="13"/>
                </a:cxn>
                <a:cxn ang="0">
                  <a:pos x="41" y="9"/>
                </a:cxn>
                <a:cxn ang="0">
                  <a:pos x="50" y="9"/>
                </a:cxn>
                <a:cxn ang="0">
                  <a:pos x="48" y="9"/>
                </a:cxn>
                <a:cxn ang="0">
                  <a:pos x="50" y="13"/>
                </a:cxn>
                <a:cxn ang="0">
                  <a:pos x="56" y="15"/>
                </a:cxn>
                <a:cxn ang="0">
                  <a:pos x="56" y="22"/>
                </a:cxn>
                <a:cxn ang="0">
                  <a:pos x="58" y="22"/>
                </a:cxn>
                <a:cxn ang="0">
                  <a:pos x="60" y="22"/>
                </a:cxn>
              </a:cxnLst>
              <a:rect l="0" t="0" r="r" b="b"/>
              <a:pathLst>
                <a:path w="60" h="65">
                  <a:moveTo>
                    <a:pt x="60" y="22"/>
                  </a:moveTo>
                  <a:lnTo>
                    <a:pt x="56" y="24"/>
                  </a:lnTo>
                  <a:lnTo>
                    <a:pt x="56" y="27"/>
                  </a:lnTo>
                  <a:lnTo>
                    <a:pt x="58" y="31"/>
                  </a:lnTo>
                  <a:lnTo>
                    <a:pt x="56" y="31"/>
                  </a:lnTo>
                  <a:lnTo>
                    <a:pt x="52" y="36"/>
                  </a:lnTo>
                  <a:lnTo>
                    <a:pt x="56" y="40"/>
                  </a:lnTo>
                  <a:lnTo>
                    <a:pt x="56" y="42"/>
                  </a:lnTo>
                  <a:lnTo>
                    <a:pt x="44" y="49"/>
                  </a:lnTo>
                  <a:lnTo>
                    <a:pt x="35" y="47"/>
                  </a:lnTo>
                  <a:lnTo>
                    <a:pt x="39" y="49"/>
                  </a:lnTo>
                  <a:lnTo>
                    <a:pt x="39" y="56"/>
                  </a:lnTo>
                  <a:lnTo>
                    <a:pt x="41" y="58"/>
                  </a:lnTo>
                  <a:lnTo>
                    <a:pt x="33" y="65"/>
                  </a:lnTo>
                  <a:lnTo>
                    <a:pt x="27" y="65"/>
                  </a:lnTo>
                  <a:lnTo>
                    <a:pt x="27" y="60"/>
                  </a:lnTo>
                  <a:lnTo>
                    <a:pt x="21" y="51"/>
                  </a:lnTo>
                  <a:lnTo>
                    <a:pt x="25" y="51"/>
                  </a:lnTo>
                  <a:lnTo>
                    <a:pt x="21" y="42"/>
                  </a:lnTo>
                  <a:lnTo>
                    <a:pt x="25" y="33"/>
                  </a:lnTo>
                  <a:lnTo>
                    <a:pt x="16" y="33"/>
                  </a:lnTo>
                  <a:lnTo>
                    <a:pt x="12" y="31"/>
                  </a:lnTo>
                  <a:lnTo>
                    <a:pt x="4" y="27"/>
                  </a:lnTo>
                  <a:lnTo>
                    <a:pt x="2" y="27"/>
                  </a:lnTo>
                  <a:lnTo>
                    <a:pt x="2" y="24"/>
                  </a:lnTo>
                  <a:lnTo>
                    <a:pt x="0" y="15"/>
                  </a:lnTo>
                  <a:lnTo>
                    <a:pt x="2" y="6"/>
                  </a:lnTo>
                  <a:lnTo>
                    <a:pt x="4" y="4"/>
                  </a:lnTo>
                  <a:lnTo>
                    <a:pt x="8" y="9"/>
                  </a:lnTo>
                  <a:lnTo>
                    <a:pt x="4" y="13"/>
                  </a:lnTo>
                  <a:lnTo>
                    <a:pt x="4" y="18"/>
                  </a:lnTo>
                  <a:lnTo>
                    <a:pt x="8" y="15"/>
                  </a:lnTo>
                  <a:lnTo>
                    <a:pt x="8" y="6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21" y="6"/>
                  </a:lnTo>
                  <a:lnTo>
                    <a:pt x="21" y="9"/>
                  </a:lnTo>
                  <a:lnTo>
                    <a:pt x="31" y="9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50" y="9"/>
                  </a:lnTo>
                  <a:lnTo>
                    <a:pt x="48" y="9"/>
                  </a:lnTo>
                  <a:lnTo>
                    <a:pt x="50" y="13"/>
                  </a:lnTo>
                  <a:lnTo>
                    <a:pt x="56" y="15"/>
                  </a:lnTo>
                  <a:lnTo>
                    <a:pt x="56" y="22"/>
                  </a:lnTo>
                  <a:lnTo>
                    <a:pt x="58" y="22"/>
                  </a:lnTo>
                  <a:lnTo>
                    <a:pt x="60" y="2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6" name="Vatican City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4521338" y="3139724"/>
              <a:ext cx="11095" cy="5016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2" y="9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9">
                  <a:moveTo>
                    <a:pt x="0" y="0"/>
                  </a:moveTo>
                  <a:lnTo>
                    <a:pt x="0" y="4"/>
                  </a:lnTo>
                  <a:lnTo>
                    <a:pt x="2" y="9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7" name="Uzbekistan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5576249" y="3095139"/>
              <a:ext cx="438252" cy="261952"/>
            </a:xfrm>
            <a:custGeom>
              <a:avLst/>
              <a:gdLst/>
              <a:ahLst/>
              <a:cxnLst>
                <a:cxn ang="0">
                  <a:pos x="54" y="45"/>
                </a:cxn>
                <a:cxn ang="0">
                  <a:pos x="61" y="47"/>
                </a:cxn>
                <a:cxn ang="0">
                  <a:pos x="63" y="43"/>
                </a:cxn>
                <a:cxn ang="0">
                  <a:pos x="61" y="36"/>
                </a:cxn>
                <a:cxn ang="0">
                  <a:pos x="58" y="34"/>
                </a:cxn>
                <a:cxn ang="0">
                  <a:pos x="63" y="34"/>
                </a:cxn>
                <a:cxn ang="0">
                  <a:pos x="63" y="27"/>
                </a:cxn>
                <a:cxn ang="0">
                  <a:pos x="69" y="25"/>
                </a:cxn>
                <a:cxn ang="0">
                  <a:pos x="69" y="29"/>
                </a:cxn>
                <a:cxn ang="0">
                  <a:pos x="75" y="29"/>
                </a:cxn>
                <a:cxn ang="0">
                  <a:pos x="79" y="27"/>
                </a:cxn>
                <a:cxn ang="0">
                  <a:pos x="71" y="20"/>
                </a:cxn>
                <a:cxn ang="0">
                  <a:pos x="71" y="25"/>
                </a:cxn>
                <a:cxn ang="0">
                  <a:pos x="67" y="20"/>
                </a:cxn>
                <a:cxn ang="0">
                  <a:pos x="61" y="25"/>
                </a:cxn>
                <a:cxn ang="0">
                  <a:pos x="52" y="25"/>
                </a:cxn>
                <a:cxn ang="0">
                  <a:pos x="52" y="20"/>
                </a:cxn>
                <a:cxn ang="0">
                  <a:pos x="48" y="20"/>
                </a:cxn>
                <a:cxn ang="0">
                  <a:pos x="46" y="16"/>
                </a:cxn>
                <a:cxn ang="0">
                  <a:pos x="40" y="9"/>
                </a:cxn>
                <a:cxn ang="0">
                  <a:pos x="29" y="11"/>
                </a:cxn>
                <a:cxn ang="0">
                  <a:pos x="13" y="0"/>
                </a:cxn>
                <a:cxn ang="0">
                  <a:pos x="0" y="2"/>
                </a:cxn>
                <a:cxn ang="0">
                  <a:pos x="6" y="25"/>
                </a:cxn>
                <a:cxn ang="0">
                  <a:pos x="8" y="25"/>
                </a:cxn>
                <a:cxn ang="0">
                  <a:pos x="8" y="20"/>
                </a:cxn>
                <a:cxn ang="0">
                  <a:pos x="13" y="16"/>
                </a:cxn>
                <a:cxn ang="0">
                  <a:pos x="15" y="16"/>
                </a:cxn>
                <a:cxn ang="0">
                  <a:pos x="21" y="18"/>
                </a:cxn>
                <a:cxn ang="0">
                  <a:pos x="23" y="25"/>
                </a:cxn>
                <a:cxn ang="0">
                  <a:pos x="31" y="25"/>
                </a:cxn>
                <a:cxn ang="0">
                  <a:pos x="35" y="29"/>
                </a:cxn>
                <a:cxn ang="0">
                  <a:pos x="48" y="38"/>
                </a:cxn>
                <a:cxn ang="0">
                  <a:pos x="54" y="43"/>
                </a:cxn>
                <a:cxn ang="0">
                  <a:pos x="54" y="45"/>
                </a:cxn>
              </a:cxnLst>
              <a:rect l="0" t="0" r="r" b="b"/>
              <a:pathLst>
                <a:path w="79" h="47">
                  <a:moveTo>
                    <a:pt x="54" y="45"/>
                  </a:moveTo>
                  <a:lnTo>
                    <a:pt x="61" y="47"/>
                  </a:lnTo>
                  <a:lnTo>
                    <a:pt x="63" y="43"/>
                  </a:lnTo>
                  <a:lnTo>
                    <a:pt x="61" y="36"/>
                  </a:lnTo>
                  <a:lnTo>
                    <a:pt x="58" y="34"/>
                  </a:lnTo>
                  <a:lnTo>
                    <a:pt x="63" y="34"/>
                  </a:lnTo>
                  <a:lnTo>
                    <a:pt x="63" y="27"/>
                  </a:lnTo>
                  <a:lnTo>
                    <a:pt x="69" y="25"/>
                  </a:lnTo>
                  <a:lnTo>
                    <a:pt x="69" y="29"/>
                  </a:lnTo>
                  <a:lnTo>
                    <a:pt x="75" y="29"/>
                  </a:lnTo>
                  <a:lnTo>
                    <a:pt x="79" y="27"/>
                  </a:lnTo>
                  <a:lnTo>
                    <a:pt x="71" y="20"/>
                  </a:lnTo>
                  <a:lnTo>
                    <a:pt x="71" y="25"/>
                  </a:lnTo>
                  <a:lnTo>
                    <a:pt x="67" y="20"/>
                  </a:lnTo>
                  <a:lnTo>
                    <a:pt x="61" y="25"/>
                  </a:lnTo>
                  <a:lnTo>
                    <a:pt x="52" y="25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6" y="16"/>
                  </a:lnTo>
                  <a:lnTo>
                    <a:pt x="40" y="9"/>
                  </a:lnTo>
                  <a:lnTo>
                    <a:pt x="29" y="11"/>
                  </a:lnTo>
                  <a:lnTo>
                    <a:pt x="13" y="0"/>
                  </a:lnTo>
                  <a:lnTo>
                    <a:pt x="0" y="2"/>
                  </a:lnTo>
                  <a:lnTo>
                    <a:pt x="6" y="25"/>
                  </a:lnTo>
                  <a:lnTo>
                    <a:pt x="8" y="25"/>
                  </a:lnTo>
                  <a:lnTo>
                    <a:pt x="8" y="20"/>
                  </a:lnTo>
                  <a:lnTo>
                    <a:pt x="13" y="16"/>
                  </a:lnTo>
                  <a:lnTo>
                    <a:pt x="15" y="16"/>
                  </a:lnTo>
                  <a:lnTo>
                    <a:pt x="21" y="18"/>
                  </a:lnTo>
                  <a:lnTo>
                    <a:pt x="23" y="25"/>
                  </a:lnTo>
                  <a:lnTo>
                    <a:pt x="31" y="25"/>
                  </a:lnTo>
                  <a:lnTo>
                    <a:pt x="35" y="29"/>
                  </a:lnTo>
                  <a:lnTo>
                    <a:pt x="48" y="38"/>
                  </a:lnTo>
                  <a:lnTo>
                    <a:pt x="54" y="43"/>
                  </a:lnTo>
                  <a:lnTo>
                    <a:pt x="54" y="4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8" name="Uruguay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796952" y="5530731"/>
              <a:ext cx="127592" cy="150483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9" y="5"/>
                </a:cxn>
                <a:cxn ang="0">
                  <a:pos x="9" y="2"/>
                </a:cxn>
                <a:cxn ang="0">
                  <a:pos x="21" y="9"/>
                </a:cxn>
                <a:cxn ang="0">
                  <a:pos x="23" y="16"/>
                </a:cxn>
                <a:cxn ang="0">
                  <a:pos x="23" y="20"/>
                </a:cxn>
                <a:cxn ang="0">
                  <a:pos x="21" y="25"/>
                </a:cxn>
                <a:cxn ang="0">
                  <a:pos x="13" y="27"/>
                </a:cxn>
                <a:cxn ang="0">
                  <a:pos x="6" y="25"/>
                </a:cxn>
                <a:cxn ang="0">
                  <a:pos x="0" y="20"/>
                </a:cxn>
              </a:cxnLst>
              <a:rect l="0" t="0" r="r" b="b"/>
              <a:pathLst>
                <a:path w="23" h="27">
                  <a:moveTo>
                    <a:pt x="0" y="20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9" y="5"/>
                  </a:lnTo>
                  <a:lnTo>
                    <a:pt x="9" y="2"/>
                  </a:lnTo>
                  <a:lnTo>
                    <a:pt x="21" y="9"/>
                  </a:lnTo>
                  <a:lnTo>
                    <a:pt x="23" y="16"/>
                  </a:lnTo>
                  <a:lnTo>
                    <a:pt x="23" y="20"/>
                  </a:lnTo>
                  <a:lnTo>
                    <a:pt x="21" y="25"/>
                  </a:lnTo>
                  <a:lnTo>
                    <a:pt x="13" y="27"/>
                  </a:lnTo>
                  <a:lnTo>
                    <a:pt x="6" y="25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19" name="USA"/>
            <p:cNvGrpSpPr/>
            <p:nvPr/>
          </p:nvGrpSpPr>
          <p:grpSpPr>
            <a:xfrm>
              <a:off x="644522" y="2331578"/>
              <a:ext cx="2047028" cy="1404506"/>
              <a:chOff x="644522" y="2331578"/>
              <a:chExt cx="2047028" cy="1404506"/>
            </a:xfrm>
            <a:grpFill/>
          </p:grpSpPr>
          <p:sp>
            <p:nvSpPr>
              <p:cNvPr id="381" name="USA"/>
              <p:cNvSpPr>
                <a:spLocks/>
              </p:cNvSpPr>
              <p:nvPr>
                <p:custDataLst>
                  <p:tags r:id="rId269"/>
                </p:custDataLst>
              </p:nvPr>
            </p:nvSpPr>
            <p:spPr bwMode="auto">
              <a:xfrm>
                <a:off x="794305" y="2632543"/>
                <a:ext cx="49927" cy="2229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4"/>
                  </a:cxn>
                  <a:cxn ang="0">
                    <a:pos x="9" y="0"/>
                  </a:cxn>
                  <a:cxn ang="0">
                    <a:pos x="4" y="0"/>
                  </a:cxn>
                  <a:cxn ang="0">
                    <a:pos x="0" y="0"/>
                  </a:cxn>
                </a:cxnLst>
                <a:rect l="0" t="0" r="r" b="b"/>
                <a:pathLst>
                  <a:path w="9" h="4">
                    <a:moveTo>
                      <a:pt x="0" y="0"/>
                    </a:moveTo>
                    <a:lnTo>
                      <a:pt x="2" y="4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82" name="USA"/>
              <p:cNvSpPr>
                <a:spLocks/>
              </p:cNvSpPr>
              <p:nvPr>
                <p:custDataLst>
                  <p:tags r:id="rId270"/>
                </p:custDataLst>
              </p:nvPr>
            </p:nvSpPr>
            <p:spPr bwMode="auto">
              <a:xfrm>
                <a:off x="966278" y="2682705"/>
                <a:ext cx="72117" cy="50161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11" y="7"/>
                  </a:cxn>
                  <a:cxn ang="0">
                    <a:pos x="11" y="4"/>
                  </a:cxn>
                  <a:cxn ang="0">
                    <a:pos x="13" y="4"/>
                  </a:cxn>
                  <a:cxn ang="0">
                    <a:pos x="13" y="0"/>
                  </a:cxn>
                  <a:cxn ang="0">
                    <a:pos x="7" y="4"/>
                  </a:cxn>
                  <a:cxn ang="0">
                    <a:pos x="0" y="9"/>
                  </a:cxn>
                </a:cxnLst>
                <a:rect l="0" t="0" r="r" b="b"/>
                <a:pathLst>
                  <a:path w="13" h="9">
                    <a:moveTo>
                      <a:pt x="0" y="9"/>
                    </a:moveTo>
                    <a:lnTo>
                      <a:pt x="11" y="7"/>
                    </a:lnTo>
                    <a:lnTo>
                      <a:pt x="11" y="4"/>
                    </a:lnTo>
                    <a:lnTo>
                      <a:pt x="13" y="4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83" name="USA"/>
              <p:cNvSpPr>
                <a:spLocks/>
              </p:cNvSpPr>
              <p:nvPr>
                <p:custDataLst>
                  <p:tags r:id="rId271"/>
                </p:custDataLst>
              </p:nvPr>
            </p:nvSpPr>
            <p:spPr bwMode="auto">
              <a:xfrm>
                <a:off x="2475197" y="3245622"/>
                <a:ext cx="55475" cy="1114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2"/>
                  </a:cxn>
                </a:cxnLst>
                <a:rect l="0" t="0" r="r" b="b"/>
                <a:pathLst>
                  <a:path w="10" h="2">
                    <a:moveTo>
                      <a:pt x="0" y="2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84" name="USA"/>
              <p:cNvSpPr>
                <a:spLocks/>
              </p:cNvSpPr>
              <p:nvPr>
                <p:custDataLst>
                  <p:tags r:id="rId272"/>
                </p:custDataLst>
              </p:nvPr>
            </p:nvSpPr>
            <p:spPr bwMode="auto">
              <a:xfrm>
                <a:off x="2336510" y="3072845"/>
                <a:ext cx="22190" cy="2229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4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4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85" name="USA"/>
              <p:cNvSpPr>
                <a:spLocks/>
              </p:cNvSpPr>
              <p:nvPr>
                <p:custDataLst>
                  <p:tags r:id="rId273"/>
                </p:custDataLst>
              </p:nvPr>
            </p:nvSpPr>
            <p:spPr bwMode="auto">
              <a:xfrm>
                <a:off x="644522" y="2331578"/>
                <a:ext cx="1009645" cy="490462"/>
              </a:xfrm>
              <a:custGeom>
                <a:avLst/>
                <a:gdLst/>
                <a:ahLst/>
                <a:cxnLst>
                  <a:cxn ang="0">
                    <a:pos x="134" y="54"/>
                  </a:cxn>
                  <a:cxn ang="0">
                    <a:pos x="134" y="61"/>
                  </a:cxn>
                  <a:cxn ang="0">
                    <a:pos x="146" y="63"/>
                  </a:cxn>
                  <a:cxn ang="0">
                    <a:pos x="146" y="79"/>
                  </a:cxn>
                  <a:cxn ang="0">
                    <a:pos x="140" y="85"/>
                  </a:cxn>
                  <a:cxn ang="0">
                    <a:pos x="138" y="79"/>
                  </a:cxn>
                  <a:cxn ang="0">
                    <a:pos x="138" y="76"/>
                  </a:cxn>
                  <a:cxn ang="0">
                    <a:pos x="132" y="81"/>
                  </a:cxn>
                  <a:cxn ang="0">
                    <a:pos x="132" y="76"/>
                  </a:cxn>
                  <a:cxn ang="0">
                    <a:pos x="138" y="72"/>
                  </a:cxn>
                  <a:cxn ang="0">
                    <a:pos x="140" y="70"/>
                  </a:cxn>
                  <a:cxn ang="0">
                    <a:pos x="138" y="67"/>
                  </a:cxn>
                  <a:cxn ang="0">
                    <a:pos x="127" y="61"/>
                  </a:cxn>
                  <a:cxn ang="0">
                    <a:pos x="125" y="58"/>
                  </a:cxn>
                  <a:cxn ang="0">
                    <a:pos x="109" y="52"/>
                  </a:cxn>
                  <a:cxn ang="0">
                    <a:pos x="94" y="58"/>
                  </a:cxn>
                  <a:cxn ang="0">
                    <a:pos x="71" y="61"/>
                  </a:cxn>
                  <a:cxn ang="0">
                    <a:pos x="69" y="63"/>
                  </a:cxn>
                  <a:cxn ang="0">
                    <a:pos x="36" y="79"/>
                  </a:cxn>
                  <a:cxn ang="0">
                    <a:pos x="50" y="70"/>
                  </a:cxn>
                  <a:cxn ang="0">
                    <a:pos x="50" y="63"/>
                  </a:cxn>
                  <a:cxn ang="0">
                    <a:pos x="46" y="58"/>
                  </a:cxn>
                  <a:cxn ang="0">
                    <a:pos x="40" y="47"/>
                  </a:cxn>
                  <a:cxn ang="0">
                    <a:pos x="71" y="38"/>
                  </a:cxn>
                  <a:cxn ang="0">
                    <a:pos x="71" y="34"/>
                  </a:cxn>
                  <a:cxn ang="0">
                    <a:pos x="63" y="29"/>
                  </a:cxn>
                  <a:cxn ang="0">
                    <a:pos x="77" y="25"/>
                  </a:cxn>
                  <a:cxn ang="0">
                    <a:pos x="77" y="25"/>
                  </a:cxn>
                  <a:cxn ang="0">
                    <a:pos x="86" y="20"/>
                  </a:cxn>
                  <a:cxn ang="0">
                    <a:pos x="86" y="16"/>
                  </a:cxn>
                  <a:cxn ang="0">
                    <a:pos x="100" y="11"/>
                  </a:cxn>
                  <a:cxn ang="0">
                    <a:pos x="140" y="0"/>
                  </a:cxn>
                  <a:cxn ang="0">
                    <a:pos x="142" y="2"/>
                  </a:cxn>
                  <a:cxn ang="0">
                    <a:pos x="177" y="4"/>
                  </a:cxn>
                  <a:cxn ang="0">
                    <a:pos x="154" y="31"/>
                  </a:cxn>
                </a:cxnLst>
                <a:rect l="0" t="0" r="r" b="b"/>
                <a:pathLst>
                  <a:path w="182" h="88">
                    <a:moveTo>
                      <a:pt x="127" y="54"/>
                    </a:moveTo>
                    <a:lnTo>
                      <a:pt x="134" y="54"/>
                    </a:lnTo>
                    <a:lnTo>
                      <a:pt x="132" y="58"/>
                    </a:lnTo>
                    <a:lnTo>
                      <a:pt x="134" y="61"/>
                    </a:lnTo>
                    <a:lnTo>
                      <a:pt x="146" y="58"/>
                    </a:lnTo>
                    <a:lnTo>
                      <a:pt x="146" y="63"/>
                    </a:lnTo>
                    <a:lnTo>
                      <a:pt x="142" y="76"/>
                    </a:lnTo>
                    <a:lnTo>
                      <a:pt x="146" y="79"/>
                    </a:lnTo>
                    <a:lnTo>
                      <a:pt x="142" y="85"/>
                    </a:lnTo>
                    <a:lnTo>
                      <a:pt x="140" y="85"/>
                    </a:lnTo>
                    <a:lnTo>
                      <a:pt x="138" y="85"/>
                    </a:lnTo>
                    <a:lnTo>
                      <a:pt x="138" y="79"/>
                    </a:lnTo>
                    <a:lnTo>
                      <a:pt x="140" y="79"/>
                    </a:lnTo>
                    <a:lnTo>
                      <a:pt x="138" y="76"/>
                    </a:lnTo>
                    <a:lnTo>
                      <a:pt x="134" y="85"/>
                    </a:lnTo>
                    <a:lnTo>
                      <a:pt x="132" y="81"/>
                    </a:lnTo>
                    <a:lnTo>
                      <a:pt x="134" y="76"/>
                    </a:lnTo>
                    <a:lnTo>
                      <a:pt x="132" y="76"/>
                    </a:lnTo>
                    <a:lnTo>
                      <a:pt x="134" y="72"/>
                    </a:lnTo>
                    <a:lnTo>
                      <a:pt x="138" y="72"/>
                    </a:lnTo>
                    <a:lnTo>
                      <a:pt x="140" y="72"/>
                    </a:lnTo>
                    <a:lnTo>
                      <a:pt x="140" y="70"/>
                    </a:lnTo>
                    <a:lnTo>
                      <a:pt x="134" y="72"/>
                    </a:lnTo>
                    <a:lnTo>
                      <a:pt x="138" y="67"/>
                    </a:lnTo>
                    <a:lnTo>
                      <a:pt x="134" y="67"/>
                    </a:lnTo>
                    <a:lnTo>
                      <a:pt x="127" y="61"/>
                    </a:lnTo>
                    <a:lnTo>
                      <a:pt x="132" y="58"/>
                    </a:lnTo>
                    <a:lnTo>
                      <a:pt x="125" y="58"/>
                    </a:lnTo>
                    <a:lnTo>
                      <a:pt x="115" y="58"/>
                    </a:lnTo>
                    <a:lnTo>
                      <a:pt x="109" y="52"/>
                    </a:lnTo>
                    <a:lnTo>
                      <a:pt x="102" y="52"/>
                    </a:lnTo>
                    <a:lnTo>
                      <a:pt x="94" y="58"/>
                    </a:lnTo>
                    <a:lnTo>
                      <a:pt x="79" y="61"/>
                    </a:lnTo>
                    <a:lnTo>
                      <a:pt x="71" y="61"/>
                    </a:lnTo>
                    <a:lnTo>
                      <a:pt x="71" y="63"/>
                    </a:lnTo>
                    <a:lnTo>
                      <a:pt x="69" y="63"/>
                    </a:lnTo>
                    <a:lnTo>
                      <a:pt x="50" y="72"/>
                    </a:lnTo>
                    <a:lnTo>
                      <a:pt x="36" y="79"/>
                    </a:lnTo>
                    <a:lnTo>
                      <a:pt x="0" y="88"/>
                    </a:lnTo>
                    <a:lnTo>
                      <a:pt x="50" y="70"/>
                    </a:lnTo>
                    <a:lnTo>
                      <a:pt x="54" y="63"/>
                    </a:lnTo>
                    <a:lnTo>
                      <a:pt x="50" y="63"/>
                    </a:lnTo>
                    <a:lnTo>
                      <a:pt x="40" y="63"/>
                    </a:lnTo>
                    <a:lnTo>
                      <a:pt x="46" y="58"/>
                    </a:lnTo>
                    <a:lnTo>
                      <a:pt x="38" y="58"/>
                    </a:lnTo>
                    <a:lnTo>
                      <a:pt x="40" y="47"/>
                    </a:lnTo>
                    <a:lnTo>
                      <a:pt x="54" y="43"/>
                    </a:lnTo>
                    <a:lnTo>
                      <a:pt x="71" y="38"/>
                    </a:lnTo>
                    <a:lnTo>
                      <a:pt x="79" y="29"/>
                    </a:lnTo>
                    <a:lnTo>
                      <a:pt x="71" y="34"/>
                    </a:lnTo>
                    <a:lnTo>
                      <a:pt x="61" y="34"/>
                    </a:lnTo>
                    <a:lnTo>
                      <a:pt x="63" y="29"/>
                    </a:lnTo>
                    <a:lnTo>
                      <a:pt x="61" y="27"/>
                    </a:lnTo>
                    <a:lnTo>
                      <a:pt x="77" y="25"/>
                    </a:lnTo>
                    <a:lnTo>
                      <a:pt x="79" y="25"/>
                    </a:lnTo>
                    <a:lnTo>
                      <a:pt x="77" y="25"/>
                    </a:lnTo>
                    <a:lnTo>
                      <a:pt x="90" y="25"/>
                    </a:lnTo>
                    <a:lnTo>
                      <a:pt x="86" y="20"/>
                    </a:lnTo>
                    <a:lnTo>
                      <a:pt x="90" y="18"/>
                    </a:lnTo>
                    <a:lnTo>
                      <a:pt x="86" y="16"/>
                    </a:lnTo>
                    <a:lnTo>
                      <a:pt x="90" y="11"/>
                    </a:lnTo>
                    <a:lnTo>
                      <a:pt x="100" y="11"/>
                    </a:lnTo>
                    <a:lnTo>
                      <a:pt x="115" y="4"/>
                    </a:lnTo>
                    <a:lnTo>
                      <a:pt x="140" y="0"/>
                    </a:lnTo>
                    <a:lnTo>
                      <a:pt x="142" y="0"/>
                    </a:lnTo>
                    <a:lnTo>
                      <a:pt x="142" y="2"/>
                    </a:lnTo>
                    <a:lnTo>
                      <a:pt x="150" y="2"/>
                    </a:lnTo>
                    <a:lnTo>
                      <a:pt x="177" y="4"/>
                    </a:lnTo>
                    <a:lnTo>
                      <a:pt x="182" y="9"/>
                    </a:lnTo>
                    <a:lnTo>
                      <a:pt x="154" y="31"/>
                    </a:lnTo>
                    <a:lnTo>
                      <a:pt x="127" y="5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86" name="USA"/>
              <p:cNvSpPr>
                <a:spLocks/>
              </p:cNvSpPr>
              <p:nvPr>
                <p:custDataLst>
                  <p:tags r:id="rId274"/>
                </p:custDataLst>
              </p:nvPr>
            </p:nvSpPr>
            <p:spPr bwMode="auto">
              <a:xfrm>
                <a:off x="1249200" y="2972523"/>
                <a:ext cx="1442350" cy="763561"/>
              </a:xfrm>
              <a:custGeom>
                <a:avLst/>
                <a:gdLst/>
                <a:ahLst/>
                <a:cxnLst>
                  <a:cxn ang="0">
                    <a:pos x="110" y="112"/>
                  </a:cxn>
                  <a:cxn ang="0">
                    <a:pos x="121" y="112"/>
                  </a:cxn>
                  <a:cxn ang="0">
                    <a:pos x="125" y="117"/>
                  </a:cxn>
                  <a:cxn ang="0">
                    <a:pos x="135" y="117"/>
                  </a:cxn>
                  <a:cxn ang="0">
                    <a:pos x="135" y="110"/>
                  </a:cxn>
                  <a:cxn ang="0">
                    <a:pos x="150" y="108"/>
                  </a:cxn>
                  <a:cxn ang="0">
                    <a:pos x="152" y="112"/>
                  </a:cxn>
                  <a:cxn ang="0">
                    <a:pos x="164" y="117"/>
                  </a:cxn>
                  <a:cxn ang="0">
                    <a:pos x="166" y="137"/>
                  </a:cxn>
                  <a:cxn ang="0">
                    <a:pos x="173" y="135"/>
                  </a:cxn>
                  <a:cxn ang="0">
                    <a:pos x="173" y="103"/>
                  </a:cxn>
                  <a:cxn ang="0">
                    <a:pos x="204" y="81"/>
                  </a:cxn>
                  <a:cxn ang="0">
                    <a:pos x="204" y="69"/>
                  </a:cxn>
                  <a:cxn ang="0">
                    <a:pos x="206" y="60"/>
                  </a:cxn>
                  <a:cxn ang="0">
                    <a:pos x="208" y="65"/>
                  </a:cxn>
                  <a:cxn ang="0">
                    <a:pos x="212" y="56"/>
                  </a:cxn>
                  <a:cxn ang="0">
                    <a:pos x="217" y="56"/>
                  </a:cxn>
                  <a:cxn ang="0">
                    <a:pos x="235" y="47"/>
                  </a:cxn>
                  <a:cxn ang="0">
                    <a:pos x="240" y="42"/>
                  </a:cxn>
                  <a:cxn ang="0">
                    <a:pos x="237" y="42"/>
                  </a:cxn>
                  <a:cxn ang="0">
                    <a:pos x="244" y="31"/>
                  </a:cxn>
                  <a:cxn ang="0">
                    <a:pos x="256" y="27"/>
                  </a:cxn>
                  <a:cxn ang="0">
                    <a:pos x="256" y="22"/>
                  </a:cxn>
                  <a:cxn ang="0">
                    <a:pos x="254" y="9"/>
                  </a:cxn>
                  <a:cxn ang="0">
                    <a:pos x="240" y="24"/>
                  </a:cxn>
                  <a:cxn ang="0">
                    <a:pos x="221" y="27"/>
                  </a:cxn>
                  <a:cxn ang="0">
                    <a:pos x="204" y="33"/>
                  </a:cxn>
                  <a:cxn ang="0">
                    <a:pos x="189" y="42"/>
                  </a:cxn>
                  <a:cxn ang="0">
                    <a:pos x="189" y="33"/>
                  </a:cxn>
                  <a:cxn ang="0">
                    <a:pos x="187" y="31"/>
                  </a:cxn>
                  <a:cxn ang="0">
                    <a:pos x="189" y="22"/>
                  </a:cxn>
                  <a:cxn ang="0">
                    <a:pos x="177" y="24"/>
                  </a:cxn>
                  <a:cxn ang="0">
                    <a:pos x="169" y="40"/>
                  </a:cxn>
                  <a:cxn ang="0">
                    <a:pos x="164" y="42"/>
                  </a:cxn>
                  <a:cxn ang="0">
                    <a:pos x="166" y="33"/>
                  </a:cxn>
                  <a:cxn ang="0">
                    <a:pos x="169" y="27"/>
                  </a:cxn>
                  <a:cxn ang="0">
                    <a:pos x="189" y="18"/>
                  </a:cxn>
                  <a:cxn ang="0">
                    <a:pos x="187" y="15"/>
                  </a:cxn>
                  <a:cxn ang="0">
                    <a:pos x="177" y="15"/>
                  </a:cxn>
                  <a:cxn ang="0">
                    <a:pos x="173" y="15"/>
                  </a:cxn>
                  <a:cxn ang="0">
                    <a:pos x="164" y="15"/>
                  </a:cxn>
                  <a:cxn ang="0">
                    <a:pos x="158" y="15"/>
                  </a:cxn>
                  <a:cxn ang="0">
                    <a:pos x="173" y="6"/>
                  </a:cxn>
                  <a:cxn ang="0">
                    <a:pos x="152" y="0"/>
                  </a:cxn>
                  <a:cxn ang="0">
                    <a:pos x="37" y="0"/>
                  </a:cxn>
                  <a:cxn ang="0">
                    <a:pos x="33" y="9"/>
                  </a:cxn>
                  <a:cxn ang="0">
                    <a:pos x="33" y="6"/>
                  </a:cxn>
                  <a:cxn ang="0">
                    <a:pos x="25" y="6"/>
                  </a:cxn>
                  <a:cxn ang="0">
                    <a:pos x="8" y="38"/>
                  </a:cxn>
                  <a:cxn ang="0">
                    <a:pos x="2" y="51"/>
                  </a:cxn>
                  <a:cxn ang="0">
                    <a:pos x="0" y="58"/>
                  </a:cxn>
                  <a:cxn ang="0">
                    <a:pos x="0" y="65"/>
                  </a:cxn>
                  <a:cxn ang="0">
                    <a:pos x="2" y="74"/>
                  </a:cxn>
                  <a:cxn ang="0">
                    <a:pos x="2" y="83"/>
                  </a:cxn>
                  <a:cxn ang="0">
                    <a:pos x="10" y="90"/>
                  </a:cxn>
                  <a:cxn ang="0">
                    <a:pos x="14" y="94"/>
                  </a:cxn>
                  <a:cxn ang="0">
                    <a:pos x="39" y="103"/>
                  </a:cxn>
                  <a:cxn ang="0">
                    <a:pos x="64" y="108"/>
                  </a:cxn>
                  <a:cxn ang="0">
                    <a:pos x="68" y="117"/>
                  </a:cxn>
                  <a:cxn ang="0">
                    <a:pos x="73" y="110"/>
                  </a:cxn>
                  <a:cxn ang="0">
                    <a:pos x="85" y="133"/>
                  </a:cxn>
                  <a:cxn ang="0">
                    <a:pos x="93" y="130"/>
                  </a:cxn>
                </a:cxnLst>
                <a:rect l="0" t="0" r="r" b="b"/>
                <a:pathLst>
                  <a:path w="260" h="137">
                    <a:moveTo>
                      <a:pt x="96" y="124"/>
                    </a:moveTo>
                    <a:lnTo>
                      <a:pt x="110" y="112"/>
                    </a:lnTo>
                    <a:lnTo>
                      <a:pt x="112" y="112"/>
                    </a:lnTo>
                    <a:lnTo>
                      <a:pt x="121" y="112"/>
                    </a:lnTo>
                    <a:lnTo>
                      <a:pt x="125" y="110"/>
                    </a:lnTo>
                    <a:lnTo>
                      <a:pt x="125" y="117"/>
                    </a:lnTo>
                    <a:lnTo>
                      <a:pt x="129" y="117"/>
                    </a:lnTo>
                    <a:lnTo>
                      <a:pt x="135" y="117"/>
                    </a:lnTo>
                    <a:lnTo>
                      <a:pt x="133" y="112"/>
                    </a:lnTo>
                    <a:lnTo>
                      <a:pt x="135" y="110"/>
                    </a:lnTo>
                    <a:lnTo>
                      <a:pt x="141" y="108"/>
                    </a:lnTo>
                    <a:lnTo>
                      <a:pt x="150" y="108"/>
                    </a:lnTo>
                    <a:lnTo>
                      <a:pt x="152" y="110"/>
                    </a:lnTo>
                    <a:lnTo>
                      <a:pt x="152" y="112"/>
                    </a:lnTo>
                    <a:lnTo>
                      <a:pt x="160" y="110"/>
                    </a:lnTo>
                    <a:lnTo>
                      <a:pt x="164" y="117"/>
                    </a:lnTo>
                    <a:lnTo>
                      <a:pt x="164" y="128"/>
                    </a:lnTo>
                    <a:lnTo>
                      <a:pt x="166" y="137"/>
                    </a:lnTo>
                    <a:lnTo>
                      <a:pt x="169" y="137"/>
                    </a:lnTo>
                    <a:lnTo>
                      <a:pt x="173" y="135"/>
                    </a:lnTo>
                    <a:lnTo>
                      <a:pt x="173" y="128"/>
                    </a:lnTo>
                    <a:lnTo>
                      <a:pt x="173" y="103"/>
                    </a:lnTo>
                    <a:lnTo>
                      <a:pt x="177" y="94"/>
                    </a:lnTo>
                    <a:lnTo>
                      <a:pt x="204" y="81"/>
                    </a:lnTo>
                    <a:lnTo>
                      <a:pt x="206" y="76"/>
                    </a:lnTo>
                    <a:lnTo>
                      <a:pt x="204" y="69"/>
                    </a:lnTo>
                    <a:lnTo>
                      <a:pt x="206" y="65"/>
                    </a:lnTo>
                    <a:lnTo>
                      <a:pt x="206" y="60"/>
                    </a:lnTo>
                    <a:lnTo>
                      <a:pt x="208" y="60"/>
                    </a:lnTo>
                    <a:lnTo>
                      <a:pt x="208" y="65"/>
                    </a:lnTo>
                    <a:lnTo>
                      <a:pt x="212" y="60"/>
                    </a:lnTo>
                    <a:lnTo>
                      <a:pt x="212" y="56"/>
                    </a:lnTo>
                    <a:lnTo>
                      <a:pt x="214" y="58"/>
                    </a:lnTo>
                    <a:lnTo>
                      <a:pt x="217" y="56"/>
                    </a:lnTo>
                    <a:lnTo>
                      <a:pt x="221" y="49"/>
                    </a:lnTo>
                    <a:lnTo>
                      <a:pt x="235" y="47"/>
                    </a:lnTo>
                    <a:lnTo>
                      <a:pt x="235" y="42"/>
                    </a:lnTo>
                    <a:lnTo>
                      <a:pt x="240" y="42"/>
                    </a:lnTo>
                    <a:lnTo>
                      <a:pt x="240" y="40"/>
                    </a:lnTo>
                    <a:lnTo>
                      <a:pt x="237" y="42"/>
                    </a:lnTo>
                    <a:lnTo>
                      <a:pt x="237" y="40"/>
                    </a:lnTo>
                    <a:lnTo>
                      <a:pt x="244" y="31"/>
                    </a:lnTo>
                    <a:lnTo>
                      <a:pt x="252" y="27"/>
                    </a:lnTo>
                    <a:lnTo>
                      <a:pt x="256" y="27"/>
                    </a:lnTo>
                    <a:lnTo>
                      <a:pt x="260" y="22"/>
                    </a:lnTo>
                    <a:lnTo>
                      <a:pt x="256" y="22"/>
                    </a:lnTo>
                    <a:lnTo>
                      <a:pt x="260" y="13"/>
                    </a:lnTo>
                    <a:lnTo>
                      <a:pt x="254" y="9"/>
                    </a:lnTo>
                    <a:lnTo>
                      <a:pt x="246" y="22"/>
                    </a:lnTo>
                    <a:lnTo>
                      <a:pt x="240" y="24"/>
                    </a:lnTo>
                    <a:lnTo>
                      <a:pt x="227" y="24"/>
                    </a:lnTo>
                    <a:lnTo>
                      <a:pt x="221" y="27"/>
                    </a:lnTo>
                    <a:lnTo>
                      <a:pt x="217" y="33"/>
                    </a:lnTo>
                    <a:lnTo>
                      <a:pt x="204" y="33"/>
                    </a:lnTo>
                    <a:lnTo>
                      <a:pt x="206" y="38"/>
                    </a:lnTo>
                    <a:lnTo>
                      <a:pt x="189" y="42"/>
                    </a:lnTo>
                    <a:lnTo>
                      <a:pt x="183" y="42"/>
                    </a:lnTo>
                    <a:lnTo>
                      <a:pt x="189" y="33"/>
                    </a:lnTo>
                    <a:lnTo>
                      <a:pt x="189" y="31"/>
                    </a:lnTo>
                    <a:lnTo>
                      <a:pt x="187" y="31"/>
                    </a:lnTo>
                    <a:lnTo>
                      <a:pt x="189" y="27"/>
                    </a:lnTo>
                    <a:lnTo>
                      <a:pt x="189" y="22"/>
                    </a:lnTo>
                    <a:lnTo>
                      <a:pt x="187" y="22"/>
                    </a:lnTo>
                    <a:lnTo>
                      <a:pt x="177" y="24"/>
                    </a:lnTo>
                    <a:lnTo>
                      <a:pt x="175" y="31"/>
                    </a:lnTo>
                    <a:lnTo>
                      <a:pt x="169" y="40"/>
                    </a:lnTo>
                    <a:lnTo>
                      <a:pt x="166" y="42"/>
                    </a:lnTo>
                    <a:lnTo>
                      <a:pt x="164" y="42"/>
                    </a:lnTo>
                    <a:lnTo>
                      <a:pt x="164" y="40"/>
                    </a:lnTo>
                    <a:lnTo>
                      <a:pt x="166" y="33"/>
                    </a:lnTo>
                    <a:lnTo>
                      <a:pt x="175" y="24"/>
                    </a:lnTo>
                    <a:lnTo>
                      <a:pt x="169" y="27"/>
                    </a:lnTo>
                    <a:lnTo>
                      <a:pt x="177" y="18"/>
                    </a:lnTo>
                    <a:lnTo>
                      <a:pt x="189" y="18"/>
                    </a:lnTo>
                    <a:lnTo>
                      <a:pt x="189" y="15"/>
                    </a:lnTo>
                    <a:lnTo>
                      <a:pt x="187" y="15"/>
                    </a:lnTo>
                    <a:lnTo>
                      <a:pt x="189" y="15"/>
                    </a:lnTo>
                    <a:lnTo>
                      <a:pt x="177" y="15"/>
                    </a:lnTo>
                    <a:lnTo>
                      <a:pt x="177" y="13"/>
                    </a:lnTo>
                    <a:lnTo>
                      <a:pt x="173" y="15"/>
                    </a:lnTo>
                    <a:lnTo>
                      <a:pt x="177" y="9"/>
                    </a:lnTo>
                    <a:lnTo>
                      <a:pt x="164" y="15"/>
                    </a:lnTo>
                    <a:lnTo>
                      <a:pt x="164" y="13"/>
                    </a:lnTo>
                    <a:lnTo>
                      <a:pt x="158" y="15"/>
                    </a:lnTo>
                    <a:lnTo>
                      <a:pt x="169" y="6"/>
                    </a:lnTo>
                    <a:lnTo>
                      <a:pt x="173" y="6"/>
                    </a:lnTo>
                    <a:lnTo>
                      <a:pt x="156" y="4"/>
                    </a:lnTo>
                    <a:lnTo>
                      <a:pt x="152" y="0"/>
                    </a:lnTo>
                    <a:lnTo>
                      <a:pt x="150" y="0"/>
                    </a:lnTo>
                    <a:lnTo>
                      <a:pt x="37" y="0"/>
                    </a:lnTo>
                    <a:lnTo>
                      <a:pt x="37" y="4"/>
                    </a:lnTo>
                    <a:lnTo>
                      <a:pt x="33" y="9"/>
                    </a:lnTo>
                    <a:lnTo>
                      <a:pt x="31" y="9"/>
                    </a:lnTo>
                    <a:lnTo>
                      <a:pt x="33" y="6"/>
                    </a:lnTo>
                    <a:lnTo>
                      <a:pt x="29" y="4"/>
                    </a:lnTo>
                    <a:lnTo>
                      <a:pt x="25" y="6"/>
                    </a:lnTo>
                    <a:lnTo>
                      <a:pt x="23" y="18"/>
                    </a:lnTo>
                    <a:lnTo>
                      <a:pt x="8" y="38"/>
                    </a:lnTo>
                    <a:lnTo>
                      <a:pt x="6" y="42"/>
                    </a:lnTo>
                    <a:lnTo>
                      <a:pt x="2" y="51"/>
                    </a:lnTo>
                    <a:lnTo>
                      <a:pt x="2" y="56"/>
                    </a:lnTo>
                    <a:lnTo>
                      <a:pt x="0" y="58"/>
                    </a:lnTo>
                    <a:lnTo>
                      <a:pt x="2" y="60"/>
                    </a:lnTo>
                    <a:lnTo>
                      <a:pt x="0" y="65"/>
                    </a:lnTo>
                    <a:lnTo>
                      <a:pt x="2" y="67"/>
                    </a:lnTo>
                    <a:lnTo>
                      <a:pt x="2" y="74"/>
                    </a:lnTo>
                    <a:lnTo>
                      <a:pt x="6" y="81"/>
                    </a:lnTo>
                    <a:lnTo>
                      <a:pt x="2" y="83"/>
                    </a:lnTo>
                    <a:lnTo>
                      <a:pt x="10" y="85"/>
                    </a:lnTo>
                    <a:lnTo>
                      <a:pt x="10" y="90"/>
                    </a:lnTo>
                    <a:lnTo>
                      <a:pt x="14" y="92"/>
                    </a:lnTo>
                    <a:lnTo>
                      <a:pt x="14" y="94"/>
                    </a:lnTo>
                    <a:lnTo>
                      <a:pt x="25" y="94"/>
                    </a:lnTo>
                    <a:lnTo>
                      <a:pt x="39" y="103"/>
                    </a:lnTo>
                    <a:lnTo>
                      <a:pt x="62" y="101"/>
                    </a:lnTo>
                    <a:lnTo>
                      <a:pt x="64" y="108"/>
                    </a:lnTo>
                    <a:lnTo>
                      <a:pt x="64" y="110"/>
                    </a:lnTo>
                    <a:lnTo>
                      <a:pt x="68" y="117"/>
                    </a:lnTo>
                    <a:lnTo>
                      <a:pt x="71" y="117"/>
                    </a:lnTo>
                    <a:lnTo>
                      <a:pt x="73" y="110"/>
                    </a:lnTo>
                    <a:lnTo>
                      <a:pt x="79" y="112"/>
                    </a:lnTo>
                    <a:lnTo>
                      <a:pt x="85" y="133"/>
                    </a:lnTo>
                    <a:lnTo>
                      <a:pt x="93" y="135"/>
                    </a:lnTo>
                    <a:lnTo>
                      <a:pt x="93" y="130"/>
                    </a:lnTo>
                    <a:lnTo>
                      <a:pt x="96" y="12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20" name="United Arab Emirates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554059" y="3724937"/>
              <a:ext cx="138687" cy="89175"/>
            </a:xfrm>
            <a:custGeom>
              <a:avLst/>
              <a:gdLst/>
              <a:ahLst/>
              <a:cxnLst>
                <a:cxn ang="0">
                  <a:pos x="25" y="2"/>
                </a:cxn>
                <a:cxn ang="0">
                  <a:pos x="25" y="7"/>
                </a:cxn>
                <a:cxn ang="0">
                  <a:pos x="23" y="9"/>
                </a:cxn>
                <a:cxn ang="0">
                  <a:pos x="23" y="11"/>
                </a:cxn>
                <a:cxn ang="0">
                  <a:pos x="19" y="11"/>
                </a:cxn>
                <a:cxn ang="0">
                  <a:pos x="17" y="11"/>
                </a:cxn>
                <a:cxn ang="0">
                  <a:pos x="17" y="16"/>
                </a:cxn>
                <a:cxn ang="0">
                  <a:pos x="12" y="16"/>
                </a:cxn>
                <a:cxn ang="0">
                  <a:pos x="10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2" y="16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0" y="9"/>
                </a:cxn>
                <a:cxn ang="0">
                  <a:pos x="4" y="11"/>
                </a:cxn>
                <a:cxn ang="0">
                  <a:pos x="8" y="9"/>
                </a:cxn>
                <a:cxn ang="0">
                  <a:pos x="12" y="9"/>
                </a:cxn>
                <a:cxn ang="0">
                  <a:pos x="23" y="0"/>
                </a:cxn>
                <a:cxn ang="0">
                  <a:pos x="23" y="2"/>
                </a:cxn>
                <a:cxn ang="0">
                  <a:pos x="25" y="2"/>
                </a:cxn>
              </a:cxnLst>
              <a:rect l="0" t="0" r="r" b="b"/>
              <a:pathLst>
                <a:path w="25" h="16">
                  <a:moveTo>
                    <a:pt x="25" y="2"/>
                  </a:moveTo>
                  <a:lnTo>
                    <a:pt x="25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19" y="11"/>
                  </a:lnTo>
                  <a:lnTo>
                    <a:pt x="17" y="11"/>
                  </a:lnTo>
                  <a:lnTo>
                    <a:pt x="17" y="16"/>
                  </a:lnTo>
                  <a:lnTo>
                    <a:pt x="12" y="16"/>
                  </a:lnTo>
                  <a:lnTo>
                    <a:pt x="10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9"/>
                  </a:lnTo>
                  <a:lnTo>
                    <a:pt x="4" y="11"/>
                  </a:lnTo>
                  <a:lnTo>
                    <a:pt x="8" y="9"/>
                  </a:lnTo>
                  <a:lnTo>
                    <a:pt x="12" y="9"/>
                  </a:lnTo>
                  <a:lnTo>
                    <a:pt x="23" y="0"/>
                  </a:lnTo>
                  <a:lnTo>
                    <a:pt x="23" y="2"/>
                  </a:lnTo>
                  <a:lnTo>
                    <a:pt x="25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21" name="Ukraine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777410" y="2872202"/>
              <a:ext cx="404968" cy="250804"/>
            </a:xfrm>
            <a:custGeom>
              <a:avLst/>
              <a:gdLst/>
              <a:ahLst/>
              <a:cxnLst>
                <a:cxn ang="0">
                  <a:pos x="29" y="40"/>
                </a:cxn>
                <a:cxn ang="0">
                  <a:pos x="33" y="40"/>
                </a:cxn>
                <a:cxn ang="0">
                  <a:pos x="33" y="36"/>
                </a:cxn>
                <a:cxn ang="0">
                  <a:pos x="38" y="33"/>
                </a:cxn>
                <a:cxn ang="0">
                  <a:pos x="44" y="33"/>
                </a:cxn>
                <a:cxn ang="0">
                  <a:pos x="52" y="36"/>
                </a:cxn>
                <a:cxn ang="0">
                  <a:pos x="46" y="40"/>
                </a:cxn>
                <a:cxn ang="0">
                  <a:pos x="52" y="42"/>
                </a:cxn>
                <a:cxn ang="0">
                  <a:pos x="52" y="45"/>
                </a:cxn>
                <a:cxn ang="0">
                  <a:pos x="61" y="42"/>
                </a:cxn>
                <a:cxn ang="0">
                  <a:pos x="63" y="42"/>
                </a:cxn>
                <a:cxn ang="0">
                  <a:pos x="63" y="40"/>
                </a:cxn>
                <a:cxn ang="0">
                  <a:pos x="61" y="40"/>
                </a:cxn>
                <a:cxn ang="0">
                  <a:pos x="54" y="36"/>
                </a:cxn>
                <a:cxn ang="0">
                  <a:pos x="65" y="31"/>
                </a:cxn>
                <a:cxn ang="0">
                  <a:pos x="69" y="31"/>
                </a:cxn>
                <a:cxn ang="0">
                  <a:pos x="69" y="27"/>
                </a:cxn>
                <a:cxn ang="0">
                  <a:pos x="71" y="24"/>
                </a:cxn>
                <a:cxn ang="0">
                  <a:pos x="73" y="27"/>
                </a:cxn>
                <a:cxn ang="0">
                  <a:pos x="73" y="22"/>
                </a:cxn>
                <a:cxn ang="0">
                  <a:pos x="73" y="18"/>
                </a:cxn>
                <a:cxn ang="0">
                  <a:pos x="73" y="15"/>
                </a:cxn>
                <a:cxn ang="0">
                  <a:pos x="65" y="15"/>
                </a:cxn>
                <a:cxn ang="0">
                  <a:pos x="63" y="13"/>
                </a:cxn>
                <a:cxn ang="0">
                  <a:pos x="54" y="13"/>
                </a:cxn>
                <a:cxn ang="0">
                  <a:pos x="52" y="6"/>
                </a:cxn>
                <a:cxn ang="0">
                  <a:pos x="48" y="6"/>
                </a:cxn>
                <a:cxn ang="0">
                  <a:pos x="48" y="4"/>
                </a:cxn>
                <a:cxn ang="0">
                  <a:pos x="46" y="0"/>
                </a:cxn>
                <a:cxn ang="0">
                  <a:pos x="38" y="4"/>
                </a:cxn>
                <a:cxn ang="0">
                  <a:pos x="33" y="4"/>
                </a:cxn>
                <a:cxn ang="0">
                  <a:pos x="33" y="6"/>
                </a:cxn>
                <a:cxn ang="0">
                  <a:pos x="29" y="6"/>
                </a:cxn>
                <a:cxn ang="0">
                  <a:pos x="23" y="6"/>
                </a:cxn>
                <a:cxn ang="0">
                  <a:pos x="15" y="4"/>
                </a:cxn>
                <a:cxn ang="0">
                  <a:pos x="6" y="6"/>
                </a:cxn>
                <a:cxn ang="0">
                  <a:pos x="8" y="13"/>
                </a:cxn>
                <a:cxn ang="0">
                  <a:pos x="0" y="18"/>
                </a:cxn>
                <a:cxn ang="0">
                  <a:pos x="0" y="22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13" y="27"/>
                </a:cxn>
                <a:cxn ang="0">
                  <a:pos x="21" y="24"/>
                </a:cxn>
                <a:cxn ang="0">
                  <a:pos x="23" y="22"/>
                </a:cxn>
                <a:cxn ang="0">
                  <a:pos x="29" y="24"/>
                </a:cxn>
                <a:cxn ang="0">
                  <a:pos x="31" y="27"/>
                </a:cxn>
                <a:cxn ang="0">
                  <a:pos x="33" y="31"/>
                </a:cxn>
                <a:cxn ang="0">
                  <a:pos x="33" y="33"/>
                </a:cxn>
                <a:cxn ang="0">
                  <a:pos x="31" y="33"/>
                </a:cxn>
                <a:cxn ang="0">
                  <a:pos x="29" y="38"/>
                </a:cxn>
                <a:cxn ang="0">
                  <a:pos x="29" y="40"/>
                </a:cxn>
              </a:cxnLst>
              <a:rect l="0" t="0" r="r" b="b"/>
              <a:pathLst>
                <a:path w="73" h="45">
                  <a:moveTo>
                    <a:pt x="29" y="40"/>
                  </a:moveTo>
                  <a:lnTo>
                    <a:pt x="33" y="40"/>
                  </a:lnTo>
                  <a:lnTo>
                    <a:pt x="33" y="36"/>
                  </a:lnTo>
                  <a:lnTo>
                    <a:pt x="38" y="33"/>
                  </a:lnTo>
                  <a:lnTo>
                    <a:pt x="44" y="33"/>
                  </a:lnTo>
                  <a:lnTo>
                    <a:pt x="52" y="36"/>
                  </a:lnTo>
                  <a:lnTo>
                    <a:pt x="46" y="40"/>
                  </a:lnTo>
                  <a:lnTo>
                    <a:pt x="52" y="42"/>
                  </a:lnTo>
                  <a:lnTo>
                    <a:pt x="52" y="45"/>
                  </a:lnTo>
                  <a:lnTo>
                    <a:pt x="61" y="42"/>
                  </a:lnTo>
                  <a:lnTo>
                    <a:pt x="63" y="42"/>
                  </a:lnTo>
                  <a:lnTo>
                    <a:pt x="63" y="40"/>
                  </a:lnTo>
                  <a:lnTo>
                    <a:pt x="61" y="40"/>
                  </a:lnTo>
                  <a:lnTo>
                    <a:pt x="54" y="36"/>
                  </a:lnTo>
                  <a:lnTo>
                    <a:pt x="65" y="31"/>
                  </a:lnTo>
                  <a:lnTo>
                    <a:pt x="69" y="31"/>
                  </a:lnTo>
                  <a:lnTo>
                    <a:pt x="69" y="27"/>
                  </a:lnTo>
                  <a:lnTo>
                    <a:pt x="71" y="24"/>
                  </a:lnTo>
                  <a:lnTo>
                    <a:pt x="73" y="27"/>
                  </a:lnTo>
                  <a:lnTo>
                    <a:pt x="73" y="22"/>
                  </a:lnTo>
                  <a:lnTo>
                    <a:pt x="73" y="18"/>
                  </a:lnTo>
                  <a:lnTo>
                    <a:pt x="73" y="15"/>
                  </a:lnTo>
                  <a:lnTo>
                    <a:pt x="65" y="15"/>
                  </a:lnTo>
                  <a:lnTo>
                    <a:pt x="63" y="13"/>
                  </a:lnTo>
                  <a:lnTo>
                    <a:pt x="54" y="13"/>
                  </a:lnTo>
                  <a:lnTo>
                    <a:pt x="52" y="6"/>
                  </a:lnTo>
                  <a:lnTo>
                    <a:pt x="48" y="6"/>
                  </a:lnTo>
                  <a:lnTo>
                    <a:pt x="48" y="4"/>
                  </a:lnTo>
                  <a:lnTo>
                    <a:pt x="46" y="0"/>
                  </a:lnTo>
                  <a:lnTo>
                    <a:pt x="38" y="4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29" y="6"/>
                  </a:lnTo>
                  <a:lnTo>
                    <a:pt x="23" y="6"/>
                  </a:lnTo>
                  <a:lnTo>
                    <a:pt x="15" y="4"/>
                  </a:lnTo>
                  <a:lnTo>
                    <a:pt x="6" y="6"/>
                  </a:lnTo>
                  <a:lnTo>
                    <a:pt x="8" y="13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13" y="27"/>
                  </a:lnTo>
                  <a:lnTo>
                    <a:pt x="21" y="24"/>
                  </a:lnTo>
                  <a:lnTo>
                    <a:pt x="23" y="22"/>
                  </a:lnTo>
                  <a:lnTo>
                    <a:pt x="29" y="24"/>
                  </a:lnTo>
                  <a:lnTo>
                    <a:pt x="31" y="27"/>
                  </a:lnTo>
                  <a:lnTo>
                    <a:pt x="33" y="31"/>
                  </a:lnTo>
                  <a:lnTo>
                    <a:pt x="33" y="33"/>
                  </a:lnTo>
                  <a:lnTo>
                    <a:pt x="31" y="33"/>
                  </a:lnTo>
                  <a:lnTo>
                    <a:pt x="29" y="38"/>
                  </a:lnTo>
                  <a:lnTo>
                    <a:pt x="29" y="4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22" name="Uganda"/>
            <p:cNvSpPr>
              <a:spLocks/>
            </p:cNvSpPr>
            <p:nvPr/>
          </p:nvSpPr>
          <p:spPr bwMode="auto">
            <a:xfrm>
              <a:off x="5026133" y="4415354"/>
              <a:ext cx="149095" cy="188599"/>
            </a:xfrm>
            <a:custGeom>
              <a:avLst/>
              <a:gdLst>
                <a:gd name="T0" fmla="*/ 94 w 409"/>
                <a:gd name="T1" fmla="*/ 79 h 437"/>
                <a:gd name="T2" fmla="*/ 98 w 409"/>
                <a:gd name="T3" fmla="*/ 57 h 437"/>
                <a:gd name="T4" fmla="*/ 98 w 409"/>
                <a:gd name="T5" fmla="*/ 55 h 437"/>
                <a:gd name="T6" fmla="*/ 101 w 409"/>
                <a:gd name="T7" fmla="*/ 49 h 437"/>
                <a:gd name="T8" fmla="*/ 143 w 409"/>
                <a:gd name="T9" fmla="*/ 42 h 437"/>
                <a:gd name="T10" fmla="*/ 176 w 409"/>
                <a:gd name="T11" fmla="*/ 41 h 437"/>
                <a:gd name="T12" fmla="*/ 197 w 409"/>
                <a:gd name="T13" fmla="*/ 53 h 437"/>
                <a:gd name="T14" fmla="*/ 239 w 409"/>
                <a:gd name="T15" fmla="*/ 35 h 437"/>
                <a:gd name="T16" fmla="*/ 270 w 409"/>
                <a:gd name="T17" fmla="*/ 35 h 437"/>
                <a:gd name="T18" fmla="*/ 310 w 409"/>
                <a:gd name="T19" fmla="*/ 21 h 437"/>
                <a:gd name="T20" fmla="*/ 330 w 409"/>
                <a:gd name="T21" fmla="*/ 0 h 437"/>
                <a:gd name="T22" fmla="*/ 330 w 409"/>
                <a:gd name="T23" fmla="*/ 0 h 437"/>
                <a:gd name="T24" fmla="*/ 345 w 409"/>
                <a:gd name="T25" fmla="*/ 26 h 437"/>
                <a:gd name="T26" fmla="*/ 346 w 409"/>
                <a:gd name="T27" fmla="*/ 34 h 437"/>
                <a:gd name="T28" fmla="*/ 361 w 409"/>
                <a:gd name="T29" fmla="*/ 39 h 437"/>
                <a:gd name="T30" fmla="*/ 365 w 409"/>
                <a:gd name="T31" fmla="*/ 73 h 437"/>
                <a:gd name="T32" fmla="*/ 377 w 409"/>
                <a:gd name="T33" fmla="*/ 99 h 437"/>
                <a:gd name="T34" fmla="*/ 392 w 409"/>
                <a:gd name="T35" fmla="*/ 120 h 437"/>
                <a:gd name="T36" fmla="*/ 399 w 409"/>
                <a:gd name="T37" fmla="*/ 141 h 437"/>
                <a:gd name="T38" fmla="*/ 408 w 409"/>
                <a:gd name="T39" fmla="*/ 185 h 437"/>
                <a:gd name="T40" fmla="*/ 393 w 409"/>
                <a:gd name="T41" fmla="*/ 218 h 437"/>
                <a:gd name="T42" fmla="*/ 386 w 409"/>
                <a:gd name="T43" fmla="*/ 231 h 437"/>
                <a:gd name="T44" fmla="*/ 366 w 409"/>
                <a:gd name="T45" fmla="*/ 257 h 437"/>
                <a:gd name="T46" fmla="*/ 343 w 409"/>
                <a:gd name="T47" fmla="*/ 282 h 437"/>
                <a:gd name="T48" fmla="*/ 330 w 409"/>
                <a:gd name="T49" fmla="*/ 326 h 437"/>
                <a:gd name="T50" fmla="*/ 327 w 409"/>
                <a:gd name="T51" fmla="*/ 367 h 437"/>
                <a:gd name="T52" fmla="*/ 325 w 409"/>
                <a:gd name="T53" fmla="*/ 400 h 437"/>
                <a:gd name="T54" fmla="*/ 324 w 409"/>
                <a:gd name="T55" fmla="*/ 401 h 437"/>
                <a:gd name="T56" fmla="*/ 244 w 409"/>
                <a:gd name="T57" fmla="*/ 400 h 437"/>
                <a:gd name="T58" fmla="*/ 92 w 409"/>
                <a:gd name="T59" fmla="*/ 400 h 437"/>
                <a:gd name="T60" fmla="*/ 70 w 409"/>
                <a:gd name="T61" fmla="*/ 405 h 437"/>
                <a:gd name="T62" fmla="*/ 60 w 409"/>
                <a:gd name="T63" fmla="*/ 407 h 437"/>
                <a:gd name="T64" fmla="*/ 27 w 409"/>
                <a:gd name="T65" fmla="*/ 433 h 437"/>
                <a:gd name="T66" fmla="*/ 5 w 409"/>
                <a:gd name="T67" fmla="*/ 428 h 437"/>
                <a:gd name="T68" fmla="*/ 4 w 409"/>
                <a:gd name="T69" fmla="*/ 424 h 437"/>
                <a:gd name="T70" fmla="*/ 7 w 409"/>
                <a:gd name="T71" fmla="*/ 388 h 437"/>
                <a:gd name="T72" fmla="*/ 10 w 409"/>
                <a:gd name="T73" fmla="*/ 346 h 437"/>
                <a:gd name="T74" fmla="*/ 21 w 409"/>
                <a:gd name="T75" fmla="*/ 309 h 437"/>
                <a:gd name="T76" fmla="*/ 31 w 409"/>
                <a:gd name="T77" fmla="*/ 271 h 437"/>
                <a:gd name="T78" fmla="*/ 51 w 409"/>
                <a:gd name="T79" fmla="*/ 240 h 437"/>
                <a:gd name="T80" fmla="*/ 78 w 409"/>
                <a:gd name="T81" fmla="*/ 220 h 437"/>
                <a:gd name="T82" fmla="*/ 119 w 409"/>
                <a:gd name="T83" fmla="*/ 179 h 437"/>
                <a:gd name="T84" fmla="*/ 124 w 409"/>
                <a:gd name="T85" fmla="*/ 153 h 437"/>
                <a:gd name="T86" fmla="*/ 111 w 409"/>
                <a:gd name="T87" fmla="*/ 143 h 437"/>
                <a:gd name="T88" fmla="*/ 94 w 409"/>
                <a:gd name="T89" fmla="*/ 138 h 437"/>
                <a:gd name="T90" fmla="*/ 97 w 409"/>
                <a:gd name="T91" fmla="*/ 110 h 437"/>
                <a:gd name="T92" fmla="*/ 94 w 409"/>
                <a:gd name="T93" fmla="*/ 79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9" h="437">
                  <a:moveTo>
                    <a:pt x="94" y="79"/>
                  </a:moveTo>
                  <a:cubicBezTo>
                    <a:pt x="95" y="74"/>
                    <a:pt x="111" y="55"/>
                    <a:pt x="98" y="57"/>
                  </a:cubicBezTo>
                  <a:cubicBezTo>
                    <a:pt x="98" y="55"/>
                    <a:pt x="98" y="55"/>
                    <a:pt x="98" y="55"/>
                  </a:cubicBezTo>
                  <a:cubicBezTo>
                    <a:pt x="99" y="55"/>
                    <a:pt x="100" y="53"/>
                    <a:pt x="101" y="49"/>
                  </a:cubicBezTo>
                  <a:cubicBezTo>
                    <a:pt x="110" y="35"/>
                    <a:pt x="130" y="28"/>
                    <a:pt x="143" y="42"/>
                  </a:cubicBezTo>
                  <a:cubicBezTo>
                    <a:pt x="156" y="50"/>
                    <a:pt x="168" y="22"/>
                    <a:pt x="176" y="41"/>
                  </a:cubicBezTo>
                  <a:cubicBezTo>
                    <a:pt x="179" y="48"/>
                    <a:pt x="189" y="55"/>
                    <a:pt x="197" y="53"/>
                  </a:cubicBezTo>
                  <a:cubicBezTo>
                    <a:pt x="200" y="34"/>
                    <a:pt x="225" y="38"/>
                    <a:pt x="239" y="35"/>
                  </a:cubicBezTo>
                  <a:cubicBezTo>
                    <a:pt x="250" y="31"/>
                    <a:pt x="261" y="22"/>
                    <a:pt x="270" y="35"/>
                  </a:cubicBezTo>
                  <a:cubicBezTo>
                    <a:pt x="286" y="39"/>
                    <a:pt x="301" y="36"/>
                    <a:pt x="310" y="21"/>
                  </a:cubicBezTo>
                  <a:cubicBezTo>
                    <a:pt x="317" y="14"/>
                    <a:pt x="324" y="7"/>
                    <a:pt x="330" y="0"/>
                  </a:cubicBezTo>
                  <a:cubicBezTo>
                    <a:pt x="330" y="0"/>
                    <a:pt x="330" y="0"/>
                    <a:pt x="330" y="0"/>
                  </a:cubicBezTo>
                  <a:cubicBezTo>
                    <a:pt x="342" y="4"/>
                    <a:pt x="332" y="29"/>
                    <a:pt x="345" y="26"/>
                  </a:cubicBezTo>
                  <a:cubicBezTo>
                    <a:pt x="350" y="28"/>
                    <a:pt x="340" y="31"/>
                    <a:pt x="346" y="34"/>
                  </a:cubicBezTo>
                  <a:cubicBezTo>
                    <a:pt x="353" y="34"/>
                    <a:pt x="354" y="40"/>
                    <a:pt x="361" y="39"/>
                  </a:cubicBezTo>
                  <a:cubicBezTo>
                    <a:pt x="373" y="48"/>
                    <a:pt x="356" y="62"/>
                    <a:pt x="365" y="73"/>
                  </a:cubicBezTo>
                  <a:cubicBezTo>
                    <a:pt x="366" y="83"/>
                    <a:pt x="378" y="87"/>
                    <a:pt x="377" y="99"/>
                  </a:cubicBezTo>
                  <a:cubicBezTo>
                    <a:pt x="384" y="105"/>
                    <a:pt x="393" y="108"/>
                    <a:pt x="392" y="120"/>
                  </a:cubicBezTo>
                  <a:cubicBezTo>
                    <a:pt x="398" y="125"/>
                    <a:pt x="405" y="133"/>
                    <a:pt x="399" y="141"/>
                  </a:cubicBezTo>
                  <a:cubicBezTo>
                    <a:pt x="404" y="155"/>
                    <a:pt x="408" y="169"/>
                    <a:pt x="408" y="185"/>
                  </a:cubicBezTo>
                  <a:cubicBezTo>
                    <a:pt x="409" y="198"/>
                    <a:pt x="398" y="207"/>
                    <a:pt x="393" y="218"/>
                  </a:cubicBezTo>
                  <a:cubicBezTo>
                    <a:pt x="396" y="225"/>
                    <a:pt x="395" y="232"/>
                    <a:pt x="386" y="231"/>
                  </a:cubicBezTo>
                  <a:cubicBezTo>
                    <a:pt x="374" y="236"/>
                    <a:pt x="368" y="245"/>
                    <a:pt x="366" y="257"/>
                  </a:cubicBezTo>
                  <a:cubicBezTo>
                    <a:pt x="358" y="266"/>
                    <a:pt x="351" y="274"/>
                    <a:pt x="343" y="282"/>
                  </a:cubicBezTo>
                  <a:cubicBezTo>
                    <a:pt x="346" y="300"/>
                    <a:pt x="321" y="309"/>
                    <a:pt x="330" y="326"/>
                  </a:cubicBezTo>
                  <a:cubicBezTo>
                    <a:pt x="334" y="340"/>
                    <a:pt x="326" y="353"/>
                    <a:pt x="327" y="367"/>
                  </a:cubicBezTo>
                  <a:cubicBezTo>
                    <a:pt x="325" y="377"/>
                    <a:pt x="331" y="392"/>
                    <a:pt x="325" y="400"/>
                  </a:cubicBezTo>
                  <a:cubicBezTo>
                    <a:pt x="325" y="400"/>
                    <a:pt x="325" y="400"/>
                    <a:pt x="324" y="401"/>
                  </a:cubicBezTo>
                  <a:cubicBezTo>
                    <a:pt x="298" y="400"/>
                    <a:pt x="271" y="401"/>
                    <a:pt x="244" y="400"/>
                  </a:cubicBezTo>
                  <a:cubicBezTo>
                    <a:pt x="193" y="400"/>
                    <a:pt x="143" y="400"/>
                    <a:pt x="92" y="400"/>
                  </a:cubicBezTo>
                  <a:cubicBezTo>
                    <a:pt x="86" y="406"/>
                    <a:pt x="78" y="405"/>
                    <a:pt x="70" y="405"/>
                  </a:cubicBezTo>
                  <a:cubicBezTo>
                    <a:pt x="67" y="405"/>
                    <a:pt x="63" y="405"/>
                    <a:pt x="60" y="407"/>
                  </a:cubicBezTo>
                  <a:cubicBezTo>
                    <a:pt x="53" y="418"/>
                    <a:pt x="40" y="437"/>
                    <a:pt x="27" y="433"/>
                  </a:cubicBezTo>
                  <a:cubicBezTo>
                    <a:pt x="28" y="418"/>
                    <a:pt x="10" y="432"/>
                    <a:pt x="5" y="428"/>
                  </a:cubicBezTo>
                  <a:cubicBezTo>
                    <a:pt x="5" y="427"/>
                    <a:pt x="4" y="426"/>
                    <a:pt x="4" y="424"/>
                  </a:cubicBezTo>
                  <a:cubicBezTo>
                    <a:pt x="3" y="412"/>
                    <a:pt x="0" y="398"/>
                    <a:pt x="7" y="388"/>
                  </a:cubicBezTo>
                  <a:cubicBezTo>
                    <a:pt x="7" y="374"/>
                    <a:pt x="9" y="360"/>
                    <a:pt x="10" y="346"/>
                  </a:cubicBezTo>
                  <a:cubicBezTo>
                    <a:pt x="14" y="334"/>
                    <a:pt x="10" y="317"/>
                    <a:pt x="21" y="309"/>
                  </a:cubicBezTo>
                  <a:cubicBezTo>
                    <a:pt x="22" y="294"/>
                    <a:pt x="35" y="286"/>
                    <a:pt x="31" y="271"/>
                  </a:cubicBezTo>
                  <a:cubicBezTo>
                    <a:pt x="26" y="253"/>
                    <a:pt x="55" y="259"/>
                    <a:pt x="51" y="240"/>
                  </a:cubicBezTo>
                  <a:cubicBezTo>
                    <a:pt x="56" y="230"/>
                    <a:pt x="74" y="234"/>
                    <a:pt x="78" y="220"/>
                  </a:cubicBezTo>
                  <a:cubicBezTo>
                    <a:pt x="88" y="203"/>
                    <a:pt x="109" y="196"/>
                    <a:pt x="119" y="179"/>
                  </a:cubicBezTo>
                  <a:cubicBezTo>
                    <a:pt x="125" y="171"/>
                    <a:pt x="137" y="160"/>
                    <a:pt x="124" y="153"/>
                  </a:cubicBezTo>
                  <a:cubicBezTo>
                    <a:pt x="124" y="144"/>
                    <a:pt x="112" y="153"/>
                    <a:pt x="111" y="143"/>
                  </a:cubicBezTo>
                  <a:cubicBezTo>
                    <a:pt x="106" y="136"/>
                    <a:pt x="97" y="152"/>
                    <a:pt x="94" y="138"/>
                  </a:cubicBezTo>
                  <a:cubicBezTo>
                    <a:pt x="82" y="135"/>
                    <a:pt x="94" y="118"/>
                    <a:pt x="97" y="110"/>
                  </a:cubicBezTo>
                  <a:cubicBezTo>
                    <a:pt x="105" y="98"/>
                    <a:pt x="83" y="91"/>
                    <a:pt x="94" y="79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23" name="Tadzhikistane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898004" y="3234474"/>
              <a:ext cx="188615" cy="122616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1" y="20"/>
                </a:cxn>
                <a:cxn ang="0">
                  <a:pos x="13" y="20"/>
                </a:cxn>
                <a:cxn ang="0">
                  <a:pos x="17" y="13"/>
                </a:cxn>
                <a:cxn ang="0">
                  <a:pos x="19" y="18"/>
                </a:cxn>
                <a:cxn ang="0">
                  <a:pos x="21" y="22"/>
                </a:cxn>
                <a:cxn ang="0">
                  <a:pos x="28" y="20"/>
                </a:cxn>
                <a:cxn ang="0">
                  <a:pos x="34" y="20"/>
                </a:cxn>
                <a:cxn ang="0">
                  <a:pos x="34" y="13"/>
                </a:cxn>
                <a:cxn ang="0">
                  <a:pos x="30" y="13"/>
                </a:cxn>
                <a:cxn ang="0">
                  <a:pos x="28" y="11"/>
                </a:cxn>
                <a:cxn ang="0">
                  <a:pos x="28" y="9"/>
                </a:cxn>
                <a:cxn ang="0">
                  <a:pos x="19" y="11"/>
                </a:cxn>
                <a:cxn ang="0">
                  <a:pos x="17" y="9"/>
                </a:cxn>
                <a:cxn ang="0">
                  <a:pos x="9" y="9"/>
                </a:cxn>
                <a:cxn ang="0">
                  <a:pos x="9" y="4"/>
                </a:cxn>
                <a:cxn ang="0">
                  <a:pos x="11" y="4"/>
                </a:cxn>
                <a:cxn ang="0">
                  <a:pos x="13" y="4"/>
                </a:cxn>
                <a:cxn ang="0">
                  <a:pos x="11" y="4"/>
                </a:cxn>
                <a:cxn ang="0">
                  <a:pos x="11" y="0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9"/>
                </a:cxn>
                <a:cxn ang="0">
                  <a:pos x="0" y="9"/>
                </a:cxn>
                <a:cxn ang="0">
                  <a:pos x="3" y="11"/>
                </a:cxn>
                <a:cxn ang="0">
                  <a:pos x="5" y="18"/>
                </a:cxn>
                <a:cxn ang="0">
                  <a:pos x="3" y="22"/>
                </a:cxn>
                <a:cxn ang="0">
                  <a:pos x="5" y="22"/>
                </a:cxn>
              </a:cxnLst>
              <a:rect l="0" t="0" r="r" b="b"/>
              <a:pathLst>
                <a:path w="34" h="22">
                  <a:moveTo>
                    <a:pt x="5" y="22"/>
                  </a:moveTo>
                  <a:lnTo>
                    <a:pt x="11" y="20"/>
                  </a:lnTo>
                  <a:lnTo>
                    <a:pt x="13" y="20"/>
                  </a:lnTo>
                  <a:lnTo>
                    <a:pt x="17" y="13"/>
                  </a:lnTo>
                  <a:lnTo>
                    <a:pt x="19" y="18"/>
                  </a:lnTo>
                  <a:lnTo>
                    <a:pt x="21" y="22"/>
                  </a:lnTo>
                  <a:lnTo>
                    <a:pt x="28" y="20"/>
                  </a:lnTo>
                  <a:lnTo>
                    <a:pt x="34" y="20"/>
                  </a:lnTo>
                  <a:lnTo>
                    <a:pt x="34" y="13"/>
                  </a:lnTo>
                  <a:lnTo>
                    <a:pt x="30" y="13"/>
                  </a:lnTo>
                  <a:lnTo>
                    <a:pt x="28" y="11"/>
                  </a:lnTo>
                  <a:lnTo>
                    <a:pt x="28" y="9"/>
                  </a:lnTo>
                  <a:lnTo>
                    <a:pt x="19" y="11"/>
                  </a:lnTo>
                  <a:lnTo>
                    <a:pt x="17" y="9"/>
                  </a:lnTo>
                  <a:lnTo>
                    <a:pt x="9" y="9"/>
                  </a:lnTo>
                  <a:lnTo>
                    <a:pt x="9" y="4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11" y="0"/>
                  </a:lnTo>
                  <a:lnTo>
                    <a:pt x="5" y="2"/>
                  </a:lnTo>
                  <a:lnTo>
                    <a:pt x="5" y="4"/>
                  </a:lnTo>
                  <a:lnTo>
                    <a:pt x="5" y="9"/>
                  </a:lnTo>
                  <a:lnTo>
                    <a:pt x="0" y="9"/>
                  </a:lnTo>
                  <a:lnTo>
                    <a:pt x="3" y="11"/>
                  </a:lnTo>
                  <a:lnTo>
                    <a:pt x="5" y="18"/>
                  </a:lnTo>
                  <a:lnTo>
                    <a:pt x="3" y="22"/>
                  </a:lnTo>
                  <a:lnTo>
                    <a:pt x="5" y="2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24" name="Turks- und Caicosinseln"/>
            <p:cNvSpPr>
              <a:spLocks/>
            </p:cNvSpPr>
            <p:nvPr/>
          </p:nvSpPr>
          <p:spPr bwMode="auto">
            <a:xfrm>
              <a:off x="7770519" y="4519668"/>
              <a:ext cx="16176" cy="18359"/>
            </a:xfrm>
            <a:custGeom>
              <a:avLst/>
              <a:gdLst>
                <a:gd name="T0" fmla="*/ 37 w 43"/>
                <a:gd name="T1" fmla="*/ 22 h 43"/>
                <a:gd name="T2" fmla="*/ 41 w 43"/>
                <a:gd name="T3" fmla="*/ 28 h 43"/>
                <a:gd name="T4" fmla="*/ 37 w 43"/>
                <a:gd name="T5" fmla="*/ 35 h 43"/>
                <a:gd name="T6" fmla="*/ 34 w 43"/>
                <a:gd name="T7" fmla="*/ 42 h 43"/>
                <a:gd name="T8" fmla="*/ 23 w 43"/>
                <a:gd name="T9" fmla="*/ 43 h 43"/>
                <a:gd name="T10" fmla="*/ 16 w 43"/>
                <a:gd name="T11" fmla="*/ 40 h 43"/>
                <a:gd name="T12" fmla="*/ 10 w 43"/>
                <a:gd name="T13" fmla="*/ 36 h 43"/>
                <a:gd name="T14" fmla="*/ 5 w 43"/>
                <a:gd name="T15" fmla="*/ 31 h 43"/>
                <a:gd name="T16" fmla="*/ 4 w 43"/>
                <a:gd name="T17" fmla="*/ 24 h 43"/>
                <a:gd name="T18" fmla="*/ 1 w 43"/>
                <a:gd name="T19" fmla="*/ 17 h 43"/>
                <a:gd name="T20" fmla="*/ 4 w 43"/>
                <a:gd name="T21" fmla="*/ 11 h 43"/>
                <a:gd name="T22" fmla="*/ 8 w 43"/>
                <a:gd name="T23" fmla="*/ 5 h 43"/>
                <a:gd name="T24" fmla="*/ 13 w 43"/>
                <a:gd name="T25" fmla="*/ 3 h 43"/>
                <a:gd name="T26" fmla="*/ 21 w 43"/>
                <a:gd name="T27" fmla="*/ 3 h 43"/>
                <a:gd name="T28" fmla="*/ 27 w 43"/>
                <a:gd name="T29" fmla="*/ 4 h 43"/>
                <a:gd name="T30" fmla="*/ 33 w 43"/>
                <a:gd name="T31" fmla="*/ 7 h 43"/>
                <a:gd name="T32" fmla="*/ 34 w 43"/>
                <a:gd name="T33" fmla="*/ 14 h 43"/>
                <a:gd name="T34" fmla="*/ 35 w 43"/>
                <a:gd name="T35" fmla="*/ 15 h 43"/>
                <a:gd name="T36" fmla="*/ 37 w 43"/>
                <a:gd name="T37" fmla="*/ 2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" h="43">
                  <a:moveTo>
                    <a:pt x="37" y="22"/>
                  </a:moveTo>
                  <a:cubicBezTo>
                    <a:pt x="38" y="24"/>
                    <a:pt x="43" y="24"/>
                    <a:pt x="41" y="28"/>
                  </a:cubicBezTo>
                  <a:cubicBezTo>
                    <a:pt x="40" y="30"/>
                    <a:pt x="38" y="33"/>
                    <a:pt x="37" y="35"/>
                  </a:cubicBezTo>
                  <a:cubicBezTo>
                    <a:pt x="37" y="37"/>
                    <a:pt x="38" y="41"/>
                    <a:pt x="34" y="42"/>
                  </a:cubicBezTo>
                  <a:cubicBezTo>
                    <a:pt x="31" y="42"/>
                    <a:pt x="27" y="43"/>
                    <a:pt x="23" y="43"/>
                  </a:cubicBezTo>
                  <a:cubicBezTo>
                    <a:pt x="21" y="42"/>
                    <a:pt x="18" y="43"/>
                    <a:pt x="16" y="40"/>
                  </a:cubicBezTo>
                  <a:cubicBezTo>
                    <a:pt x="14" y="38"/>
                    <a:pt x="11" y="38"/>
                    <a:pt x="10" y="36"/>
                  </a:cubicBezTo>
                  <a:cubicBezTo>
                    <a:pt x="8" y="34"/>
                    <a:pt x="5" y="34"/>
                    <a:pt x="5" y="31"/>
                  </a:cubicBezTo>
                  <a:cubicBezTo>
                    <a:pt x="3" y="29"/>
                    <a:pt x="3" y="27"/>
                    <a:pt x="4" y="24"/>
                  </a:cubicBezTo>
                  <a:cubicBezTo>
                    <a:pt x="4" y="22"/>
                    <a:pt x="2" y="19"/>
                    <a:pt x="1" y="17"/>
                  </a:cubicBezTo>
                  <a:cubicBezTo>
                    <a:pt x="0" y="15"/>
                    <a:pt x="1" y="12"/>
                    <a:pt x="4" y="11"/>
                  </a:cubicBezTo>
                  <a:cubicBezTo>
                    <a:pt x="7" y="10"/>
                    <a:pt x="6" y="6"/>
                    <a:pt x="8" y="5"/>
                  </a:cubicBezTo>
                  <a:cubicBezTo>
                    <a:pt x="10" y="5"/>
                    <a:pt x="12" y="4"/>
                    <a:pt x="13" y="3"/>
                  </a:cubicBezTo>
                  <a:cubicBezTo>
                    <a:pt x="16" y="2"/>
                    <a:pt x="19" y="0"/>
                    <a:pt x="21" y="3"/>
                  </a:cubicBezTo>
                  <a:cubicBezTo>
                    <a:pt x="23" y="4"/>
                    <a:pt x="25" y="3"/>
                    <a:pt x="27" y="4"/>
                  </a:cubicBezTo>
                  <a:cubicBezTo>
                    <a:pt x="29" y="5"/>
                    <a:pt x="31" y="6"/>
                    <a:pt x="33" y="7"/>
                  </a:cubicBezTo>
                  <a:cubicBezTo>
                    <a:pt x="35" y="9"/>
                    <a:pt x="34" y="12"/>
                    <a:pt x="34" y="14"/>
                  </a:cubicBezTo>
                  <a:cubicBezTo>
                    <a:pt x="34" y="14"/>
                    <a:pt x="35" y="14"/>
                    <a:pt x="35" y="15"/>
                  </a:cubicBezTo>
                  <a:cubicBezTo>
                    <a:pt x="35" y="17"/>
                    <a:pt x="36" y="20"/>
                    <a:pt x="37" y="22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25" name="Turkmenistan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520774" y="3184313"/>
              <a:ext cx="355040" cy="239658"/>
            </a:xfrm>
            <a:custGeom>
              <a:avLst/>
              <a:gdLst/>
              <a:ahLst/>
              <a:cxnLst>
                <a:cxn ang="0">
                  <a:pos x="16" y="9"/>
                </a:cxn>
                <a:cxn ang="0">
                  <a:pos x="18" y="9"/>
                </a:cxn>
                <a:cxn ang="0">
                  <a:pos x="18" y="4"/>
                </a:cxn>
                <a:cxn ang="0">
                  <a:pos x="23" y="0"/>
                </a:cxn>
                <a:cxn ang="0">
                  <a:pos x="25" y="0"/>
                </a:cxn>
                <a:cxn ang="0">
                  <a:pos x="31" y="2"/>
                </a:cxn>
                <a:cxn ang="0">
                  <a:pos x="33" y="9"/>
                </a:cxn>
                <a:cxn ang="0">
                  <a:pos x="41" y="9"/>
                </a:cxn>
                <a:cxn ang="0">
                  <a:pos x="45" y="13"/>
                </a:cxn>
                <a:cxn ang="0">
                  <a:pos x="58" y="22"/>
                </a:cxn>
                <a:cxn ang="0">
                  <a:pos x="64" y="27"/>
                </a:cxn>
                <a:cxn ang="0">
                  <a:pos x="64" y="29"/>
                </a:cxn>
                <a:cxn ang="0">
                  <a:pos x="62" y="29"/>
                </a:cxn>
                <a:cxn ang="0">
                  <a:pos x="58" y="29"/>
                </a:cxn>
                <a:cxn ang="0">
                  <a:pos x="58" y="36"/>
                </a:cxn>
                <a:cxn ang="0">
                  <a:pos x="54" y="38"/>
                </a:cxn>
                <a:cxn ang="0">
                  <a:pos x="50" y="43"/>
                </a:cxn>
                <a:cxn ang="0">
                  <a:pos x="45" y="38"/>
                </a:cxn>
                <a:cxn ang="0">
                  <a:pos x="45" y="36"/>
                </a:cxn>
                <a:cxn ang="0">
                  <a:pos x="23" y="22"/>
                </a:cxn>
                <a:cxn ang="0">
                  <a:pos x="16" y="27"/>
                </a:cxn>
                <a:cxn ang="0">
                  <a:pos x="10" y="29"/>
                </a:cxn>
                <a:cxn ang="0">
                  <a:pos x="8" y="20"/>
                </a:cxn>
                <a:cxn ang="0">
                  <a:pos x="6" y="13"/>
                </a:cxn>
                <a:cxn ang="0">
                  <a:pos x="2" y="13"/>
                </a:cxn>
                <a:cxn ang="0">
                  <a:pos x="2" y="11"/>
                </a:cxn>
                <a:cxn ang="0">
                  <a:pos x="8" y="11"/>
                </a:cxn>
                <a:cxn ang="0">
                  <a:pos x="8" y="9"/>
                </a:cxn>
                <a:cxn ang="0">
                  <a:pos x="6" y="4"/>
                </a:cxn>
                <a:cxn ang="0">
                  <a:pos x="2" y="4"/>
                </a:cxn>
                <a:cxn ang="0">
                  <a:pos x="2" y="9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6" y="2"/>
                </a:cxn>
                <a:cxn ang="0">
                  <a:pos x="14" y="9"/>
                </a:cxn>
                <a:cxn ang="0">
                  <a:pos x="16" y="9"/>
                </a:cxn>
              </a:cxnLst>
              <a:rect l="0" t="0" r="r" b="b"/>
              <a:pathLst>
                <a:path w="64" h="43">
                  <a:moveTo>
                    <a:pt x="16" y="9"/>
                  </a:moveTo>
                  <a:lnTo>
                    <a:pt x="18" y="9"/>
                  </a:lnTo>
                  <a:lnTo>
                    <a:pt x="18" y="4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31" y="2"/>
                  </a:lnTo>
                  <a:lnTo>
                    <a:pt x="33" y="9"/>
                  </a:lnTo>
                  <a:lnTo>
                    <a:pt x="41" y="9"/>
                  </a:lnTo>
                  <a:lnTo>
                    <a:pt x="45" y="13"/>
                  </a:lnTo>
                  <a:lnTo>
                    <a:pt x="58" y="22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58" y="29"/>
                  </a:lnTo>
                  <a:lnTo>
                    <a:pt x="58" y="36"/>
                  </a:lnTo>
                  <a:lnTo>
                    <a:pt x="54" y="38"/>
                  </a:lnTo>
                  <a:lnTo>
                    <a:pt x="50" y="43"/>
                  </a:lnTo>
                  <a:lnTo>
                    <a:pt x="45" y="38"/>
                  </a:lnTo>
                  <a:lnTo>
                    <a:pt x="45" y="36"/>
                  </a:lnTo>
                  <a:lnTo>
                    <a:pt x="23" y="22"/>
                  </a:lnTo>
                  <a:lnTo>
                    <a:pt x="16" y="27"/>
                  </a:lnTo>
                  <a:lnTo>
                    <a:pt x="10" y="29"/>
                  </a:lnTo>
                  <a:lnTo>
                    <a:pt x="8" y="20"/>
                  </a:lnTo>
                  <a:lnTo>
                    <a:pt x="6" y="13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8" y="11"/>
                  </a:lnTo>
                  <a:lnTo>
                    <a:pt x="8" y="9"/>
                  </a:lnTo>
                  <a:lnTo>
                    <a:pt x="6" y="4"/>
                  </a:lnTo>
                  <a:lnTo>
                    <a:pt x="2" y="4"/>
                  </a:lnTo>
                  <a:lnTo>
                    <a:pt x="2" y="9"/>
                  </a:lnTo>
                  <a:lnTo>
                    <a:pt x="0" y="4"/>
                  </a:lnTo>
                  <a:lnTo>
                    <a:pt x="2" y="2"/>
                  </a:lnTo>
                  <a:lnTo>
                    <a:pt x="6" y="2"/>
                  </a:lnTo>
                  <a:lnTo>
                    <a:pt x="14" y="9"/>
                  </a:lnTo>
                  <a:lnTo>
                    <a:pt x="16" y="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26" name="Turkey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893906" y="3195461"/>
              <a:ext cx="460443" cy="200643"/>
            </a:xfrm>
            <a:custGeom>
              <a:avLst/>
              <a:gdLst/>
              <a:ahLst/>
              <a:cxnLst>
                <a:cxn ang="0">
                  <a:pos x="73" y="7"/>
                </a:cxn>
                <a:cxn ang="0">
                  <a:pos x="73" y="2"/>
                </a:cxn>
                <a:cxn ang="0">
                  <a:pos x="67" y="2"/>
                </a:cxn>
                <a:cxn ang="0">
                  <a:pos x="58" y="7"/>
                </a:cxn>
                <a:cxn ang="0">
                  <a:pos x="48" y="7"/>
                </a:cxn>
                <a:cxn ang="0">
                  <a:pos x="35" y="0"/>
                </a:cxn>
                <a:cxn ang="0">
                  <a:pos x="31" y="0"/>
                </a:cxn>
                <a:cxn ang="0">
                  <a:pos x="23" y="7"/>
                </a:cxn>
                <a:cxn ang="0">
                  <a:pos x="17" y="7"/>
                </a:cxn>
                <a:cxn ang="0">
                  <a:pos x="10" y="7"/>
                </a:cxn>
                <a:cxn ang="0">
                  <a:pos x="8" y="2"/>
                </a:cxn>
                <a:cxn ang="0">
                  <a:pos x="0" y="2"/>
                </a:cxn>
                <a:cxn ang="0">
                  <a:pos x="0" y="9"/>
                </a:cxn>
                <a:cxn ang="0">
                  <a:pos x="2" y="9"/>
                </a:cxn>
                <a:cxn ang="0">
                  <a:pos x="0" y="11"/>
                </a:cxn>
                <a:cxn ang="0">
                  <a:pos x="4" y="7"/>
                </a:cxn>
                <a:cxn ang="0">
                  <a:pos x="10" y="7"/>
                </a:cxn>
                <a:cxn ang="0">
                  <a:pos x="12" y="9"/>
                </a:cxn>
                <a:cxn ang="0">
                  <a:pos x="10" y="9"/>
                </a:cxn>
                <a:cxn ang="0">
                  <a:pos x="12" y="11"/>
                </a:cxn>
                <a:cxn ang="0">
                  <a:pos x="2" y="11"/>
                </a:cxn>
                <a:cxn ang="0">
                  <a:pos x="0" y="11"/>
                </a:cxn>
                <a:cxn ang="0">
                  <a:pos x="0" y="16"/>
                </a:cxn>
                <a:cxn ang="0">
                  <a:pos x="2" y="16"/>
                </a:cxn>
                <a:cxn ang="0">
                  <a:pos x="4" y="20"/>
                </a:cxn>
                <a:cxn ang="0">
                  <a:pos x="2" y="20"/>
                </a:cxn>
                <a:cxn ang="0">
                  <a:pos x="4" y="25"/>
                </a:cxn>
                <a:cxn ang="0">
                  <a:pos x="4" y="27"/>
                </a:cxn>
                <a:cxn ang="0">
                  <a:pos x="8" y="27"/>
                </a:cxn>
                <a:cxn ang="0">
                  <a:pos x="4" y="29"/>
                </a:cxn>
                <a:cxn ang="0">
                  <a:pos x="10" y="29"/>
                </a:cxn>
                <a:cxn ang="0">
                  <a:pos x="8" y="29"/>
                </a:cxn>
                <a:cxn ang="0">
                  <a:pos x="17" y="34"/>
                </a:cxn>
                <a:cxn ang="0">
                  <a:pos x="19" y="34"/>
                </a:cxn>
                <a:cxn ang="0">
                  <a:pos x="23" y="29"/>
                </a:cxn>
                <a:cxn ang="0">
                  <a:pos x="25" y="29"/>
                </a:cxn>
                <a:cxn ang="0">
                  <a:pos x="31" y="36"/>
                </a:cxn>
                <a:cxn ang="0">
                  <a:pos x="33" y="34"/>
                </a:cxn>
                <a:cxn ang="0">
                  <a:pos x="40" y="29"/>
                </a:cxn>
                <a:cxn ang="0">
                  <a:pos x="42" y="34"/>
                </a:cxn>
                <a:cxn ang="0">
                  <a:pos x="44" y="29"/>
                </a:cxn>
                <a:cxn ang="0">
                  <a:pos x="44" y="36"/>
                </a:cxn>
                <a:cxn ang="0">
                  <a:pos x="48" y="34"/>
                </a:cxn>
                <a:cxn ang="0">
                  <a:pos x="48" y="29"/>
                </a:cxn>
                <a:cxn ang="0">
                  <a:pos x="56" y="29"/>
                </a:cxn>
                <a:cxn ang="0">
                  <a:pos x="58" y="29"/>
                </a:cxn>
                <a:cxn ang="0">
                  <a:pos x="65" y="29"/>
                </a:cxn>
                <a:cxn ang="0">
                  <a:pos x="73" y="27"/>
                </a:cxn>
                <a:cxn ang="0">
                  <a:pos x="75" y="27"/>
                </a:cxn>
                <a:cxn ang="0">
                  <a:pos x="83" y="27"/>
                </a:cxn>
                <a:cxn ang="0">
                  <a:pos x="79" y="16"/>
                </a:cxn>
                <a:cxn ang="0">
                  <a:pos x="81" y="11"/>
                </a:cxn>
                <a:cxn ang="0">
                  <a:pos x="75" y="11"/>
                </a:cxn>
                <a:cxn ang="0">
                  <a:pos x="73" y="9"/>
                </a:cxn>
                <a:cxn ang="0">
                  <a:pos x="73" y="7"/>
                </a:cxn>
              </a:cxnLst>
              <a:rect l="0" t="0" r="r" b="b"/>
              <a:pathLst>
                <a:path w="83" h="36">
                  <a:moveTo>
                    <a:pt x="73" y="7"/>
                  </a:moveTo>
                  <a:lnTo>
                    <a:pt x="73" y="2"/>
                  </a:lnTo>
                  <a:lnTo>
                    <a:pt x="67" y="2"/>
                  </a:lnTo>
                  <a:lnTo>
                    <a:pt x="58" y="7"/>
                  </a:lnTo>
                  <a:lnTo>
                    <a:pt x="48" y="7"/>
                  </a:lnTo>
                  <a:lnTo>
                    <a:pt x="35" y="0"/>
                  </a:lnTo>
                  <a:lnTo>
                    <a:pt x="31" y="0"/>
                  </a:lnTo>
                  <a:lnTo>
                    <a:pt x="23" y="7"/>
                  </a:lnTo>
                  <a:lnTo>
                    <a:pt x="17" y="7"/>
                  </a:lnTo>
                  <a:lnTo>
                    <a:pt x="10" y="7"/>
                  </a:lnTo>
                  <a:lnTo>
                    <a:pt x="8" y="2"/>
                  </a:lnTo>
                  <a:lnTo>
                    <a:pt x="0" y="2"/>
                  </a:lnTo>
                  <a:lnTo>
                    <a:pt x="0" y="9"/>
                  </a:lnTo>
                  <a:lnTo>
                    <a:pt x="2" y="9"/>
                  </a:lnTo>
                  <a:lnTo>
                    <a:pt x="0" y="11"/>
                  </a:lnTo>
                  <a:lnTo>
                    <a:pt x="4" y="7"/>
                  </a:lnTo>
                  <a:lnTo>
                    <a:pt x="10" y="7"/>
                  </a:lnTo>
                  <a:lnTo>
                    <a:pt x="12" y="9"/>
                  </a:lnTo>
                  <a:lnTo>
                    <a:pt x="10" y="9"/>
                  </a:lnTo>
                  <a:lnTo>
                    <a:pt x="12" y="11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4" y="25"/>
                  </a:lnTo>
                  <a:lnTo>
                    <a:pt x="4" y="27"/>
                  </a:lnTo>
                  <a:lnTo>
                    <a:pt x="8" y="27"/>
                  </a:lnTo>
                  <a:lnTo>
                    <a:pt x="4" y="29"/>
                  </a:lnTo>
                  <a:lnTo>
                    <a:pt x="10" y="29"/>
                  </a:lnTo>
                  <a:lnTo>
                    <a:pt x="8" y="29"/>
                  </a:lnTo>
                  <a:lnTo>
                    <a:pt x="17" y="34"/>
                  </a:lnTo>
                  <a:lnTo>
                    <a:pt x="19" y="34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31" y="36"/>
                  </a:lnTo>
                  <a:lnTo>
                    <a:pt x="33" y="34"/>
                  </a:lnTo>
                  <a:lnTo>
                    <a:pt x="40" y="29"/>
                  </a:lnTo>
                  <a:lnTo>
                    <a:pt x="42" y="34"/>
                  </a:lnTo>
                  <a:lnTo>
                    <a:pt x="44" y="29"/>
                  </a:lnTo>
                  <a:lnTo>
                    <a:pt x="44" y="36"/>
                  </a:lnTo>
                  <a:lnTo>
                    <a:pt x="48" y="34"/>
                  </a:lnTo>
                  <a:lnTo>
                    <a:pt x="48" y="29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65" y="29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83" y="27"/>
                  </a:lnTo>
                  <a:lnTo>
                    <a:pt x="79" y="16"/>
                  </a:lnTo>
                  <a:lnTo>
                    <a:pt x="81" y="11"/>
                  </a:lnTo>
                  <a:lnTo>
                    <a:pt x="75" y="11"/>
                  </a:lnTo>
                  <a:lnTo>
                    <a:pt x="73" y="9"/>
                  </a:lnTo>
                  <a:lnTo>
                    <a:pt x="73" y="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27" name="Tunesia"/>
            <p:cNvGrpSpPr/>
            <p:nvPr/>
          </p:nvGrpSpPr>
          <p:grpSpPr>
            <a:xfrm>
              <a:off x="4448040" y="3357196"/>
              <a:ext cx="98459" cy="221979"/>
              <a:chOff x="2070100" y="2238375"/>
              <a:chExt cx="222250" cy="422275"/>
            </a:xfrm>
            <a:grpFill/>
          </p:grpSpPr>
          <p:sp>
            <p:nvSpPr>
              <p:cNvPr id="378" name="Tunesia"/>
              <p:cNvSpPr>
                <a:spLocks/>
              </p:cNvSpPr>
              <p:nvPr/>
            </p:nvSpPr>
            <p:spPr bwMode="auto">
              <a:xfrm>
                <a:off x="2070100" y="2238375"/>
                <a:ext cx="222250" cy="422275"/>
              </a:xfrm>
              <a:custGeom>
                <a:avLst/>
                <a:gdLst>
                  <a:gd name="T0" fmla="*/ 264 w 271"/>
                  <a:gd name="T1" fmla="*/ 307 h 514"/>
                  <a:gd name="T2" fmla="*/ 261 w 271"/>
                  <a:gd name="T3" fmla="*/ 339 h 514"/>
                  <a:gd name="T4" fmla="*/ 258 w 271"/>
                  <a:gd name="T5" fmla="*/ 360 h 514"/>
                  <a:gd name="T6" fmla="*/ 220 w 271"/>
                  <a:gd name="T7" fmla="*/ 378 h 514"/>
                  <a:gd name="T8" fmla="*/ 199 w 271"/>
                  <a:gd name="T9" fmla="*/ 400 h 514"/>
                  <a:gd name="T10" fmla="*/ 175 w 271"/>
                  <a:gd name="T11" fmla="*/ 416 h 514"/>
                  <a:gd name="T12" fmla="*/ 177 w 271"/>
                  <a:gd name="T13" fmla="*/ 465 h 514"/>
                  <a:gd name="T14" fmla="*/ 148 w 271"/>
                  <a:gd name="T15" fmla="*/ 505 h 514"/>
                  <a:gd name="T16" fmla="*/ 126 w 271"/>
                  <a:gd name="T17" fmla="*/ 511 h 514"/>
                  <a:gd name="T18" fmla="*/ 123 w 271"/>
                  <a:gd name="T19" fmla="*/ 504 h 514"/>
                  <a:gd name="T20" fmla="*/ 99 w 271"/>
                  <a:gd name="T21" fmla="*/ 378 h 514"/>
                  <a:gd name="T22" fmla="*/ 53 w 271"/>
                  <a:gd name="T23" fmla="*/ 345 h 514"/>
                  <a:gd name="T24" fmla="*/ 46 w 271"/>
                  <a:gd name="T25" fmla="*/ 315 h 514"/>
                  <a:gd name="T26" fmla="*/ 15 w 271"/>
                  <a:gd name="T27" fmla="*/ 291 h 514"/>
                  <a:gd name="T28" fmla="*/ 3 w 271"/>
                  <a:gd name="T29" fmla="*/ 241 h 514"/>
                  <a:gd name="T30" fmla="*/ 28 w 271"/>
                  <a:gd name="T31" fmla="*/ 209 h 514"/>
                  <a:gd name="T32" fmla="*/ 58 w 271"/>
                  <a:gd name="T33" fmla="*/ 180 h 514"/>
                  <a:gd name="T34" fmla="*/ 60 w 271"/>
                  <a:gd name="T35" fmla="*/ 167 h 514"/>
                  <a:gd name="T36" fmla="*/ 62 w 271"/>
                  <a:gd name="T37" fmla="*/ 143 h 514"/>
                  <a:gd name="T38" fmla="*/ 61 w 271"/>
                  <a:gd name="T39" fmla="*/ 111 h 514"/>
                  <a:gd name="T40" fmla="*/ 70 w 271"/>
                  <a:gd name="T41" fmla="*/ 63 h 514"/>
                  <a:gd name="T42" fmla="*/ 63 w 271"/>
                  <a:gd name="T43" fmla="*/ 53 h 514"/>
                  <a:gd name="T44" fmla="*/ 76 w 271"/>
                  <a:gd name="T45" fmla="*/ 38 h 514"/>
                  <a:gd name="T46" fmla="*/ 89 w 271"/>
                  <a:gd name="T47" fmla="*/ 27 h 514"/>
                  <a:gd name="T48" fmla="*/ 88 w 271"/>
                  <a:gd name="T49" fmla="*/ 26 h 514"/>
                  <a:gd name="T50" fmla="*/ 103 w 271"/>
                  <a:gd name="T51" fmla="*/ 20 h 514"/>
                  <a:gd name="T52" fmla="*/ 132 w 271"/>
                  <a:gd name="T53" fmla="*/ 5 h 514"/>
                  <a:gd name="T54" fmla="*/ 159 w 271"/>
                  <a:gd name="T55" fmla="*/ 1 h 514"/>
                  <a:gd name="T56" fmla="*/ 189 w 271"/>
                  <a:gd name="T57" fmla="*/ 8 h 514"/>
                  <a:gd name="T58" fmla="*/ 192 w 271"/>
                  <a:gd name="T59" fmla="*/ 19 h 514"/>
                  <a:gd name="T60" fmla="*/ 194 w 271"/>
                  <a:gd name="T61" fmla="*/ 32 h 514"/>
                  <a:gd name="T62" fmla="*/ 201 w 271"/>
                  <a:gd name="T63" fmla="*/ 40 h 514"/>
                  <a:gd name="T64" fmla="*/ 212 w 271"/>
                  <a:gd name="T65" fmla="*/ 37 h 514"/>
                  <a:gd name="T66" fmla="*/ 230 w 271"/>
                  <a:gd name="T67" fmla="*/ 25 h 514"/>
                  <a:gd name="T68" fmla="*/ 242 w 271"/>
                  <a:gd name="T69" fmla="*/ 21 h 514"/>
                  <a:gd name="T70" fmla="*/ 247 w 271"/>
                  <a:gd name="T71" fmla="*/ 34 h 514"/>
                  <a:gd name="T72" fmla="*/ 233 w 271"/>
                  <a:gd name="T73" fmla="*/ 58 h 514"/>
                  <a:gd name="T74" fmla="*/ 214 w 271"/>
                  <a:gd name="T75" fmla="*/ 67 h 514"/>
                  <a:gd name="T76" fmla="*/ 207 w 271"/>
                  <a:gd name="T77" fmla="*/ 79 h 514"/>
                  <a:gd name="T78" fmla="*/ 209 w 271"/>
                  <a:gd name="T79" fmla="*/ 99 h 514"/>
                  <a:gd name="T80" fmla="*/ 216 w 271"/>
                  <a:gd name="T81" fmla="*/ 109 h 514"/>
                  <a:gd name="T82" fmla="*/ 228 w 271"/>
                  <a:gd name="T83" fmla="*/ 114 h 514"/>
                  <a:gd name="T84" fmla="*/ 239 w 271"/>
                  <a:gd name="T85" fmla="*/ 124 h 514"/>
                  <a:gd name="T86" fmla="*/ 243 w 271"/>
                  <a:gd name="T87" fmla="*/ 147 h 514"/>
                  <a:gd name="T88" fmla="*/ 239 w 271"/>
                  <a:gd name="T89" fmla="*/ 159 h 514"/>
                  <a:gd name="T90" fmla="*/ 222 w 271"/>
                  <a:gd name="T91" fmla="*/ 189 h 514"/>
                  <a:gd name="T92" fmla="*/ 194 w 271"/>
                  <a:gd name="T93" fmla="*/ 208 h 514"/>
                  <a:gd name="T94" fmla="*/ 180 w 271"/>
                  <a:gd name="T95" fmla="*/ 216 h 514"/>
                  <a:gd name="T96" fmla="*/ 174 w 271"/>
                  <a:gd name="T97" fmla="*/ 226 h 514"/>
                  <a:gd name="T98" fmla="*/ 168 w 271"/>
                  <a:gd name="T99" fmla="*/ 234 h 514"/>
                  <a:gd name="T100" fmla="*/ 158 w 271"/>
                  <a:gd name="T101" fmla="*/ 234 h 514"/>
                  <a:gd name="T102" fmla="*/ 160 w 271"/>
                  <a:gd name="T103" fmla="*/ 251 h 514"/>
                  <a:gd name="T104" fmla="*/ 169 w 271"/>
                  <a:gd name="T105" fmla="*/ 260 h 514"/>
                  <a:gd name="T106" fmla="*/ 195 w 271"/>
                  <a:gd name="T107" fmla="*/ 265 h 514"/>
                  <a:gd name="T108" fmla="*/ 204 w 271"/>
                  <a:gd name="T109" fmla="*/ 277 h 514"/>
                  <a:gd name="T110" fmla="*/ 221 w 271"/>
                  <a:gd name="T111" fmla="*/ 271 h 514"/>
                  <a:gd name="T112" fmla="*/ 227 w 271"/>
                  <a:gd name="T113" fmla="*/ 288 h 514"/>
                  <a:gd name="T114" fmla="*/ 232 w 271"/>
                  <a:gd name="T115" fmla="*/ 300 h 514"/>
                  <a:gd name="T116" fmla="*/ 245 w 271"/>
                  <a:gd name="T117" fmla="*/ 299 h 514"/>
                  <a:gd name="T118" fmla="*/ 264 w 271"/>
                  <a:gd name="T119" fmla="*/ 307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71" h="514">
                    <a:moveTo>
                      <a:pt x="264" y="307"/>
                    </a:moveTo>
                    <a:cubicBezTo>
                      <a:pt x="261" y="319"/>
                      <a:pt x="261" y="326"/>
                      <a:pt x="261" y="339"/>
                    </a:cubicBezTo>
                    <a:cubicBezTo>
                      <a:pt x="265" y="346"/>
                      <a:pt x="271" y="356"/>
                      <a:pt x="258" y="360"/>
                    </a:cubicBezTo>
                    <a:cubicBezTo>
                      <a:pt x="246" y="366"/>
                      <a:pt x="230" y="370"/>
                      <a:pt x="220" y="378"/>
                    </a:cubicBezTo>
                    <a:cubicBezTo>
                      <a:pt x="215" y="389"/>
                      <a:pt x="200" y="387"/>
                      <a:pt x="199" y="400"/>
                    </a:cubicBezTo>
                    <a:cubicBezTo>
                      <a:pt x="192" y="410"/>
                      <a:pt x="178" y="402"/>
                      <a:pt x="175" y="416"/>
                    </a:cubicBezTo>
                    <a:cubicBezTo>
                      <a:pt x="159" y="429"/>
                      <a:pt x="180" y="449"/>
                      <a:pt x="177" y="465"/>
                    </a:cubicBezTo>
                    <a:cubicBezTo>
                      <a:pt x="172" y="481"/>
                      <a:pt x="159" y="493"/>
                      <a:pt x="148" y="505"/>
                    </a:cubicBezTo>
                    <a:cubicBezTo>
                      <a:pt x="142" y="505"/>
                      <a:pt x="131" y="514"/>
                      <a:pt x="126" y="511"/>
                    </a:cubicBezTo>
                    <a:cubicBezTo>
                      <a:pt x="124" y="511"/>
                      <a:pt x="123" y="508"/>
                      <a:pt x="123" y="504"/>
                    </a:cubicBezTo>
                    <a:cubicBezTo>
                      <a:pt x="115" y="462"/>
                      <a:pt x="107" y="420"/>
                      <a:pt x="99" y="378"/>
                    </a:cubicBezTo>
                    <a:cubicBezTo>
                      <a:pt x="84" y="367"/>
                      <a:pt x="68" y="356"/>
                      <a:pt x="53" y="345"/>
                    </a:cubicBezTo>
                    <a:cubicBezTo>
                      <a:pt x="52" y="335"/>
                      <a:pt x="54" y="323"/>
                      <a:pt x="46" y="315"/>
                    </a:cubicBezTo>
                    <a:cubicBezTo>
                      <a:pt x="42" y="300"/>
                      <a:pt x="23" y="301"/>
                      <a:pt x="15" y="291"/>
                    </a:cubicBezTo>
                    <a:cubicBezTo>
                      <a:pt x="19" y="273"/>
                      <a:pt x="0" y="260"/>
                      <a:pt x="3" y="241"/>
                    </a:cubicBezTo>
                    <a:cubicBezTo>
                      <a:pt x="2" y="223"/>
                      <a:pt x="25" y="225"/>
                      <a:pt x="28" y="209"/>
                    </a:cubicBezTo>
                    <a:cubicBezTo>
                      <a:pt x="39" y="201"/>
                      <a:pt x="58" y="198"/>
                      <a:pt x="58" y="180"/>
                    </a:cubicBezTo>
                    <a:cubicBezTo>
                      <a:pt x="57" y="175"/>
                      <a:pt x="56" y="170"/>
                      <a:pt x="60" y="167"/>
                    </a:cubicBezTo>
                    <a:cubicBezTo>
                      <a:pt x="61" y="157"/>
                      <a:pt x="77" y="148"/>
                      <a:pt x="62" y="143"/>
                    </a:cubicBezTo>
                    <a:cubicBezTo>
                      <a:pt x="62" y="132"/>
                      <a:pt x="70" y="121"/>
                      <a:pt x="61" y="111"/>
                    </a:cubicBezTo>
                    <a:cubicBezTo>
                      <a:pt x="60" y="94"/>
                      <a:pt x="69" y="79"/>
                      <a:pt x="70" y="63"/>
                    </a:cubicBezTo>
                    <a:cubicBezTo>
                      <a:pt x="67" y="59"/>
                      <a:pt x="54" y="59"/>
                      <a:pt x="63" y="53"/>
                    </a:cubicBezTo>
                    <a:cubicBezTo>
                      <a:pt x="70" y="52"/>
                      <a:pt x="82" y="47"/>
                      <a:pt x="76" y="38"/>
                    </a:cubicBezTo>
                    <a:cubicBezTo>
                      <a:pt x="83" y="34"/>
                      <a:pt x="93" y="41"/>
                      <a:pt x="89" y="27"/>
                    </a:cubicBezTo>
                    <a:cubicBezTo>
                      <a:pt x="88" y="26"/>
                      <a:pt x="88" y="26"/>
                      <a:pt x="88" y="26"/>
                    </a:cubicBezTo>
                    <a:cubicBezTo>
                      <a:pt x="94" y="26"/>
                      <a:pt x="100" y="25"/>
                      <a:pt x="103" y="20"/>
                    </a:cubicBezTo>
                    <a:cubicBezTo>
                      <a:pt x="112" y="13"/>
                      <a:pt x="122" y="9"/>
                      <a:pt x="132" y="5"/>
                    </a:cubicBezTo>
                    <a:cubicBezTo>
                      <a:pt x="141" y="2"/>
                      <a:pt x="150" y="1"/>
                      <a:pt x="159" y="1"/>
                    </a:cubicBezTo>
                    <a:cubicBezTo>
                      <a:pt x="170" y="0"/>
                      <a:pt x="179" y="5"/>
                      <a:pt x="189" y="8"/>
                    </a:cubicBezTo>
                    <a:cubicBezTo>
                      <a:pt x="187" y="10"/>
                      <a:pt x="190" y="16"/>
                      <a:pt x="192" y="19"/>
                    </a:cubicBezTo>
                    <a:cubicBezTo>
                      <a:pt x="195" y="23"/>
                      <a:pt x="197" y="27"/>
                      <a:pt x="194" y="32"/>
                    </a:cubicBezTo>
                    <a:cubicBezTo>
                      <a:pt x="192" y="37"/>
                      <a:pt x="197" y="38"/>
                      <a:pt x="201" y="40"/>
                    </a:cubicBezTo>
                    <a:cubicBezTo>
                      <a:pt x="205" y="43"/>
                      <a:pt x="208" y="39"/>
                      <a:pt x="212" y="37"/>
                    </a:cubicBezTo>
                    <a:cubicBezTo>
                      <a:pt x="219" y="36"/>
                      <a:pt x="225" y="31"/>
                      <a:pt x="230" y="25"/>
                    </a:cubicBezTo>
                    <a:cubicBezTo>
                      <a:pt x="232" y="20"/>
                      <a:pt x="237" y="21"/>
                      <a:pt x="242" y="21"/>
                    </a:cubicBezTo>
                    <a:cubicBezTo>
                      <a:pt x="244" y="25"/>
                      <a:pt x="245" y="30"/>
                      <a:pt x="247" y="34"/>
                    </a:cubicBezTo>
                    <a:cubicBezTo>
                      <a:pt x="242" y="41"/>
                      <a:pt x="238" y="50"/>
                      <a:pt x="233" y="58"/>
                    </a:cubicBezTo>
                    <a:cubicBezTo>
                      <a:pt x="227" y="60"/>
                      <a:pt x="219" y="62"/>
                      <a:pt x="214" y="67"/>
                    </a:cubicBezTo>
                    <a:cubicBezTo>
                      <a:pt x="209" y="69"/>
                      <a:pt x="208" y="74"/>
                      <a:pt x="207" y="79"/>
                    </a:cubicBezTo>
                    <a:cubicBezTo>
                      <a:pt x="204" y="85"/>
                      <a:pt x="208" y="92"/>
                      <a:pt x="209" y="99"/>
                    </a:cubicBezTo>
                    <a:cubicBezTo>
                      <a:pt x="210" y="102"/>
                      <a:pt x="212" y="108"/>
                      <a:pt x="216" y="109"/>
                    </a:cubicBezTo>
                    <a:cubicBezTo>
                      <a:pt x="220" y="110"/>
                      <a:pt x="227" y="108"/>
                      <a:pt x="228" y="114"/>
                    </a:cubicBezTo>
                    <a:cubicBezTo>
                      <a:pt x="228" y="119"/>
                      <a:pt x="234" y="121"/>
                      <a:pt x="239" y="124"/>
                    </a:cubicBezTo>
                    <a:cubicBezTo>
                      <a:pt x="240" y="132"/>
                      <a:pt x="240" y="140"/>
                      <a:pt x="243" y="147"/>
                    </a:cubicBezTo>
                    <a:cubicBezTo>
                      <a:pt x="246" y="152"/>
                      <a:pt x="241" y="155"/>
                      <a:pt x="239" y="159"/>
                    </a:cubicBezTo>
                    <a:cubicBezTo>
                      <a:pt x="234" y="169"/>
                      <a:pt x="230" y="181"/>
                      <a:pt x="222" y="189"/>
                    </a:cubicBezTo>
                    <a:cubicBezTo>
                      <a:pt x="213" y="196"/>
                      <a:pt x="205" y="204"/>
                      <a:pt x="194" y="208"/>
                    </a:cubicBezTo>
                    <a:cubicBezTo>
                      <a:pt x="190" y="212"/>
                      <a:pt x="186" y="216"/>
                      <a:pt x="180" y="216"/>
                    </a:cubicBezTo>
                    <a:cubicBezTo>
                      <a:pt x="175" y="217"/>
                      <a:pt x="175" y="223"/>
                      <a:pt x="174" y="226"/>
                    </a:cubicBezTo>
                    <a:cubicBezTo>
                      <a:pt x="172" y="230"/>
                      <a:pt x="175" y="237"/>
                      <a:pt x="168" y="234"/>
                    </a:cubicBezTo>
                    <a:cubicBezTo>
                      <a:pt x="165" y="234"/>
                      <a:pt x="157" y="228"/>
                      <a:pt x="158" y="234"/>
                    </a:cubicBezTo>
                    <a:cubicBezTo>
                      <a:pt x="158" y="240"/>
                      <a:pt x="158" y="246"/>
                      <a:pt x="160" y="251"/>
                    </a:cubicBezTo>
                    <a:cubicBezTo>
                      <a:pt x="160" y="257"/>
                      <a:pt x="166" y="258"/>
                      <a:pt x="169" y="260"/>
                    </a:cubicBezTo>
                    <a:cubicBezTo>
                      <a:pt x="176" y="267"/>
                      <a:pt x="187" y="269"/>
                      <a:pt x="195" y="265"/>
                    </a:cubicBezTo>
                    <a:cubicBezTo>
                      <a:pt x="197" y="270"/>
                      <a:pt x="200" y="274"/>
                      <a:pt x="204" y="277"/>
                    </a:cubicBezTo>
                    <a:cubicBezTo>
                      <a:pt x="209" y="275"/>
                      <a:pt x="214" y="270"/>
                      <a:pt x="221" y="271"/>
                    </a:cubicBezTo>
                    <a:cubicBezTo>
                      <a:pt x="223" y="277"/>
                      <a:pt x="226" y="282"/>
                      <a:pt x="227" y="288"/>
                    </a:cubicBezTo>
                    <a:cubicBezTo>
                      <a:pt x="229" y="292"/>
                      <a:pt x="228" y="297"/>
                      <a:pt x="232" y="300"/>
                    </a:cubicBezTo>
                    <a:cubicBezTo>
                      <a:pt x="236" y="301"/>
                      <a:pt x="241" y="300"/>
                      <a:pt x="245" y="299"/>
                    </a:cubicBezTo>
                    <a:cubicBezTo>
                      <a:pt x="251" y="304"/>
                      <a:pt x="258" y="304"/>
                      <a:pt x="264" y="307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79" name="Tunesia"/>
              <p:cNvSpPr>
                <a:spLocks/>
              </p:cNvSpPr>
              <p:nvPr/>
            </p:nvSpPr>
            <p:spPr bwMode="auto">
              <a:xfrm>
                <a:off x="2268538" y="2389188"/>
                <a:ext cx="11113" cy="9525"/>
              </a:xfrm>
              <a:custGeom>
                <a:avLst/>
                <a:gdLst>
                  <a:gd name="T0" fmla="*/ 1 w 7"/>
                  <a:gd name="T1" fmla="*/ 5 h 6"/>
                  <a:gd name="T2" fmla="*/ 1 w 7"/>
                  <a:gd name="T3" fmla="*/ 6 h 6"/>
                  <a:gd name="T4" fmla="*/ 0 w 7"/>
                  <a:gd name="T5" fmla="*/ 6 h 6"/>
                  <a:gd name="T6" fmla="*/ 0 w 7"/>
                  <a:gd name="T7" fmla="*/ 5 h 6"/>
                  <a:gd name="T8" fmla="*/ 0 w 7"/>
                  <a:gd name="T9" fmla="*/ 5 h 6"/>
                  <a:gd name="T10" fmla="*/ 0 w 7"/>
                  <a:gd name="T11" fmla="*/ 4 h 6"/>
                  <a:gd name="T12" fmla="*/ 1 w 7"/>
                  <a:gd name="T13" fmla="*/ 4 h 6"/>
                  <a:gd name="T14" fmla="*/ 1 w 7"/>
                  <a:gd name="T15" fmla="*/ 4 h 6"/>
                  <a:gd name="T16" fmla="*/ 1 w 7"/>
                  <a:gd name="T17" fmla="*/ 4 h 6"/>
                  <a:gd name="T18" fmla="*/ 1 w 7"/>
                  <a:gd name="T19" fmla="*/ 3 h 6"/>
                  <a:gd name="T20" fmla="*/ 2 w 7"/>
                  <a:gd name="T21" fmla="*/ 3 h 6"/>
                  <a:gd name="T22" fmla="*/ 2 w 7"/>
                  <a:gd name="T23" fmla="*/ 3 h 6"/>
                  <a:gd name="T24" fmla="*/ 2 w 7"/>
                  <a:gd name="T25" fmla="*/ 2 h 6"/>
                  <a:gd name="T26" fmla="*/ 2 w 7"/>
                  <a:gd name="T27" fmla="*/ 3 h 6"/>
                  <a:gd name="T28" fmla="*/ 3 w 7"/>
                  <a:gd name="T29" fmla="*/ 3 h 6"/>
                  <a:gd name="T30" fmla="*/ 3 w 7"/>
                  <a:gd name="T31" fmla="*/ 3 h 6"/>
                  <a:gd name="T32" fmla="*/ 3 w 7"/>
                  <a:gd name="T33" fmla="*/ 2 h 6"/>
                  <a:gd name="T34" fmla="*/ 3 w 7"/>
                  <a:gd name="T35" fmla="*/ 2 h 6"/>
                  <a:gd name="T36" fmla="*/ 3 w 7"/>
                  <a:gd name="T37" fmla="*/ 2 h 6"/>
                  <a:gd name="T38" fmla="*/ 3 w 7"/>
                  <a:gd name="T39" fmla="*/ 1 h 6"/>
                  <a:gd name="T40" fmla="*/ 3 w 7"/>
                  <a:gd name="T41" fmla="*/ 1 h 6"/>
                  <a:gd name="T42" fmla="*/ 4 w 7"/>
                  <a:gd name="T43" fmla="*/ 1 h 6"/>
                  <a:gd name="T44" fmla="*/ 4 w 7"/>
                  <a:gd name="T45" fmla="*/ 1 h 6"/>
                  <a:gd name="T46" fmla="*/ 5 w 7"/>
                  <a:gd name="T47" fmla="*/ 0 h 6"/>
                  <a:gd name="T48" fmla="*/ 5 w 7"/>
                  <a:gd name="T49" fmla="*/ 0 h 6"/>
                  <a:gd name="T50" fmla="*/ 5 w 7"/>
                  <a:gd name="T51" fmla="*/ 0 h 6"/>
                  <a:gd name="T52" fmla="*/ 6 w 7"/>
                  <a:gd name="T53" fmla="*/ 0 h 6"/>
                  <a:gd name="T54" fmla="*/ 6 w 7"/>
                  <a:gd name="T55" fmla="*/ 0 h 6"/>
                  <a:gd name="T56" fmla="*/ 6 w 7"/>
                  <a:gd name="T57" fmla="*/ 1 h 6"/>
                  <a:gd name="T58" fmla="*/ 7 w 7"/>
                  <a:gd name="T59" fmla="*/ 1 h 6"/>
                  <a:gd name="T60" fmla="*/ 7 w 7"/>
                  <a:gd name="T61" fmla="*/ 1 h 6"/>
                  <a:gd name="T62" fmla="*/ 6 w 7"/>
                  <a:gd name="T63" fmla="*/ 1 h 6"/>
                  <a:gd name="T64" fmla="*/ 6 w 7"/>
                  <a:gd name="T65" fmla="*/ 1 h 6"/>
                  <a:gd name="T66" fmla="*/ 6 w 7"/>
                  <a:gd name="T67" fmla="*/ 1 h 6"/>
                  <a:gd name="T68" fmla="*/ 6 w 7"/>
                  <a:gd name="T69" fmla="*/ 1 h 6"/>
                  <a:gd name="T70" fmla="*/ 6 w 7"/>
                  <a:gd name="T71" fmla="*/ 2 h 6"/>
                  <a:gd name="T72" fmla="*/ 6 w 7"/>
                  <a:gd name="T73" fmla="*/ 2 h 6"/>
                  <a:gd name="T74" fmla="*/ 6 w 7"/>
                  <a:gd name="T75" fmla="*/ 2 h 6"/>
                  <a:gd name="T76" fmla="*/ 6 w 7"/>
                  <a:gd name="T77" fmla="*/ 3 h 6"/>
                  <a:gd name="T78" fmla="*/ 6 w 7"/>
                  <a:gd name="T79" fmla="*/ 3 h 6"/>
                  <a:gd name="T80" fmla="*/ 6 w 7"/>
                  <a:gd name="T81" fmla="*/ 3 h 6"/>
                  <a:gd name="T82" fmla="*/ 5 w 7"/>
                  <a:gd name="T83" fmla="*/ 3 h 6"/>
                  <a:gd name="T84" fmla="*/ 5 w 7"/>
                  <a:gd name="T85" fmla="*/ 4 h 6"/>
                  <a:gd name="T86" fmla="*/ 5 w 7"/>
                  <a:gd name="T87" fmla="*/ 4 h 6"/>
                  <a:gd name="T88" fmla="*/ 4 w 7"/>
                  <a:gd name="T89" fmla="*/ 4 h 6"/>
                  <a:gd name="T90" fmla="*/ 3 w 7"/>
                  <a:gd name="T91" fmla="*/ 4 h 6"/>
                  <a:gd name="T92" fmla="*/ 3 w 7"/>
                  <a:gd name="T93" fmla="*/ 4 h 6"/>
                  <a:gd name="T94" fmla="*/ 3 w 7"/>
                  <a:gd name="T95" fmla="*/ 4 h 6"/>
                  <a:gd name="T96" fmla="*/ 2 w 7"/>
                  <a:gd name="T97" fmla="*/ 4 h 6"/>
                  <a:gd name="T98" fmla="*/ 2 w 7"/>
                  <a:gd name="T99" fmla="*/ 5 h 6"/>
                  <a:gd name="T100" fmla="*/ 2 w 7"/>
                  <a:gd name="T101" fmla="*/ 5 h 6"/>
                  <a:gd name="T102" fmla="*/ 1 w 7"/>
                  <a:gd name="T103" fmla="*/ 5 h 6"/>
                  <a:gd name="T104" fmla="*/ 1 w 7"/>
                  <a:gd name="T105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" h="6">
                    <a:moveTo>
                      <a:pt x="1" y="5"/>
                    </a:moveTo>
                    <a:lnTo>
                      <a:pt x="1" y="5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1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1" y="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80" name="Tunesia"/>
              <p:cNvSpPr>
                <a:spLocks/>
              </p:cNvSpPr>
              <p:nvPr/>
            </p:nvSpPr>
            <p:spPr bwMode="auto">
              <a:xfrm>
                <a:off x="2238375" y="2443163"/>
                <a:ext cx="12700" cy="12700"/>
              </a:xfrm>
              <a:custGeom>
                <a:avLst/>
                <a:gdLst>
                  <a:gd name="T0" fmla="*/ 7 w 8"/>
                  <a:gd name="T1" fmla="*/ 2 h 8"/>
                  <a:gd name="T2" fmla="*/ 8 w 8"/>
                  <a:gd name="T3" fmla="*/ 4 h 8"/>
                  <a:gd name="T4" fmla="*/ 8 w 8"/>
                  <a:gd name="T5" fmla="*/ 7 h 8"/>
                  <a:gd name="T6" fmla="*/ 5 w 8"/>
                  <a:gd name="T7" fmla="*/ 8 h 8"/>
                  <a:gd name="T8" fmla="*/ 1 w 8"/>
                  <a:gd name="T9" fmla="*/ 7 h 8"/>
                  <a:gd name="T10" fmla="*/ 0 w 8"/>
                  <a:gd name="T11" fmla="*/ 3 h 8"/>
                  <a:gd name="T12" fmla="*/ 2 w 8"/>
                  <a:gd name="T13" fmla="*/ 1 h 8"/>
                  <a:gd name="T14" fmla="*/ 4 w 8"/>
                  <a:gd name="T15" fmla="*/ 0 h 8"/>
                  <a:gd name="T16" fmla="*/ 6 w 8"/>
                  <a:gd name="T17" fmla="*/ 1 h 8"/>
                  <a:gd name="T18" fmla="*/ 6 w 8"/>
                  <a:gd name="T19" fmla="*/ 0 h 8"/>
                  <a:gd name="T20" fmla="*/ 7 w 8"/>
                  <a:gd name="T21" fmla="*/ 1 h 8"/>
                  <a:gd name="T22" fmla="*/ 6 w 8"/>
                  <a:gd name="T23" fmla="*/ 1 h 8"/>
                  <a:gd name="T24" fmla="*/ 7 w 8"/>
                  <a:gd name="T2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8">
                    <a:moveTo>
                      <a:pt x="7" y="2"/>
                    </a:moveTo>
                    <a:lnTo>
                      <a:pt x="8" y="4"/>
                    </a:lnTo>
                    <a:lnTo>
                      <a:pt x="8" y="7"/>
                    </a:lnTo>
                    <a:lnTo>
                      <a:pt x="5" y="8"/>
                    </a:lnTo>
                    <a:lnTo>
                      <a:pt x="1" y="7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4" y="0"/>
                    </a:lnTo>
                    <a:lnTo>
                      <a:pt x="6" y="1"/>
                    </a:lnTo>
                    <a:lnTo>
                      <a:pt x="6" y="0"/>
                    </a:lnTo>
                    <a:lnTo>
                      <a:pt x="7" y="1"/>
                    </a:lnTo>
                    <a:lnTo>
                      <a:pt x="6" y="1"/>
                    </a:lnTo>
                    <a:lnTo>
                      <a:pt x="7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28" name="Trinidad and Tobago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624980" y="4198679"/>
              <a:ext cx="22190" cy="39014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4" y="7"/>
                </a:cxn>
                <a:cxn ang="0">
                  <a:pos x="4" y="0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0" y="7"/>
                </a:cxn>
              </a:cxnLst>
              <a:rect l="0" t="0" r="r" b="b"/>
              <a:pathLst>
                <a:path w="4" h="7">
                  <a:moveTo>
                    <a:pt x="0" y="7"/>
                  </a:moveTo>
                  <a:lnTo>
                    <a:pt x="4" y="7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29" name="Togo"/>
            <p:cNvSpPr>
              <a:spLocks/>
            </p:cNvSpPr>
            <p:nvPr/>
          </p:nvSpPr>
          <p:spPr bwMode="auto">
            <a:xfrm>
              <a:off x="4216663" y="4189202"/>
              <a:ext cx="52746" cy="167736"/>
            </a:xfrm>
            <a:custGeom>
              <a:avLst/>
              <a:gdLst>
                <a:gd name="T0" fmla="*/ 29 w 145"/>
                <a:gd name="T1" fmla="*/ 128 h 389"/>
                <a:gd name="T2" fmla="*/ 34 w 145"/>
                <a:gd name="T3" fmla="*/ 120 h 389"/>
                <a:gd name="T4" fmla="*/ 32 w 145"/>
                <a:gd name="T5" fmla="*/ 116 h 389"/>
                <a:gd name="T6" fmla="*/ 37 w 145"/>
                <a:gd name="T7" fmla="*/ 106 h 389"/>
                <a:gd name="T8" fmla="*/ 40 w 145"/>
                <a:gd name="T9" fmla="*/ 72 h 389"/>
                <a:gd name="T10" fmla="*/ 27 w 145"/>
                <a:gd name="T11" fmla="*/ 53 h 389"/>
                <a:gd name="T12" fmla="*/ 13 w 145"/>
                <a:gd name="T13" fmla="*/ 26 h 389"/>
                <a:gd name="T14" fmla="*/ 9 w 145"/>
                <a:gd name="T15" fmla="*/ 4 h 389"/>
                <a:gd name="T16" fmla="*/ 5 w 145"/>
                <a:gd name="T17" fmla="*/ 1 h 389"/>
                <a:gd name="T18" fmla="*/ 5 w 145"/>
                <a:gd name="T19" fmla="*/ 0 h 389"/>
                <a:gd name="T20" fmla="*/ 14 w 145"/>
                <a:gd name="T21" fmla="*/ 2 h 389"/>
                <a:gd name="T22" fmla="*/ 57 w 145"/>
                <a:gd name="T23" fmla="*/ 15 h 389"/>
                <a:gd name="T24" fmla="*/ 84 w 145"/>
                <a:gd name="T25" fmla="*/ 12 h 389"/>
                <a:gd name="T26" fmla="*/ 84 w 145"/>
                <a:gd name="T27" fmla="*/ 12 h 389"/>
                <a:gd name="T28" fmla="*/ 72 w 145"/>
                <a:gd name="T29" fmla="*/ 58 h 389"/>
                <a:gd name="T30" fmla="*/ 106 w 145"/>
                <a:gd name="T31" fmla="*/ 84 h 389"/>
                <a:gd name="T32" fmla="*/ 114 w 145"/>
                <a:gd name="T33" fmla="*/ 127 h 389"/>
                <a:gd name="T34" fmla="*/ 131 w 145"/>
                <a:gd name="T35" fmla="*/ 167 h 389"/>
                <a:gd name="T36" fmla="*/ 131 w 145"/>
                <a:gd name="T37" fmla="*/ 206 h 389"/>
                <a:gd name="T38" fmla="*/ 130 w 145"/>
                <a:gd name="T39" fmla="*/ 253 h 389"/>
                <a:gd name="T40" fmla="*/ 129 w 145"/>
                <a:gd name="T41" fmla="*/ 298 h 389"/>
                <a:gd name="T42" fmla="*/ 123 w 145"/>
                <a:gd name="T43" fmla="*/ 318 h 389"/>
                <a:gd name="T44" fmla="*/ 130 w 145"/>
                <a:gd name="T45" fmla="*/ 350 h 389"/>
                <a:gd name="T46" fmla="*/ 131 w 145"/>
                <a:gd name="T47" fmla="*/ 374 h 389"/>
                <a:gd name="T48" fmla="*/ 128 w 145"/>
                <a:gd name="T49" fmla="*/ 375 h 389"/>
                <a:gd name="T50" fmla="*/ 129 w 145"/>
                <a:gd name="T51" fmla="*/ 378 h 389"/>
                <a:gd name="T52" fmla="*/ 129 w 145"/>
                <a:gd name="T53" fmla="*/ 379 h 389"/>
                <a:gd name="T54" fmla="*/ 122 w 145"/>
                <a:gd name="T55" fmla="*/ 381 h 389"/>
                <a:gd name="T56" fmla="*/ 97 w 145"/>
                <a:gd name="T57" fmla="*/ 389 h 389"/>
                <a:gd name="T58" fmla="*/ 97 w 145"/>
                <a:gd name="T59" fmla="*/ 389 h 389"/>
                <a:gd name="T60" fmla="*/ 80 w 145"/>
                <a:gd name="T61" fmla="*/ 370 h 389"/>
                <a:gd name="T62" fmla="*/ 59 w 145"/>
                <a:gd name="T63" fmla="*/ 347 h 389"/>
                <a:gd name="T64" fmla="*/ 47 w 145"/>
                <a:gd name="T65" fmla="*/ 328 h 389"/>
                <a:gd name="T66" fmla="*/ 52 w 145"/>
                <a:gd name="T67" fmla="*/ 314 h 389"/>
                <a:gd name="T68" fmla="*/ 48 w 145"/>
                <a:gd name="T69" fmla="*/ 284 h 389"/>
                <a:gd name="T70" fmla="*/ 54 w 145"/>
                <a:gd name="T71" fmla="*/ 249 h 389"/>
                <a:gd name="T72" fmla="*/ 62 w 145"/>
                <a:gd name="T73" fmla="*/ 218 h 389"/>
                <a:gd name="T74" fmla="*/ 40 w 145"/>
                <a:gd name="T75" fmla="*/ 181 h 389"/>
                <a:gd name="T76" fmla="*/ 45 w 145"/>
                <a:gd name="T77" fmla="*/ 159 h 389"/>
                <a:gd name="T78" fmla="*/ 42 w 145"/>
                <a:gd name="T79" fmla="*/ 126 h 389"/>
                <a:gd name="T80" fmla="*/ 29 w 145"/>
                <a:gd name="T81" fmla="*/ 128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5" h="389">
                  <a:moveTo>
                    <a:pt x="29" y="128"/>
                  </a:moveTo>
                  <a:cubicBezTo>
                    <a:pt x="40" y="127"/>
                    <a:pt x="21" y="120"/>
                    <a:pt x="34" y="120"/>
                  </a:cubicBezTo>
                  <a:cubicBezTo>
                    <a:pt x="40" y="120"/>
                    <a:pt x="34" y="117"/>
                    <a:pt x="32" y="116"/>
                  </a:cubicBezTo>
                  <a:cubicBezTo>
                    <a:pt x="29" y="110"/>
                    <a:pt x="43" y="116"/>
                    <a:pt x="37" y="106"/>
                  </a:cubicBezTo>
                  <a:cubicBezTo>
                    <a:pt x="38" y="93"/>
                    <a:pt x="44" y="84"/>
                    <a:pt x="40" y="72"/>
                  </a:cubicBezTo>
                  <a:cubicBezTo>
                    <a:pt x="47" y="62"/>
                    <a:pt x="32" y="57"/>
                    <a:pt x="27" y="53"/>
                  </a:cubicBezTo>
                  <a:cubicBezTo>
                    <a:pt x="23" y="42"/>
                    <a:pt x="0" y="40"/>
                    <a:pt x="13" y="26"/>
                  </a:cubicBezTo>
                  <a:cubicBezTo>
                    <a:pt x="15" y="18"/>
                    <a:pt x="25" y="0"/>
                    <a:pt x="9" y="4"/>
                  </a:cubicBezTo>
                  <a:cubicBezTo>
                    <a:pt x="7" y="4"/>
                    <a:pt x="6" y="2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8" y="1"/>
                    <a:pt x="11" y="2"/>
                    <a:pt x="14" y="2"/>
                  </a:cubicBezTo>
                  <a:cubicBezTo>
                    <a:pt x="28" y="7"/>
                    <a:pt x="45" y="7"/>
                    <a:pt x="57" y="15"/>
                  </a:cubicBezTo>
                  <a:cubicBezTo>
                    <a:pt x="64" y="9"/>
                    <a:pt x="77" y="15"/>
                    <a:pt x="84" y="12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80" y="28"/>
                    <a:pt x="71" y="41"/>
                    <a:pt x="72" y="58"/>
                  </a:cubicBezTo>
                  <a:cubicBezTo>
                    <a:pt x="81" y="69"/>
                    <a:pt x="95" y="75"/>
                    <a:pt x="106" y="84"/>
                  </a:cubicBezTo>
                  <a:cubicBezTo>
                    <a:pt x="122" y="92"/>
                    <a:pt x="109" y="115"/>
                    <a:pt x="114" y="127"/>
                  </a:cubicBezTo>
                  <a:cubicBezTo>
                    <a:pt x="113" y="144"/>
                    <a:pt x="134" y="150"/>
                    <a:pt x="131" y="167"/>
                  </a:cubicBezTo>
                  <a:cubicBezTo>
                    <a:pt x="131" y="180"/>
                    <a:pt x="130" y="193"/>
                    <a:pt x="131" y="206"/>
                  </a:cubicBezTo>
                  <a:cubicBezTo>
                    <a:pt x="130" y="221"/>
                    <a:pt x="131" y="238"/>
                    <a:pt x="130" y="253"/>
                  </a:cubicBezTo>
                  <a:cubicBezTo>
                    <a:pt x="130" y="268"/>
                    <a:pt x="131" y="283"/>
                    <a:pt x="129" y="298"/>
                  </a:cubicBezTo>
                  <a:cubicBezTo>
                    <a:pt x="129" y="305"/>
                    <a:pt x="132" y="317"/>
                    <a:pt x="123" y="318"/>
                  </a:cubicBezTo>
                  <a:cubicBezTo>
                    <a:pt x="131" y="329"/>
                    <a:pt x="119" y="342"/>
                    <a:pt x="130" y="350"/>
                  </a:cubicBezTo>
                  <a:cubicBezTo>
                    <a:pt x="138" y="357"/>
                    <a:pt x="145" y="372"/>
                    <a:pt x="131" y="374"/>
                  </a:cubicBezTo>
                  <a:cubicBezTo>
                    <a:pt x="128" y="375"/>
                    <a:pt x="128" y="375"/>
                    <a:pt x="128" y="375"/>
                  </a:cubicBezTo>
                  <a:cubicBezTo>
                    <a:pt x="129" y="378"/>
                    <a:pt x="129" y="378"/>
                    <a:pt x="129" y="378"/>
                  </a:cubicBezTo>
                  <a:cubicBezTo>
                    <a:pt x="129" y="379"/>
                    <a:pt x="129" y="379"/>
                    <a:pt x="129" y="379"/>
                  </a:cubicBezTo>
                  <a:cubicBezTo>
                    <a:pt x="127" y="380"/>
                    <a:pt x="125" y="380"/>
                    <a:pt x="122" y="381"/>
                  </a:cubicBezTo>
                  <a:cubicBezTo>
                    <a:pt x="114" y="383"/>
                    <a:pt x="105" y="386"/>
                    <a:pt x="97" y="389"/>
                  </a:cubicBezTo>
                  <a:cubicBezTo>
                    <a:pt x="97" y="389"/>
                    <a:pt x="97" y="389"/>
                    <a:pt x="97" y="389"/>
                  </a:cubicBezTo>
                  <a:cubicBezTo>
                    <a:pt x="96" y="378"/>
                    <a:pt x="81" y="379"/>
                    <a:pt x="80" y="370"/>
                  </a:cubicBezTo>
                  <a:cubicBezTo>
                    <a:pt x="70" y="365"/>
                    <a:pt x="59" y="358"/>
                    <a:pt x="59" y="347"/>
                  </a:cubicBezTo>
                  <a:cubicBezTo>
                    <a:pt x="52" y="343"/>
                    <a:pt x="54" y="333"/>
                    <a:pt x="47" y="328"/>
                  </a:cubicBezTo>
                  <a:cubicBezTo>
                    <a:pt x="50" y="321"/>
                    <a:pt x="42" y="316"/>
                    <a:pt x="52" y="314"/>
                  </a:cubicBezTo>
                  <a:cubicBezTo>
                    <a:pt x="50" y="304"/>
                    <a:pt x="64" y="285"/>
                    <a:pt x="48" y="284"/>
                  </a:cubicBezTo>
                  <a:cubicBezTo>
                    <a:pt x="40" y="272"/>
                    <a:pt x="59" y="263"/>
                    <a:pt x="54" y="249"/>
                  </a:cubicBezTo>
                  <a:cubicBezTo>
                    <a:pt x="54" y="238"/>
                    <a:pt x="49" y="223"/>
                    <a:pt x="62" y="218"/>
                  </a:cubicBezTo>
                  <a:cubicBezTo>
                    <a:pt x="65" y="200"/>
                    <a:pt x="38" y="198"/>
                    <a:pt x="40" y="181"/>
                  </a:cubicBezTo>
                  <a:cubicBezTo>
                    <a:pt x="53" y="179"/>
                    <a:pt x="46" y="167"/>
                    <a:pt x="45" y="159"/>
                  </a:cubicBezTo>
                  <a:cubicBezTo>
                    <a:pt x="49" y="149"/>
                    <a:pt x="59" y="128"/>
                    <a:pt x="42" y="126"/>
                  </a:cubicBezTo>
                  <a:cubicBezTo>
                    <a:pt x="38" y="126"/>
                    <a:pt x="30" y="136"/>
                    <a:pt x="29" y="128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30" name="Thailand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6768962" y="3897714"/>
              <a:ext cx="210804" cy="468169"/>
            </a:xfrm>
            <a:custGeom>
              <a:avLst/>
              <a:gdLst/>
              <a:ahLst/>
              <a:cxnLst>
                <a:cxn ang="0">
                  <a:pos x="19" y="79"/>
                </a:cxn>
                <a:cxn ang="0">
                  <a:pos x="21" y="81"/>
                </a:cxn>
                <a:cxn ang="0">
                  <a:pos x="21" y="84"/>
                </a:cxn>
                <a:cxn ang="0">
                  <a:pos x="23" y="84"/>
                </a:cxn>
                <a:cxn ang="0">
                  <a:pos x="27" y="81"/>
                </a:cxn>
                <a:cxn ang="0">
                  <a:pos x="23" y="79"/>
                </a:cxn>
                <a:cxn ang="0">
                  <a:pos x="19" y="75"/>
                </a:cxn>
                <a:cxn ang="0">
                  <a:pos x="15" y="63"/>
                </a:cxn>
                <a:cxn ang="0">
                  <a:pos x="12" y="63"/>
                </a:cxn>
                <a:cxn ang="0">
                  <a:pos x="12" y="57"/>
                </a:cxn>
                <a:cxn ang="0">
                  <a:pos x="15" y="48"/>
                </a:cxn>
                <a:cxn ang="0">
                  <a:pos x="12" y="43"/>
                </a:cxn>
                <a:cxn ang="0">
                  <a:pos x="19" y="43"/>
                </a:cxn>
                <a:cxn ang="0">
                  <a:pos x="19" y="45"/>
                </a:cxn>
                <a:cxn ang="0">
                  <a:pos x="23" y="45"/>
                </a:cxn>
                <a:cxn ang="0">
                  <a:pos x="27" y="48"/>
                </a:cxn>
                <a:cxn ang="0">
                  <a:pos x="23" y="43"/>
                </a:cxn>
                <a:cxn ang="0">
                  <a:pos x="27" y="36"/>
                </a:cxn>
                <a:cxn ang="0">
                  <a:pos x="38" y="36"/>
                </a:cxn>
                <a:cxn ang="0">
                  <a:pos x="38" y="30"/>
                </a:cxn>
                <a:cxn ang="0">
                  <a:pos x="35" y="23"/>
                </a:cxn>
                <a:cxn ang="0">
                  <a:pos x="31" y="18"/>
                </a:cxn>
                <a:cxn ang="0">
                  <a:pos x="27" y="12"/>
                </a:cxn>
                <a:cxn ang="0">
                  <a:pos x="23" y="14"/>
                </a:cxn>
                <a:cxn ang="0">
                  <a:pos x="21" y="12"/>
                </a:cxn>
                <a:cxn ang="0">
                  <a:pos x="15" y="14"/>
                </a:cxn>
                <a:cxn ang="0">
                  <a:pos x="15" y="5"/>
                </a:cxn>
                <a:cxn ang="0">
                  <a:pos x="12" y="3"/>
                </a:cxn>
                <a:cxn ang="0">
                  <a:pos x="10" y="0"/>
                </a:cxn>
                <a:cxn ang="0">
                  <a:pos x="0" y="5"/>
                </a:cxn>
                <a:cxn ang="0">
                  <a:pos x="0" y="12"/>
                </a:cxn>
                <a:cxn ang="0">
                  <a:pos x="6" y="23"/>
                </a:cxn>
                <a:cxn ang="0">
                  <a:pos x="4" y="32"/>
                </a:cxn>
                <a:cxn ang="0">
                  <a:pos x="10" y="36"/>
                </a:cxn>
                <a:cxn ang="0">
                  <a:pos x="12" y="48"/>
                </a:cxn>
                <a:cxn ang="0">
                  <a:pos x="6" y="63"/>
                </a:cxn>
                <a:cxn ang="0">
                  <a:pos x="6" y="66"/>
                </a:cxn>
                <a:cxn ang="0">
                  <a:pos x="10" y="72"/>
                </a:cxn>
                <a:cxn ang="0">
                  <a:pos x="10" y="70"/>
                </a:cxn>
                <a:cxn ang="0">
                  <a:pos x="19" y="81"/>
                </a:cxn>
                <a:cxn ang="0">
                  <a:pos x="19" y="79"/>
                </a:cxn>
              </a:cxnLst>
              <a:rect l="0" t="0" r="r" b="b"/>
              <a:pathLst>
                <a:path w="38" h="84">
                  <a:moveTo>
                    <a:pt x="19" y="79"/>
                  </a:moveTo>
                  <a:lnTo>
                    <a:pt x="21" y="81"/>
                  </a:lnTo>
                  <a:lnTo>
                    <a:pt x="21" y="84"/>
                  </a:lnTo>
                  <a:lnTo>
                    <a:pt x="23" y="84"/>
                  </a:lnTo>
                  <a:lnTo>
                    <a:pt x="27" y="81"/>
                  </a:lnTo>
                  <a:lnTo>
                    <a:pt x="23" y="79"/>
                  </a:lnTo>
                  <a:lnTo>
                    <a:pt x="19" y="75"/>
                  </a:lnTo>
                  <a:lnTo>
                    <a:pt x="15" y="63"/>
                  </a:lnTo>
                  <a:lnTo>
                    <a:pt x="12" y="63"/>
                  </a:lnTo>
                  <a:lnTo>
                    <a:pt x="12" y="57"/>
                  </a:lnTo>
                  <a:lnTo>
                    <a:pt x="15" y="48"/>
                  </a:lnTo>
                  <a:lnTo>
                    <a:pt x="12" y="43"/>
                  </a:lnTo>
                  <a:lnTo>
                    <a:pt x="19" y="43"/>
                  </a:lnTo>
                  <a:lnTo>
                    <a:pt x="19" y="45"/>
                  </a:lnTo>
                  <a:lnTo>
                    <a:pt x="23" y="45"/>
                  </a:lnTo>
                  <a:lnTo>
                    <a:pt x="27" y="48"/>
                  </a:lnTo>
                  <a:lnTo>
                    <a:pt x="23" y="43"/>
                  </a:lnTo>
                  <a:lnTo>
                    <a:pt x="27" y="36"/>
                  </a:lnTo>
                  <a:lnTo>
                    <a:pt x="38" y="36"/>
                  </a:lnTo>
                  <a:lnTo>
                    <a:pt x="38" y="30"/>
                  </a:lnTo>
                  <a:lnTo>
                    <a:pt x="35" y="23"/>
                  </a:lnTo>
                  <a:lnTo>
                    <a:pt x="31" y="18"/>
                  </a:lnTo>
                  <a:lnTo>
                    <a:pt x="27" y="12"/>
                  </a:lnTo>
                  <a:lnTo>
                    <a:pt x="23" y="14"/>
                  </a:lnTo>
                  <a:lnTo>
                    <a:pt x="21" y="12"/>
                  </a:lnTo>
                  <a:lnTo>
                    <a:pt x="15" y="14"/>
                  </a:lnTo>
                  <a:lnTo>
                    <a:pt x="15" y="5"/>
                  </a:lnTo>
                  <a:lnTo>
                    <a:pt x="12" y="3"/>
                  </a:lnTo>
                  <a:lnTo>
                    <a:pt x="10" y="0"/>
                  </a:lnTo>
                  <a:lnTo>
                    <a:pt x="0" y="5"/>
                  </a:lnTo>
                  <a:lnTo>
                    <a:pt x="0" y="12"/>
                  </a:lnTo>
                  <a:lnTo>
                    <a:pt x="6" y="23"/>
                  </a:lnTo>
                  <a:lnTo>
                    <a:pt x="4" y="32"/>
                  </a:lnTo>
                  <a:lnTo>
                    <a:pt x="10" y="36"/>
                  </a:lnTo>
                  <a:lnTo>
                    <a:pt x="12" y="48"/>
                  </a:lnTo>
                  <a:lnTo>
                    <a:pt x="6" y="63"/>
                  </a:lnTo>
                  <a:lnTo>
                    <a:pt x="6" y="66"/>
                  </a:lnTo>
                  <a:lnTo>
                    <a:pt x="10" y="72"/>
                  </a:lnTo>
                  <a:lnTo>
                    <a:pt x="10" y="70"/>
                  </a:lnTo>
                  <a:lnTo>
                    <a:pt x="19" y="81"/>
                  </a:lnTo>
                  <a:lnTo>
                    <a:pt x="19" y="7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31" name="Tanzania"/>
            <p:cNvGrpSpPr/>
            <p:nvPr/>
          </p:nvGrpSpPr>
          <p:grpSpPr>
            <a:xfrm>
              <a:off x="5018398" y="4588098"/>
              <a:ext cx="296080" cy="358004"/>
              <a:chOff x="5018398" y="4588098"/>
              <a:chExt cx="296080" cy="358004"/>
            </a:xfrm>
            <a:grpFill/>
          </p:grpSpPr>
          <p:sp>
            <p:nvSpPr>
              <p:cNvPr id="374" name="Tanzania"/>
              <p:cNvSpPr>
                <a:spLocks/>
              </p:cNvSpPr>
              <p:nvPr/>
            </p:nvSpPr>
            <p:spPr bwMode="auto">
              <a:xfrm>
                <a:off x="5297599" y="4719116"/>
                <a:ext cx="7033" cy="18359"/>
              </a:xfrm>
              <a:custGeom>
                <a:avLst/>
                <a:gdLst>
                  <a:gd name="T0" fmla="*/ 3 w 19"/>
                  <a:gd name="T1" fmla="*/ 34 h 43"/>
                  <a:gd name="T2" fmla="*/ 4 w 19"/>
                  <a:gd name="T3" fmla="*/ 33 h 43"/>
                  <a:gd name="T4" fmla="*/ 5 w 19"/>
                  <a:gd name="T5" fmla="*/ 31 h 43"/>
                  <a:gd name="T6" fmla="*/ 6 w 19"/>
                  <a:gd name="T7" fmla="*/ 30 h 43"/>
                  <a:gd name="T8" fmla="*/ 10 w 19"/>
                  <a:gd name="T9" fmla="*/ 29 h 43"/>
                  <a:gd name="T10" fmla="*/ 10 w 19"/>
                  <a:gd name="T11" fmla="*/ 27 h 43"/>
                  <a:gd name="T12" fmla="*/ 4 w 19"/>
                  <a:gd name="T13" fmla="*/ 25 h 43"/>
                  <a:gd name="T14" fmla="*/ 4 w 19"/>
                  <a:gd name="T15" fmla="*/ 24 h 43"/>
                  <a:gd name="T16" fmla="*/ 9 w 19"/>
                  <a:gd name="T17" fmla="*/ 23 h 43"/>
                  <a:gd name="T18" fmla="*/ 7 w 19"/>
                  <a:gd name="T19" fmla="*/ 18 h 43"/>
                  <a:gd name="T20" fmla="*/ 6 w 19"/>
                  <a:gd name="T21" fmla="*/ 15 h 43"/>
                  <a:gd name="T22" fmla="*/ 6 w 19"/>
                  <a:gd name="T23" fmla="*/ 13 h 43"/>
                  <a:gd name="T24" fmla="*/ 5 w 19"/>
                  <a:gd name="T25" fmla="*/ 10 h 43"/>
                  <a:gd name="T26" fmla="*/ 6 w 19"/>
                  <a:gd name="T27" fmla="*/ 7 h 43"/>
                  <a:gd name="T28" fmla="*/ 5 w 19"/>
                  <a:gd name="T29" fmla="*/ 4 h 43"/>
                  <a:gd name="T30" fmla="*/ 5 w 19"/>
                  <a:gd name="T31" fmla="*/ 0 h 43"/>
                  <a:gd name="T32" fmla="*/ 9 w 19"/>
                  <a:gd name="T33" fmla="*/ 2 h 43"/>
                  <a:gd name="T34" fmla="*/ 13 w 19"/>
                  <a:gd name="T35" fmla="*/ 5 h 43"/>
                  <a:gd name="T36" fmla="*/ 15 w 19"/>
                  <a:gd name="T37" fmla="*/ 6 h 43"/>
                  <a:gd name="T38" fmla="*/ 17 w 19"/>
                  <a:gd name="T39" fmla="*/ 4 h 43"/>
                  <a:gd name="T40" fmla="*/ 19 w 19"/>
                  <a:gd name="T41" fmla="*/ 2 h 43"/>
                  <a:gd name="T42" fmla="*/ 19 w 19"/>
                  <a:gd name="T43" fmla="*/ 8 h 43"/>
                  <a:gd name="T44" fmla="*/ 16 w 19"/>
                  <a:gd name="T45" fmla="*/ 13 h 43"/>
                  <a:gd name="T46" fmla="*/ 16 w 19"/>
                  <a:gd name="T47" fmla="*/ 18 h 43"/>
                  <a:gd name="T48" fmla="*/ 18 w 19"/>
                  <a:gd name="T49" fmla="*/ 18 h 43"/>
                  <a:gd name="T50" fmla="*/ 17 w 19"/>
                  <a:gd name="T51" fmla="*/ 26 h 43"/>
                  <a:gd name="T52" fmla="*/ 15 w 19"/>
                  <a:gd name="T53" fmla="*/ 33 h 43"/>
                  <a:gd name="T54" fmla="*/ 13 w 19"/>
                  <a:gd name="T55" fmla="*/ 38 h 43"/>
                  <a:gd name="T56" fmla="*/ 13 w 19"/>
                  <a:gd name="T57" fmla="*/ 38 h 43"/>
                  <a:gd name="T58" fmla="*/ 13 w 19"/>
                  <a:gd name="T59" fmla="*/ 38 h 43"/>
                  <a:gd name="T60" fmla="*/ 11 w 19"/>
                  <a:gd name="T61" fmla="*/ 38 h 43"/>
                  <a:gd name="T62" fmla="*/ 8 w 19"/>
                  <a:gd name="T63" fmla="*/ 43 h 43"/>
                  <a:gd name="T64" fmla="*/ 4 w 19"/>
                  <a:gd name="T65" fmla="*/ 42 h 43"/>
                  <a:gd name="T66" fmla="*/ 1 w 19"/>
                  <a:gd name="T67" fmla="*/ 38 h 43"/>
                  <a:gd name="T68" fmla="*/ 3 w 19"/>
                  <a:gd name="T69" fmla="*/ 34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9" h="43">
                    <a:moveTo>
                      <a:pt x="3" y="34"/>
                    </a:moveTo>
                    <a:cubicBezTo>
                      <a:pt x="5" y="35"/>
                      <a:pt x="5" y="33"/>
                      <a:pt x="4" y="33"/>
                    </a:cubicBezTo>
                    <a:cubicBezTo>
                      <a:pt x="3" y="31"/>
                      <a:pt x="4" y="30"/>
                      <a:pt x="5" y="31"/>
                    </a:cubicBezTo>
                    <a:cubicBezTo>
                      <a:pt x="6" y="31"/>
                      <a:pt x="7" y="30"/>
                      <a:pt x="6" y="30"/>
                    </a:cubicBezTo>
                    <a:cubicBezTo>
                      <a:pt x="5" y="27"/>
                      <a:pt x="9" y="28"/>
                      <a:pt x="10" y="29"/>
                    </a:cubicBezTo>
                    <a:cubicBezTo>
                      <a:pt x="11" y="29"/>
                      <a:pt x="11" y="27"/>
                      <a:pt x="10" y="27"/>
                    </a:cubicBezTo>
                    <a:cubicBezTo>
                      <a:pt x="8" y="26"/>
                      <a:pt x="6" y="25"/>
                      <a:pt x="4" y="25"/>
                    </a:cubicBezTo>
                    <a:cubicBezTo>
                      <a:pt x="2" y="24"/>
                      <a:pt x="3" y="23"/>
                      <a:pt x="4" y="24"/>
                    </a:cubicBezTo>
                    <a:cubicBezTo>
                      <a:pt x="6" y="24"/>
                      <a:pt x="8" y="25"/>
                      <a:pt x="9" y="23"/>
                    </a:cubicBezTo>
                    <a:cubicBezTo>
                      <a:pt x="10" y="21"/>
                      <a:pt x="7" y="20"/>
                      <a:pt x="7" y="18"/>
                    </a:cubicBezTo>
                    <a:cubicBezTo>
                      <a:pt x="5" y="18"/>
                      <a:pt x="5" y="15"/>
                      <a:pt x="6" y="15"/>
                    </a:cubicBezTo>
                    <a:cubicBezTo>
                      <a:pt x="8" y="14"/>
                      <a:pt x="8" y="13"/>
                      <a:pt x="6" y="13"/>
                    </a:cubicBezTo>
                    <a:cubicBezTo>
                      <a:pt x="5" y="12"/>
                      <a:pt x="5" y="11"/>
                      <a:pt x="5" y="10"/>
                    </a:cubicBezTo>
                    <a:cubicBezTo>
                      <a:pt x="4" y="9"/>
                      <a:pt x="4" y="7"/>
                      <a:pt x="6" y="7"/>
                    </a:cubicBezTo>
                    <a:cubicBezTo>
                      <a:pt x="8" y="7"/>
                      <a:pt x="5" y="5"/>
                      <a:pt x="5" y="4"/>
                    </a:cubicBezTo>
                    <a:cubicBezTo>
                      <a:pt x="4" y="3"/>
                      <a:pt x="5" y="1"/>
                      <a:pt x="5" y="0"/>
                    </a:cubicBezTo>
                    <a:cubicBezTo>
                      <a:pt x="6" y="1"/>
                      <a:pt x="7" y="2"/>
                      <a:pt x="9" y="2"/>
                    </a:cubicBezTo>
                    <a:cubicBezTo>
                      <a:pt x="11" y="2"/>
                      <a:pt x="12" y="4"/>
                      <a:pt x="13" y="5"/>
                    </a:cubicBezTo>
                    <a:cubicBezTo>
                      <a:pt x="14" y="6"/>
                      <a:pt x="15" y="8"/>
                      <a:pt x="15" y="6"/>
                    </a:cubicBezTo>
                    <a:cubicBezTo>
                      <a:pt x="15" y="4"/>
                      <a:pt x="17" y="5"/>
                      <a:pt x="17" y="4"/>
                    </a:cubicBezTo>
                    <a:cubicBezTo>
                      <a:pt x="17" y="3"/>
                      <a:pt x="19" y="0"/>
                      <a:pt x="19" y="2"/>
                    </a:cubicBezTo>
                    <a:cubicBezTo>
                      <a:pt x="19" y="4"/>
                      <a:pt x="19" y="6"/>
                      <a:pt x="19" y="8"/>
                    </a:cubicBezTo>
                    <a:cubicBezTo>
                      <a:pt x="18" y="10"/>
                      <a:pt x="16" y="11"/>
                      <a:pt x="16" y="13"/>
                    </a:cubicBezTo>
                    <a:cubicBezTo>
                      <a:pt x="16" y="14"/>
                      <a:pt x="15" y="16"/>
                      <a:pt x="16" y="18"/>
                    </a:cubicBezTo>
                    <a:cubicBezTo>
                      <a:pt x="17" y="19"/>
                      <a:pt x="17" y="16"/>
                      <a:pt x="18" y="18"/>
                    </a:cubicBezTo>
                    <a:cubicBezTo>
                      <a:pt x="17" y="21"/>
                      <a:pt x="17" y="23"/>
                      <a:pt x="17" y="26"/>
                    </a:cubicBezTo>
                    <a:cubicBezTo>
                      <a:pt x="17" y="28"/>
                      <a:pt x="16" y="30"/>
                      <a:pt x="15" y="33"/>
                    </a:cubicBezTo>
                    <a:cubicBezTo>
                      <a:pt x="15" y="35"/>
                      <a:pt x="12" y="36"/>
                      <a:pt x="13" y="38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4" y="39"/>
                      <a:pt x="11" y="40"/>
                      <a:pt x="11" y="38"/>
                    </a:cubicBezTo>
                    <a:cubicBezTo>
                      <a:pt x="10" y="40"/>
                      <a:pt x="10" y="43"/>
                      <a:pt x="8" y="43"/>
                    </a:cubicBezTo>
                    <a:cubicBezTo>
                      <a:pt x="7" y="41"/>
                      <a:pt x="5" y="42"/>
                      <a:pt x="4" y="42"/>
                    </a:cubicBezTo>
                    <a:cubicBezTo>
                      <a:pt x="2" y="42"/>
                      <a:pt x="0" y="40"/>
                      <a:pt x="1" y="38"/>
                    </a:cubicBezTo>
                    <a:cubicBezTo>
                      <a:pt x="1" y="37"/>
                      <a:pt x="1" y="34"/>
                      <a:pt x="3" y="34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75" name="Tanzania"/>
              <p:cNvSpPr>
                <a:spLocks/>
              </p:cNvSpPr>
              <p:nvPr/>
            </p:nvSpPr>
            <p:spPr bwMode="auto">
              <a:xfrm>
                <a:off x="5294083" y="4810077"/>
                <a:ext cx="9143" cy="12517"/>
              </a:xfrm>
              <a:custGeom>
                <a:avLst/>
                <a:gdLst>
                  <a:gd name="T0" fmla="*/ 0 w 25"/>
                  <a:gd name="T1" fmla="*/ 24 h 28"/>
                  <a:gd name="T2" fmla="*/ 3 w 25"/>
                  <a:gd name="T3" fmla="*/ 22 h 28"/>
                  <a:gd name="T4" fmla="*/ 7 w 25"/>
                  <a:gd name="T5" fmla="*/ 18 h 28"/>
                  <a:gd name="T6" fmla="*/ 9 w 25"/>
                  <a:gd name="T7" fmla="*/ 15 h 28"/>
                  <a:gd name="T8" fmla="*/ 11 w 25"/>
                  <a:gd name="T9" fmla="*/ 13 h 28"/>
                  <a:gd name="T10" fmla="*/ 15 w 25"/>
                  <a:gd name="T11" fmla="*/ 12 h 28"/>
                  <a:gd name="T12" fmla="*/ 16 w 25"/>
                  <a:gd name="T13" fmla="*/ 11 h 28"/>
                  <a:gd name="T14" fmla="*/ 15 w 25"/>
                  <a:gd name="T15" fmla="*/ 10 h 28"/>
                  <a:gd name="T16" fmla="*/ 19 w 25"/>
                  <a:gd name="T17" fmla="*/ 8 h 28"/>
                  <a:gd name="T18" fmla="*/ 21 w 25"/>
                  <a:gd name="T19" fmla="*/ 4 h 28"/>
                  <a:gd name="T20" fmla="*/ 24 w 25"/>
                  <a:gd name="T21" fmla="*/ 1 h 28"/>
                  <a:gd name="T22" fmla="*/ 24 w 25"/>
                  <a:gd name="T23" fmla="*/ 5 h 28"/>
                  <a:gd name="T24" fmla="*/ 21 w 25"/>
                  <a:gd name="T25" fmla="*/ 13 h 28"/>
                  <a:gd name="T26" fmla="*/ 19 w 25"/>
                  <a:gd name="T27" fmla="*/ 16 h 28"/>
                  <a:gd name="T28" fmla="*/ 18 w 25"/>
                  <a:gd name="T29" fmla="*/ 20 h 28"/>
                  <a:gd name="T30" fmla="*/ 15 w 25"/>
                  <a:gd name="T31" fmla="*/ 21 h 28"/>
                  <a:gd name="T32" fmla="*/ 11 w 25"/>
                  <a:gd name="T33" fmla="*/ 23 h 28"/>
                  <a:gd name="T34" fmla="*/ 10 w 25"/>
                  <a:gd name="T35" fmla="*/ 26 h 28"/>
                  <a:gd name="T36" fmla="*/ 9 w 25"/>
                  <a:gd name="T37" fmla="*/ 26 h 28"/>
                  <a:gd name="T38" fmla="*/ 3 w 25"/>
                  <a:gd name="T39" fmla="*/ 27 h 28"/>
                  <a:gd name="T40" fmla="*/ 0 w 25"/>
                  <a:gd name="T41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" h="28">
                    <a:moveTo>
                      <a:pt x="0" y="24"/>
                    </a:moveTo>
                    <a:cubicBezTo>
                      <a:pt x="0" y="23"/>
                      <a:pt x="3" y="23"/>
                      <a:pt x="3" y="22"/>
                    </a:cubicBezTo>
                    <a:cubicBezTo>
                      <a:pt x="4" y="21"/>
                      <a:pt x="6" y="20"/>
                      <a:pt x="7" y="18"/>
                    </a:cubicBezTo>
                    <a:cubicBezTo>
                      <a:pt x="8" y="18"/>
                      <a:pt x="10" y="16"/>
                      <a:pt x="9" y="15"/>
                    </a:cubicBezTo>
                    <a:cubicBezTo>
                      <a:pt x="8" y="13"/>
                      <a:pt x="10" y="13"/>
                      <a:pt x="11" y="13"/>
                    </a:cubicBezTo>
                    <a:cubicBezTo>
                      <a:pt x="12" y="13"/>
                      <a:pt x="14" y="13"/>
                      <a:pt x="15" y="12"/>
                    </a:cubicBezTo>
                    <a:cubicBezTo>
                      <a:pt x="15" y="12"/>
                      <a:pt x="17" y="11"/>
                      <a:pt x="16" y="11"/>
                    </a:cubicBezTo>
                    <a:cubicBezTo>
                      <a:pt x="15" y="11"/>
                      <a:pt x="13" y="11"/>
                      <a:pt x="15" y="10"/>
                    </a:cubicBezTo>
                    <a:cubicBezTo>
                      <a:pt x="16" y="9"/>
                      <a:pt x="17" y="8"/>
                      <a:pt x="19" y="8"/>
                    </a:cubicBezTo>
                    <a:cubicBezTo>
                      <a:pt x="20" y="7"/>
                      <a:pt x="20" y="5"/>
                      <a:pt x="21" y="4"/>
                    </a:cubicBezTo>
                    <a:cubicBezTo>
                      <a:pt x="23" y="3"/>
                      <a:pt x="22" y="0"/>
                      <a:pt x="24" y="1"/>
                    </a:cubicBezTo>
                    <a:cubicBezTo>
                      <a:pt x="25" y="2"/>
                      <a:pt x="24" y="4"/>
                      <a:pt x="24" y="5"/>
                    </a:cubicBezTo>
                    <a:cubicBezTo>
                      <a:pt x="23" y="8"/>
                      <a:pt x="22" y="11"/>
                      <a:pt x="21" y="13"/>
                    </a:cubicBezTo>
                    <a:cubicBezTo>
                      <a:pt x="20" y="14"/>
                      <a:pt x="19" y="15"/>
                      <a:pt x="19" y="16"/>
                    </a:cubicBezTo>
                    <a:cubicBezTo>
                      <a:pt x="19" y="18"/>
                      <a:pt x="19" y="19"/>
                      <a:pt x="18" y="20"/>
                    </a:cubicBezTo>
                    <a:cubicBezTo>
                      <a:pt x="17" y="21"/>
                      <a:pt x="16" y="22"/>
                      <a:pt x="15" y="21"/>
                    </a:cubicBezTo>
                    <a:cubicBezTo>
                      <a:pt x="13" y="20"/>
                      <a:pt x="12" y="22"/>
                      <a:pt x="11" y="23"/>
                    </a:cubicBezTo>
                    <a:cubicBezTo>
                      <a:pt x="10" y="24"/>
                      <a:pt x="11" y="25"/>
                      <a:pt x="10" y="26"/>
                    </a:cubicBezTo>
                    <a:cubicBezTo>
                      <a:pt x="10" y="26"/>
                      <a:pt x="10" y="26"/>
                      <a:pt x="9" y="26"/>
                    </a:cubicBezTo>
                    <a:cubicBezTo>
                      <a:pt x="8" y="27"/>
                      <a:pt x="5" y="28"/>
                      <a:pt x="3" y="27"/>
                    </a:cubicBezTo>
                    <a:cubicBezTo>
                      <a:pt x="2" y="26"/>
                      <a:pt x="1" y="25"/>
                      <a:pt x="0" y="24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76" name="Tanzania"/>
              <p:cNvSpPr>
                <a:spLocks/>
              </p:cNvSpPr>
              <p:nvPr/>
            </p:nvSpPr>
            <p:spPr bwMode="auto">
              <a:xfrm>
                <a:off x="5285643" y="4746655"/>
                <a:ext cx="9846" cy="25035"/>
              </a:xfrm>
              <a:custGeom>
                <a:avLst/>
                <a:gdLst>
                  <a:gd name="T0" fmla="*/ 18 w 28"/>
                  <a:gd name="T1" fmla="*/ 36 h 59"/>
                  <a:gd name="T2" fmla="*/ 21 w 28"/>
                  <a:gd name="T3" fmla="*/ 36 h 59"/>
                  <a:gd name="T4" fmla="*/ 23 w 28"/>
                  <a:gd name="T5" fmla="*/ 32 h 59"/>
                  <a:gd name="T6" fmla="*/ 25 w 28"/>
                  <a:gd name="T7" fmla="*/ 44 h 59"/>
                  <a:gd name="T8" fmla="*/ 27 w 28"/>
                  <a:gd name="T9" fmla="*/ 53 h 59"/>
                  <a:gd name="T10" fmla="*/ 20 w 28"/>
                  <a:gd name="T11" fmla="*/ 57 h 59"/>
                  <a:gd name="T12" fmla="*/ 17 w 28"/>
                  <a:gd name="T13" fmla="*/ 51 h 59"/>
                  <a:gd name="T14" fmla="*/ 16 w 28"/>
                  <a:gd name="T15" fmla="*/ 45 h 59"/>
                  <a:gd name="T16" fmla="*/ 16 w 28"/>
                  <a:gd name="T17" fmla="*/ 49 h 59"/>
                  <a:gd name="T18" fmla="*/ 13 w 28"/>
                  <a:gd name="T19" fmla="*/ 47 h 59"/>
                  <a:gd name="T20" fmla="*/ 9 w 28"/>
                  <a:gd name="T21" fmla="*/ 40 h 59"/>
                  <a:gd name="T22" fmla="*/ 6 w 28"/>
                  <a:gd name="T23" fmla="*/ 44 h 59"/>
                  <a:gd name="T24" fmla="*/ 3 w 28"/>
                  <a:gd name="T25" fmla="*/ 41 h 59"/>
                  <a:gd name="T26" fmla="*/ 0 w 28"/>
                  <a:gd name="T27" fmla="*/ 34 h 59"/>
                  <a:gd name="T28" fmla="*/ 2 w 28"/>
                  <a:gd name="T29" fmla="*/ 27 h 59"/>
                  <a:gd name="T30" fmla="*/ 0 w 28"/>
                  <a:gd name="T31" fmla="*/ 16 h 59"/>
                  <a:gd name="T32" fmla="*/ 1 w 28"/>
                  <a:gd name="T33" fmla="*/ 14 h 59"/>
                  <a:gd name="T34" fmla="*/ 3 w 28"/>
                  <a:gd name="T35" fmla="*/ 12 h 59"/>
                  <a:gd name="T36" fmla="*/ 8 w 28"/>
                  <a:gd name="T37" fmla="*/ 6 h 59"/>
                  <a:gd name="T38" fmla="*/ 10 w 28"/>
                  <a:gd name="T39" fmla="*/ 0 h 59"/>
                  <a:gd name="T40" fmla="*/ 13 w 28"/>
                  <a:gd name="T41" fmla="*/ 7 h 59"/>
                  <a:gd name="T42" fmla="*/ 13 w 28"/>
                  <a:gd name="T43" fmla="*/ 15 h 59"/>
                  <a:gd name="T44" fmla="*/ 16 w 28"/>
                  <a:gd name="T45" fmla="*/ 24 h 59"/>
                  <a:gd name="T46" fmla="*/ 17 w 28"/>
                  <a:gd name="T47" fmla="*/ 30 h 59"/>
                  <a:gd name="T48" fmla="*/ 18 w 28"/>
                  <a:gd name="T49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" h="59">
                    <a:moveTo>
                      <a:pt x="18" y="36"/>
                    </a:moveTo>
                    <a:cubicBezTo>
                      <a:pt x="19" y="39"/>
                      <a:pt x="20" y="34"/>
                      <a:pt x="21" y="36"/>
                    </a:cubicBezTo>
                    <a:cubicBezTo>
                      <a:pt x="25" y="37"/>
                      <a:pt x="21" y="32"/>
                      <a:pt x="23" y="32"/>
                    </a:cubicBezTo>
                    <a:cubicBezTo>
                      <a:pt x="25" y="36"/>
                      <a:pt x="25" y="40"/>
                      <a:pt x="25" y="44"/>
                    </a:cubicBezTo>
                    <a:cubicBezTo>
                      <a:pt x="25" y="47"/>
                      <a:pt x="28" y="50"/>
                      <a:pt x="27" y="53"/>
                    </a:cubicBezTo>
                    <a:cubicBezTo>
                      <a:pt x="27" y="56"/>
                      <a:pt x="23" y="59"/>
                      <a:pt x="20" y="57"/>
                    </a:cubicBezTo>
                    <a:cubicBezTo>
                      <a:pt x="18" y="55"/>
                      <a:pt x="17" y="53"/>
                      <a:pt x="17" y="51"/>
                    </a:cubicBezTo>
                    <a:cubicBezTo>
                      <a:pt x="16" y="49"/>
                      <a:pt x="17" y="46"/>
                      <a:pt x="16" y="45"/>
                    </a:cubicBezTo>
                    <a:cubicBezTo>
                      <a:pt x="13" y="45"/>
                      <a:pt x="16" y="48"/>
                      <a:pt x="16" y="49"/>
                    </a:cubicBezTo>
                    <a:cubicBezTo>
                      <a:pt x="14" y="52"/>
                      <a:pt x="13" y="48"/>
                      <a:pt x="13" y="47"/>
                    </a:cubicBezTo>
                    <a:cubicBezTo>
                      <a:pt x="11" y="45"/>
                      <a:pt x="10" y="43"/>
                      <a:pt x="9" y="40"/>
                    </a:cubicBezTo>
                    <a:cubicBezTo>
                      <a:pt x="6" y="40"/>
                      <a:pt x="5" y="43"/>
                      <a:pt x="6" y="44"/>
                    </a:cubicBezTo>
                    <a:cubicBezTo>
                      <a:pt x="5" y="47"/>
                      <a:pt x="3" y="43"/>
                      <a:pt x="3" y="41"/>
                    </a:cubicBezTo>
                    <a:cubicBezTo>
                      <a:pt x="0" y="40"/>
                      <a:pt x="1" y="37"/>
                      <a:pt x="0" y="34"/>
                    </a:cubicBezTo>
                    <a:cubicBezTo>
                      <a:pt x="0" y="32"/>
                      <a:pt x="2" y="29"/>
                      <a:pt x="2" y="27"/>
                    </a:cubicBezTo>
                    <a:cubicBezTo>
                      <a:pt x="0" y="23"/>
                      <a:pt x="0" y="20"/>
                      <a:pt x="0" y="16"/>
                    </a:cubicBezTo>
                    <a:cubicBezTo>
                      <a:pt x="0" y="15"/>
                      <a:pt x="0" y="15"/>
                      <a:pt x="1" y="14"/>
                    </a:cubicBezTo>
                    <a:cubicBezTo>
                      <a:pt x="1" y="14"/>
                      <a:pt x="3" y="14"/>
                      <a:pt x="3" y="12"/>
                    </a:cubicBezTo>
                    <a:cubicBezTo>
                      <a:pt x="5" y="11"/>
                      <a:pt x="8" y="9"/>
                      <a:pt x="8" y="6"/>
                    </a:cubicBezTo>
                    <a:cubicBezTo>
                      <a:pt x="9" y="4"/>
                      <a:pt x="7" y="0"/>
                      <a:pt x="10" y="0"/>
                    </a:cubicBezTo>
                    <a:cubicBezTo>
                      <a:pt x="12" y="2"/>
                      <a:pt x="13" y="5"/>
                      <a:pt x="13" y="7"/>
                    </a:cubicBezTo>
                    <a:cubicBezTo>
                      <a:pt x="13" y="10"/>
                      <a:pt x="12" y="13"/>
                      <a:pt x="13" y="15"/>
                    </a:cubicBezTo>
                    <a:cubicBezTo>
                      <a:pt x="14" y="18"/>
                      <a:pt x="15" y="21"/>
                      <a:pt x="16" y="24"/>
                    </a:cubicBezTo>
                    <a:cubicBezTo>
                      <a:pt x="18" y="26"/>
                      <a:pt x="17" y="28"/>
                      <a:pt x="17" y="30"/>
                    </a:cubicBezTo>
                    <a:cubicBezTo>
                      <a:pt x="18" y="32"/>
                      <a:pt x="16" y="35"/>
                      <a:pt x="18" y="36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77" name="Tanzania"/>
              <p:cNvSpPr>
                <a:spLocks/>
              </p:cNvSpPr>
              <p:nvPr/>
            </p:nvSpPr>
            <p:spPr bwMode="auto">
              <a:xfrm>
                <a:off x="5018398" y="4588098"/>
                <a:ext cx="296080" cy="358004"/>
              </a:xfrm>
              <a:custGeom>
                <a:avLst/>
                <a:gdLst>
                  <a:gd name="T0" fmla="*/ 114 w 814"/>
                  <a:gd name="T1" fmla="*/ 0 h 831"/>
                  <a:gd name="T2" fmla="*/ 346 w 814"/>
                  <a:gd name="T3" fmla="*/ 1 h 831"/>
                  <a:gd name="T4" fmla="*/ 350 w 814"/>
                  <a:gd name="T5" fmla="*/ 0 h 831"/>
                  <a:gd name="T6" fmla="*/ 609 w 814"/>
                  <a:gd name="T7" fmla="*/ 148 h 831"/>
                  <a:gd name="T8" fmla="*/ 630 w 814"/>
                  <a:gd name="T9" fmla="*/ 196 h 831"/>
                  <a:gd name="T10" fmla="*/ 747 w 814"/>
                  <a:gd name="T11" fmla="*/ 292 h 831"/>
                  <a:gd name="T12" fmla="*/ 743 w 814"/>
                  <a:gd name="T13" fmla="*/ 307 h 831"/>
                  <a:gd name="T14" fmla="*/ 712 w 814"/>
                  <a:gd name="T15" fmla="*/ 393 h 831"/>
                  <a:gd name="T16" fmla="*/ 729 w 814"/>
                  <a:gd name="T17" fmla="*/ 428 h 831"/>
                  <a:gd name="T18" fmla="*/ 756 w 814"/>
                  <a:gd name="T19" fmla="*/ 458 h 831"/>
                  <a:gd name="T20" fmla="*/ 752 w 814"/>
                  <a:gd name="T21" fmla="*/ 490 h 831"/>
                  <a:gd name="T22" fmla="*/ 750 w 814"/>
                  <a:gd name="T23" fmla="*/ 526 h 831"/>
                  <a:gd name="T24" fmla="*/ 744 w 814"/>
                  <a:gd name="T25" fmla="*/ 555 h 831"/>
                  <a:gd name="T26" fmla="*/ 745 w 814"/>
                  <a:gd name="T27" fmla="*/ 592 h 831"/>
                  <a:gd name="T28" fmla="*/ 750 w 814"/>
                  <a:gd name="T29" fmla="*/ 614 h 831"/>
                  <a:gd name="T30" fmla="*/ 762 w 814"/>
                  <a:gd name="T31" fmla="*/ 656 h 831"/>
                  <a:gd name="T32" fmla="*/ 772 w 814"/>
                  <a:gd name="T33" fmla="*/ 682 h 831"/>
                  <a:gd name="T34" fmla="*/ 788 w 814"/>
                  <a:gd name="T35" fmla="*/ 706 h 831"/>
                  <a:gd name="T36" fmla="*/ 810 w 814"/>
                  <a:gd name="T37" fmla="*/ 725 h 831"/>
                  <a:gd name="T38" fmla="*/ 813 w 814"/>
                  <a:gd name="T39" fmla="*/ 729 h 831"/>
                  <a:gd name="T40" fmla="*/ 805 w 814"/>
                  <a:gd name="T41" fmla="*/ 738 h 831"/>
                  <a:gd name="T42" fmla="*/ 751 w 814"/>
                  <a:gd name="T43" fmla="*/ 769 h 831"/>
                  <a:gd name="T44" fmla="*/ 661 w 814"/>
                  <a:gd name="T45" fmla="*/ 803 h 831"/>
                  <a:gd name="T46" fmla="*/ 595 w 814"/>
                  <a:gd name="T47" fmla="*/ 820 h 831"/>
                  <a:gd name="T48" fmla="*/ 537 w 814"/>
                  <a:gd name="T49" fmla="*/ 816 h 831"/>
                  <a:gd name="T50" fmla="*/ 479 w 814"/>
                  <a:gd name="T51" fmla="*/ 807 h 831"/>
                  <a:gd name="T52" fmla="*/ 405 w 814"/>
                  <a:gd name="T53" fmla="*/ 809 h 831"/>
                  <a:gd name="T54" fmla="*/ 386 w 814"/>
                  <a:gd name="T55" fmla="*/ 782 h 831"/>
                  <a:gd name="T56" fmla="*/ 377 w 814"/>
                  <a:gd name="T57" fmla="*/ 691 h 831"/>
                  <a:gd name="T58" fmla="*/ 335 w 814"/>
                  <a:gd name="T59" fmla="*/ 665 h 831"/>
                  <a:gd name="T60" fmla="*/ 269 w 814"/>
                  <a:gd name="T61" fmla="*/ 642 h 831"/>
                  <a:gd name="T62" fmla="*/ 237 w 814"/>
                  <a:gd name="T63" fmla="*/ 632 h 831"/>
                  <a:gd name="T64" fmla="*/ 190 w 814"/>
                  <a:gd name="T65" fmla="*/ 613 h 831"/>
                  <a:gd name="T66" fmla="*/ 128 w 814"/>
                  <a:gd name="T67" fmla="*/ 580 h 831"/>
                  <a:gd name="T68" fmla="*/ 102 w 814"/>
                  <a:gd name="T69" fmla="*/ 548 h 831"/>
                  <a:gd name="T70" fmla="*/ 82 w 814"/>
                  <a:gd name="T71" fmla="*/ 499 h 831"/>
                  <a:gd name="T72" fmla="*/ 23 w 814"/>
                  <a:gd name="T73" fmla="*/ 412 h 831"/>
                  <a:gd name="T74" fmla="*/ 15 w 814"/>
                  <a:gd name="T75" fmla="*/ 330 h 831"/>
                  <a:gd name="T76" fmla="*/ 11 w 814"/>
                  <a:gd name="T77" fmla="*/ 263 h 831"/>
                  <a:gd name="T78" fmla="*/ 37 w 814"/>
                  <a:gd name="T79" fmla="*/ 261 h 831"/>
                  <a:gd name="T80" fmla="*/ 85 w 814"/>
                  <a:gd name="T81" fmla="*/ 209 h 831"/>
                  <a:gd name="T82" fmla="*/ 118 w 814"/>
                  <a:gd name="T83" fmla="*/ 161 h 831"/>
                  <a:gd name="T84" fmla="*/ 90 w 814"/>
                  <a:gd name="T85" fmla="*/ 146 h 831"/>
                  <a:gd name="T86" fmla="*/ 97 w 814"/>
                  <a:gd name="T87" fmla="*/ 109 h 831"/>
                  <a:gd name="T88" fmla="*/ 97 w 814"/>
                  <a:gd name="T89" fmla="*/ 108 h 831"/>
                  <a:gd name="T90" fmla="*/ 99 w 814"/>
                  <a:gd name="T91" fmla="*/ 106 h 831"/>
                  <a:gd name="T92" fmla="*/ 119 w 814"/>
                  <a:gd name="T93" fmla="*/ 102 h 831"/>
                  <a:gd name="T94" fmla="*/ 119 w 814"/>
                  <a:gd name="T95" fmla="*/ 102 h 831"/>
                  <a:gd name="T96" fmla="*/ 105 w 814"/>
                  <a:gd name="T97" fmla="*/ 29 h 831"/>
                  <a:gd name="T98" fmla="*/ 92 w 814"/>
                  <a:gd name="T99" fmla="*/ 5 h 8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14" h="831">
                    <a:moveTo>
                      <a:pt x="92" y="5"/>
                    </a:moveTo>
                    <a:cubicBezTo>
                      <a:pt x="100" y="5"/>
                      <a:pt x="108" y="6"/>
                      <a:pt x="114" y="0"/>
                    </a:cubicBezTo>
                    <a:cubicBezTo>
                      <a:pt x="165" y="0"/>
                      <a:pt x="215" y="0"/>
                      <a:pt x="266" y="0"/>
                    </a:cubicBezTo>
                    <a:cubicBezTo>
                      <a:pt x="293" y="1"/>
                      <a:pt x="320" y="0"/>
                      <a:pt x="346" y="1"/>
                    </a:cubicBezTo>
                    <a:cubicBezTo>
                      <a:pt x="347" y="0"/>
                      <a:pt x="347" y="0"/>
                      <a:pt x="347" y="0"/>
                    </a:cubicBezTo>
                    <a:cubicBezTo>
                      <a:pt x="350" y="0"/>
                      <a:pt x="350" y="0"/>
                      <a:pt x="350" y="0"/>
                    </a:cubicBezTo>
                    <a:cubicBezTo>
                      <a:pt x="365" y="2"/>
                      <a:pt x="376" y="14"/>
                      <a:pt x="390" y="20"/>
                    </a:cubicBezTo>
                    <a:cubicBezTo>
                      <a:pt x="463" y="62"/>
                      <a:pt x="536" y="106"/>
                      <a:pt x="609" y="148"/>
                    </a:cubicBezTo>
                    <a:cubicBezTo>
                      <a:pt x="623" y="152"/>
                      <a:pt x="632" y="166"/>
                      <a:pt x="628" y="180"/>
                    </a:cubicBezTo>
                    <a:cubicBezTo>
                      <a:pt x="619" y="185"/>
                      <a:pt x="619" y="194"/>
                      <a:pt x="630" y="196"/>
                    </a:cubicBezTo>
                    <a:cubicBezTo>
                      <a:pt x="635" y="209"/>
                      <a:pt x="648" y="215"/>
                      <a:pt x="658" y="224"/>
                    </a:cubicBezTo>
                    <a:cubicBezTo>
                      <a:pt x="684" y="244"/>
                      <a:pt x="721" y="271"/>
                      <a:pt x="747" y="292"/>
                    </a:cubicBezTo>
                    <a:cubicBezTo>
                      <a:pt x="747" y="292"/>
                      <a:pt x="747" y="292"/>
                      <a:pt x="747" y="292"/>
                    </a:cubicBezTo>
                    <a:cubicBezTo>
                      <a:pt x="746" y="297"/>
                      <a:pt x="744" y="302"/>
                      <a:pt x="743" y="307"/>
                    </a:cubicBezTo>
                    <a:cubicBezTo>
                      <a:pt x="740" y="319"/>
                      <a:pt x="738" y="331"/>
                      <a:pt x="732" y="341"/>
                    </a:cubicBezTo>
                    <a:cubicBezTo>
                      <a:pt x="727" y="359"/>
                      <a:pt x="720" y="376"/>
                      <a:pt x="712" y="393"/>
                    </a:cubicBezTo>
                    <a:cubicBezTo>
                      <a:pt x="712" y="401"/>
                      <a:pt x="713" y="409"/>
                      <a:pt x="715" y="417"/>
                    </a:cubicBezTo>
                    <a:cubicBezTo>
                      <a:pt x="719" y="421"/>
                      <a:pt x="724" y="425"/>
                      <a:pt x="729" y="428"/>
                    </a:cubicBezTo>
                    <a:cubicBezTo>
                      <a:pt x="734" y="431"/>
                      <a:pt x="738" y="435"/>
                      <a:pt x="740" y="440"/>
                    </a:cubicBezTo>
                    <a:cubicBezTo>
                      <a:pt x="743" y="447"/>
                      <a:pt x="752" y="451"/>
                      <a:pt x="756" y="458"/>
                    </a:cubicBezTo>
                    <a:cubicBezTo>
                      <a:pt x="758" y="465"/>
                      <a:pt x="764" y="471"/>
                      <a:pt x="763" y="479"/>
                    </a:cubicBezTo>
                    <a:cubicBezTo>
                      <a:pt x="758" y="481"/>
                      <a:pt x="755" y="486"/>
                      <a:pt x="752" y="490"/>
                    </a:cubicBezTo>
                    <a:cubicBezTo>
                      <a:pt x="750" y="497"/>
                      <a:pt x="751" y="505"/>
                      <a:pt x="748" y="513"/>
                    </a:cubicBezTo>
                    <a:cubicBezTo>
                      <a:pt x="745" y="517"/>
                      <a:pt x="748" y="522"/>
                      <a:pt x="750" y="526"/>
                    </a:cubicBezTo>
                    <a:cubicBezTo>
                      <a:pt x="749" y="533"/>
                      <a:pt x="752" y="539"/>
                      <a:pt x="750" y="546"/>
                    </a:cubicBezTo>
                    <a:cubicBezTo>
                      <a:pt x="749" y="550"/>
                      <a:pt x="751" y="557"/>
                      <a:pt x="744" y="555"/>
                    </a:cubicBezTo>
                    <a:cubicBezTo>
                      <a:pt x="739" y="554"/>
                      <a:pt x="740" y="561"/>
                      <a:pt x="738" y="565"/>
                    </a:cubicBezTo>
                    <a:cubicBezTo>
                      <a:pt x="739" y="574"/>
                      <a:pt x="742" y="583"/>
                      <a:pt x="745" y="592"/>
                    </a:cubicBezTo>
                    <a:cubicBezTo>
                      <a:pt x="746" y="597"/>
                      <a:pt x="751" y="600"/>
                      <a:pt x="753" y="604"/>
                    </a:cubicBezTo>
                    <a:cubicBezTo>
                      <a:pt x="755" y="609"/>
                      <a:pt x="744" y="609"/>
                      <a:pt x="750" y="614"/>
                    </a:cubicBezTo>
                    <a:cubicBezTo>
                      <a:pt x="753" y="620"/>
                      <a:pt x="758" y="627"/>
                      <a:pt x="761" y="634"/>
                    </a:cubicBezTo>
                    <a:cubicBezTo>
                      <a:pt x="767" y="640"/>
                      <a:pt x="764" y="649"/>
                      <a:pt x="762" y="656"/>
                    </a:cubicBezTo>
                    <a:cubicBezTo>
                      <a:pt x="765" y="660"/>
                      <a:pt x="770" y="662"/>
                      <a:pt x="771" y="667"/>
                    </a:cubicBezTo>
                    <a:cubicBezTo>
                      <a:pt x="773" y="672"/>
                      <a:pt x="770" y="678"/>
                      <a:pt x="772" y="682"/>
                    </a:cubicBezTo>
                    <a:cubicBezTo>
                      <a:pt x="777" y="686"/>
                      <a:pt x="775" y="691"/>
                      <a:pt x="775" y="696"/>
                    </a:cubicBezTo>
                    <a:cubicBezTo>
                      <a:pt x="777" y="701"/>
                      <a:pt x="783" y="703"/>
                      <a:pt x="788" y="706"/>
                    </a:cubicBezTo>
                    <a:cubicBezTo>
                      <a:pt x="791" y="710"/>
                      <a:pt x="793" y="715"/>
                      <a:pt x="795" y="719"/>
                    </a:cubicBezTo>
                    <a:cubicBezTo>
                      <a:pt x="800" y="721"/>
                      <a:pt x="806" y="722"/>
                      <a:pt x="810" y="725"/>
                    </a:cubicBezTo>
                    <a:cubicBezTo>
                      <a:pt x="812" y="726"/>
                      <a:pt x="813" y="727"/>
                      <a:pt x="814" y="729"/>
                    </a:cubicBezTo>
                    <a:cubicBezTo>
                      <a:pt x="813" y="729"/>
                      <a:pt x="813" y="729"/>
                      <a:pt x="813" y="729"/>
                    </a:cubicBezTo>
                    <a:cubicBezTo>
                      <a:pt x="807" y="737"/>
                      <a:pt x="807" y="737"/>
                      <a:pt x="807" y="737"/>
                    </a:cubicBezTo>
                    <a:cubicBezTo>
                      <a:pt x="805" y="738"/>
                      <a:pt x="805" y="738"/>
                      <a:pt x="805" y="738"/>
                    </a:cubicBezTo>
                    <a:cubicBezTo>
                      <a:pt x="795" y="743"/>
                      <a:pt x="786" y="749"/>
                      <a:pt x="778" y="757"/>
                    </a:cubicBezTo>
                    <a:cubicBezTo>
                      <a:pt x="768" y="760"/>
                      <a:pt x="761" y="767"/>
                      <a:pt x="751" y="769"/>
                    </a:cubicBezTo>
                    <a:cubicBezTo>
                      <a:pt x="734" y="770"/>
                      <a:pt x="724" y="791"/>
                      <a:pt x="706" y="785"/>
                    </a:cubicBezTo>
                    <a:cubicBezTo>
                      <a:pt x="689" y="785"/>
                      <a:pt x="675" y="795"/>
                      <a:pt x="661" y="803"/>
                    </a:cubicBezTo>
                    <a:cubicBezTo>
                      <a:pt x="649" y="796"/>
                      <a:pt x="636" y="785"/>
                      <a:pt x="620" y="794"/>
                    </a:cubicBezTo>
                    <a:cubicBezTo>
                      <a:pt x="613" y="804"/>
                      <a:pt x="612" y="819"/>
                      <a:pt x="595" y="820"/>
                    </a:cubicBezTo>
                    <a:cubicBezTo>
                      <a:pt x="586" y="827"/>
                      <a:pt x="576" y="824"/>
                      <a:pt x="566" y="822"/>
                    </a:cubicBezTo>
                    <a:cubicBezTo>
                      <a:pt x="557" y="817"/>
                      <a:pt x="548" y="809"/>
                      <a:pt x="537" y="816"/>
                    </a:cubicBezTo>
                    <a:cubicBezTo>
                      <a:pt x="530" y="831"/>
                      <a:pt x="516" y="820"/>
                      <a:pt x="505" y="822"/>
                    </a:cubicBezTo>
                    <a:cubicBezTo>
                      <a:pt x="490" y="828"/>
                      <a:pt x="494" y="806"/>
                      <a:pt x="479" y="807"/>
                    </a:cubicBezTo>
                    <a:cubicBezTo>
                      <a:pt x="470" y="789"/>
                      <a:pt x="458" y="813"/>
                      <a:pt x="447" y="813"/>
                    </a:cubicBezTo>
                    <a:cubicBezTo>
                      <a:pt x="433" y="809"/>
                      <a:pt x="418" y="814"/>
                      <a:pt x="405" y="809"/>
                    </a:cubicBezTo>
                    <a:cubicBezTo>
                      <a:pt x="405" y="808"/>
                      <a:pt x="404" y="808"/>
                      <a:pt x="404" y="808"/>
                    </a:cubicBezTo>
                    <a:cubicBezTo>
                      <a:pt x="404" y="793"/>
                      <a:pt x="388" y="795"/>
                      <a:pt x="386" y="782"/>
                    </a:cubicBezTo>
                    <a:cubicBezTo>
                      <a:pt x="372" y="771"/>
                      <a:pt x="387" y="757"/>
                      <a:pt x="385" y="744"/>
                    </a:cubicBezTo>
                    <a:cubicBezTo>
                      <a:pt x="377" y="728"/>
                      <a:pt x="382" y="709"/>
                      <a:pt x="377" y="691"/>
                    </a:cubicBezTo>
                    <a:cubicBezTo>
                      <a:pt x="370" y="676"/>
                      <a:pt x="358" y="664"/>
                      <a:pt x="347" y="652"/>
                    </a:cubicBezTo>
                    <a:cubicBezTo>
                      <a:pt x="335" y="645"/>
                      <a:pt x="339" y="661"/>
                      <a:pt x="335" y="665"/>
                    </a:cubicBezTo>
                    <a:cubicBezTo>
                      <a:pt x="325" y="656"/>
                      <a:pt x="311" y="659"/>
                      <a:pt x="299" y="659"/>
                    </a:cubicBezTo>
                    <a:cubicBezTo>
                      <a:pt x="294" y="643"/>
                      <a:pt x="276" y="656"/>
                      <a:pt x="269" y="642"/>
                    </a:cubicBezTo>
                    <a:cubicBezTo>
                      <a:pt x="267" y="643"/>
                      <a:pt x="265" y="642"/>
                      <a:pt x="263" y="642"/>
                    </a:cubicBezTo>
                    <a:cubicBezTo>
                      <a:pt x="253" y="640"/>
                      <a:pt x="247" y="631"/>
                      <a:pt x="237" y="632"/>
                    </a:cubicBezTo>
                    <a:cubicBezTo>
                      <a:pt x="230" y="627"/>
                      <a:pt x="224" y="618"/>
                      <a:pt x="214" y="621"/>
                    </a:cubicBezTo>
                    <a:cubicBezTo>
                      <a:pt x="206" y="614"/>
                      <a:pt x="197" y="617"/>
                      <a:pt x="190" y="613"/>
                    </a:cubicBezTo>
                    <a:cubicBezTo>
                      <a:pt x="193" y="595"/>
                      <a:pt x="166" y="611"/>
                      <a:pt x="164" y="595"/>
                    </a:cubicBezTo>
                    <a:cubicBezTo>
                      <a:pt x="161" y="578"/>
                      <a:pt x="141" y="579"/>
                      <a:pt x="128" y="580"/>
                    </a:cubicBezTo>
                    <a:cubicBezTo>
                      <a:pt x="115" y="575"/>
                      <a:pt x="109" y="561"/>
                      <a:pt x="105" y="548"/>
                    </a:cubicBezTo>
                    <a:cubicBezTo>
                      <a:pt x="102" y="548"/>
                      <a:pt x="102" y="548"/>
                      <a:pt x="102" y="548"/>
                    </a:cubicBezTo>
                    <a:cubicBezTo>
                      <a:pt x="102" y="547"/>
                      <a:pt x="103" y="547"/>
                      <a:pt x="104" y="547"/>
                    </a:cubicBezTo>
                    <a:cubicBezTo>
                      <a:pt x="104" y="529"/>
                      <a:pt x="88" y="516"/>
                      <a:pt x="82" y="499"/>
                    </a:cubicBezTo>
                    <a:cubicBezTo>
                      <a:pt x="81" y="479"/>
                      <a:pt x="71" y="459"/>
                      <a:pt x="55" y="445"/>
                    </a:cubicBezTo>
                    <a:cubicBezTo>
                      <a:pt x="41" y="438"/>
                      <a:pt x="27" y="429"/>
                      <a:pt x="23" y="412"/>
                    </a:cubicBezTo>
                    <a:cubicBezTo>
                      <a:pt x="15" y="399"/>
                      <a:pt x="9" y="378"/>
                      <a:pt x="23" y="366"/>
                    </a:cubicBezTo>
                    <a:cubicBezTo>
                      <a:pt x="29" y="354"/>
                      <a:pt x="17" y="342"/>
                      <a:pt x="15" y="330"/>
                    </a:cubicBezTo>
                    <a:cubicBezTo>
                      <a:pt x="14" y="319"/>
                      <a:pt x="6" y="311"/>
                      <a:pt x="5" y="300"/>
                    </a:cubicBezTo>
                    <a:cubicBezTo>
                      <a:pt x="0" y="287"/>
                      <a:pt x="14" y="276"/>
                      <a:pt x="11" y="263"/>
                    </a:cubicBezTo>
                    <a:cubicBezTo>
                      <a:pt x="12" y="261"/>
                      <a:pt x="12" y="261"/>
                      <a:pt x="12" y="261"/>
                    </a:cubicBezTo>
                    <a:cubicBezTo>
                      <a:pt x="18" y="265"/>
                      <a:pt x="31" y="263"/>
                      <a:pt x="37" y="261"/>
                    </a:cubicBezTo>
                    <a:cubicBezTo>
                      <a:pt x="46" y="254"/>
                      <a:pt x="58" y="250"/>
                      <a:pt x="64" y="238"/>
                    </a:cubicBezTo>
                    <a:cubicBezTo>
                      <a:pt x="71" y="229"/>
                      <a:pt x="76" y="212"/>
                      <a:pt x="85" y="209"/>
                    </a:cubicBezTo>
                    <a:cubicBezTo>
                      <a:pt x="82" y="194"/>
                      <a:pt x="100" y="192"/>
                      <a:pt x="104" y="182"/>
                    </a:cubicBezTo>
                    <a:cubicBezTo>
                      <a:pt x="103" y="174"/>
                      <a:pt x="126" y="175"/>
                      <a:pt x="118" y="161"/>
                    </a:cubicBezTo>
                    <a:cubicBezTo>
                      <a:pt x="114" y="155"/>
                      <a:pt x="121" y="149"/>
                      <a:pt x="112" y="152"/>
                    </a:cubicBezTo>
                    <a:cubicBezTo>
                      <a:pt x="104" y="147"/>
                      <a:pt x="83" y="146"/>
                      <a:pt x="90" y="146"/>
                    </a:cubicBezTo>
                    <a:cubicBezTo>
                      <a:pt x="85" y="138"/>
                      <a:pt x="91" y="128"/>
                      <a:pt x="93" y="127"/>
                    </a:cubicBezTo>
                    <a:cubicBezTo>
                      <a:pt x="84" y="129"/>
                      <a:pt x="97" y="110"/>
                      <a:pt x="97" y="109"/>
                    </a:cubicBezTo>
                    <a:cubicBezTo>
                      <a:pt x="97" y="109"/>
                      <a:pt x="97" y="109"/>
                      <a:pt x="97" y="109"/>
                    </a:cubicBezTo>
                    <a:cubicBezTo>
                      <a:pt x="97" y="108"/>
                      <a:pt x="97" y="108"/>
                      <a:pt x="97" y="108"/>
                    </a:cubicBezTo>
                    <a:cubicBezTo>
                      <a:pt x="99" y="107"/>
                      <a:pt x="99" y="107"/>
                      <a:pt x="99" y="107"/>
                    </a:cubicBezTo>
                    <a:cubicBezTo>
                      <a:pt x="99" y="106"/>
                      <a:pt x="99" y="106"/>
                      <a:pt x="99" y="106"/>
                    </a:cubicBezTo>
                    <a:cubicBezTo>
                      <a:pt x="105" y="105"/>
                      <a:pt x="115" y="103"/>
                      <a:pt x="119" y="102"/>
                    </a:cubicBezTo>
                    <a:cubicBezTo>
                      <a:pt x="119" y="102"/>
                      <a:pt x="119" y="102"/>
                      <a:pt x="119" y="102"/>
                    </a:cubicBezTo>
                    <a:cubicBezTo>
                      <a:pt x="119" y="102"/>
                      <a:pt x="120" y="102"/>
                      <a:pt x="120" y="102"/>
                    </a:cubicBezTo>
                    <a:cubicBezTo>
                      <a:pt x="120" y="102"/>
                      <a:pt x="119" y="102"/>
                      <a:pt x="119" y="102"/>
                    </a:cubicBezTo>
                    <a:cubicBezTo>
                      <a:pt x="120" y="91"/>
                      <a:pt x="124" y="80"/>
                      <a:pt x="117" y="69"/>
                    </a:cubicBezTo>
                    <a:cubicBezTo>
                      <a:pt x="120" y="55"/>
                      <a:pt x="116" y="37"/>
                      <a:pt x="105" y="29"/>
                    </a:cubicBezTo>
                    <a:cubicBezTo>
                      <a:pt x="96" y="25"/>
                      <a:pt x="95" y="14"/>
                      <a:pt x="91" y="7"/>
                    </a:cubicBezTo>
                    <a:cubicBezTo>
                      <a:pt x="92" y="5"/>
                      <a:pt x="92" y="5"/>
                      <a:pt x="92" y="5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32" name="Taiwan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7323712" y="3736084"/>
              <a:ext cx="33285" cy="100322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2" y="16"/>
                </a:cxn>
                <a:cxn ang="0">
                  <a:pos x="6" y="18"/>
                </a:cxn>
                <a:cxn ang="0">
                  <a:pos x="6" y="0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0" y="9"/>
                </a:cxn>
              </a:cxnLst>
              <a:rect l="0" t="0" r="r" b="b"/>
              <a:pathLst>
                <a:path w="6" h="18">
                  <a:moveTo>
                    <a:pt x="0" y="9"/>
                  </a:moveTo>
                  <a:lnTo>
                    <a:pt x="2" y="16"/>
                  </a:lnTo>
                  <a:lnTo>
                    <a:pt x="6" y="18"/>
                  </a:lnTo>
                  <a:lnTo>
                    <a:pt x="6" y="0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33" name="Syria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137997" y="3345944"/>
              <a:ext cx="160877" cy="178350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21" y="2"/>
                </a:cxn>
                <a:cxn ang="0">
                  <a:pos x="14" y="2"/>
                </a:cxn>
                <a:cxn ang="0">
                  <a:pos x="12" y="2"/>
                </a:cxn>
                <a:cxn ang="0">
                  <a:pos x="4" y="2"/>
                </a:cxn>
                <a:cxn ang="0">
                  <a:pos x="4" y="7"/>
                </a:cxn>
                <a:cxn ang="0">
                  <a:pos x="0" y="9"/>
                </a:cxn>
                <a:cxn ang="0">
                  <a:pos x="0" y="18"/>
                </a:cxn>
                <a:cxn ang="0">
                  <a:pos x="4" y="18"/>
                </a:cxn>
                <a:cxn ang="0">
                  <a:pos x="0" y="25"/>
                </a:cxn>
                <a:cxn ang="0">
                  <a:pos x="0" y="27"/>
                </a:cxn>
                <a:cxn ang="0">
                  <a:pos x="4" y="32"/>
                </a:cxn>
                <a:cxn ang="0">
                  <a:pos x="14" y="25"/>
                </a:cxn>
                <a:cxn ang="0">
                  <a:pos x="23" y="18"/>
                </a:cxn>
                <a:cxn ang="0">
                  <a:pos x="23" y="7"/>
                </a:cxn>
                <a:cxn ang="0">
                  <a:pos x="25" y="5"/>
                </a:cxn>
                <a:cxn ang="0">
                  <a:pos x="29" y="0"/>
                </a:cxn>
              </a:cxnLst>
              <a:rect l="0" t="0" r="r" b="b"/>
              <a:pathLst>
                <a:path w="29" h="32">
                  <a:moveTo>
                    <a:pt x="29" y="0"/>
                  </a:moveTo>
                  <a:lnTo>
                    <a:pt x="21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4" y="2"/>
                  </a:lnTo>
                  <a:lnTo>
                    <a:pt x="4" y="7"/>
                  </a:lnTo>
                  <a:lnTo>
                    <a:pt x="0" y="9"/>
                  </a:lnTo>
                  <a:lnTo>
                    <a:pt x="0" y="18"/>
                  </a:lnTo>
                  <a:lnTo>
                    <a:pt x="4" y="18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4" y="32"/>
                  </a:lnTo>
                  <a:lnTo>
                    <a:pt x="14" y="25"/>
                  </a:lnTo>
                  <a:lnTo>
                    <a:pt x="23" y="18"/>
                  </a:lnTo>
                  <a:lnTo>
                    <a:pt x="23" y="7"/>
                  </a:lnTo>
                  <a:lnTo>
                    <a:pt x="25" y="5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34" name="Switzerland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405727" y="3022684"/>
              <a:ext cx="105402" cy="50161"/>
            </a:xfrm>
            <a:custGeom>
              <a:avLst/>
              <a:gdLst/>
              <a:ahLst/>
              <a:cxnLst>
                <a:cxn ang="0">
                  <a:pos x="4" y="9"/>
                </a:cxn>
                <a:cxn ang="0">
                  <a:pos x="2" y="6"/>
                </a:cxn>
                <a:cxn ang="0">
                  <a:pos x="2" y="9"/>
                </a:cxn>
                <a:cxn ang="0">
                  <a:pos x="0" y="6"/>
                </a:cxn>
                <a:cxn ang="0">
                  <a:pos x="4" y="0"/>
                </a:cxn>
                <a:cxn ang="0">
                  <a:pos x="9" y="0"/>
                </a:cxn>
                <a:cxn ang="0">
                  <a:pos x="17" y="0"/>
                </a:cxn>
                <a:cxn ang="0">
                  <a:pos x="17" y="4"/>
                </a:cxn>
                <a:cxn ang="0">
                  <a:pos x="19" y="4"/>
                </a:cxn>
                <a:cxn ang="0">
                  <a:pos x="17" y="6"/>
                </a:cxn>
                <a:cxn ang="0">
                  <a:pos x="13" y="6"/>
                </a:cxn>
                <a:cxn ang="0">
                  <a:pos x="13" y="9"/>
                </a:cxn>
                <a:cxn ang="0">
                  <a:pos x="11" y="6"/>
                </a:cxn>
                <a:cxn ang="0">
                  <a:pos x="7" y="9"/>
                </a:cxn>
                <a:cxn ang="0">
                  <a:pos x="4" y="9"/>
                </a:cxn>
              </a:cxnLst>
              <a:rect l="0" t="0" r="r" b="b"/>
              <a:pathLst>
                <a:path w="19" h="9">
                  <a:moveTo>
                    <a:pt x="4" y="9"/>
                  </a:moveTo>
                  <a:lnTo>
                    <a:pt x="2" y="6"/>
                  </a:lnTo>
                  <a:lnTo>
                    <a:pt x="2" y="9"/>
                  </a:lnTo>
                  <a:lnTo>
                    <a:pt x="0" y="6"/>
                  </a:lnTo>
                  <a:lnTo>
                    <a:pt x="4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17" y="6"/>
                  </a:lnTo>
                  <a:lnTo>
                    <a:pt x="13" y="6"/>
                  </a:lnTo>
                  <a:lnTo>
                    <a:pt x="13" y="9"/>
                  </a:lnTo>
                  <a:lnTo>
                    <a:pt x="11" y="6"/>
                  </a:lnTo>
                  <a:lnTo>
                    <a:pt x="7" y="9"/>
                  </a:lnTo>
                  <a:lnTo>
                    <a:pt x="4" y="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35" name="Sweden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4533319" y="2392886"/>
              <a:ext cx="244090" cy="390140"/>
            </a:xfrm>
            <a:custGeom>
              <a:avLst/>
              <a:gdLst/>
              <a:ahLst/>
              <a:cxnLst>
                <a:cxn ang="0">
                  <a:pos x="2" y="47"/>
                </a:cxn>
                <a:cxn ang="0">
                  <a:pos x="4" y="47"/>
                </a:cxn>
                <a:cxn ang="0">
                  <a:pos x="2" y="41"/>
                </a:cxn>
                <a:cxn ang="0">
                  <a:pos x="4" y="41"/>
                </a:cxn>
                <a:cxn ang="0">
                  <a:pos x="2" y="32"/>
                </a:cxn>
                <a:cxn ang="0">
                  <a:pos x="2" y="25"/>
                </a:cxn>
                <a:cxn ang="0">
                  <a:pos x="11" y="25"/>
                </a:cxn>
                <a:cxn ang="0">
                  <a:pos x="9" y="23"/>
                </a:cxn>
                <a:cxn ang="0">
                  <a:pos x="11" y="14"/>
                </a:cxn>
                <a:cxn ang="0">
                  <a:pos x="17" y="9"/>
                </a:cxn>
                <a:cxn ang="0">
                  <a:pos x="19" y="5"/>
                </a:cxn>
                <a:cxn ang="0">
                  <a:pos x="21" y="5"/>
                </a:cxn>
                <a:cxn ang="0">
                  <a:pos x="25" y="0"/>
                </a:cxn>
                <a:cxn ang="0">
                  <a:pos x="29" y="5"/>
                </a:cxn>
                <a:cxn ang="0">
                  <a:pos x="29" y="0"/>
                </a:cxn>
                <a:cxn ang="0">
                  <a:pos x="42" y="5"/>
                </a:cxn>
                <a:cxn ang="0">
                  <a:pos x="44" y="16"/>
                </a:cxn>
                <a:cxn ang="0">
                  <a:pos x="40" y="16"/>
                </a:cxn>
                <a:cxn ang="0">
                  <a:pos x="36" y="23"/>
                </a:cxn>
                <a:cxn ang="0">
                  <a:pos x="21" y="34"/>
                </a:cxn>
                <a:cxn ang="0">
                  <a:pos x="21" y="41"/>
                </a:cxn>
                <a:cxn ang="0">
                  <a:pos x="27" y="47"/>
                </a:cxn>
                <a:cxn ang="0">
                  <a:pos x="25" y="50"/>
                </a:cxn>
                <a:cxn ang="0">
                  <a:pos x="27" y="50"/>
                </a:cxn>
                <a:cxn ang="0">
                  <a:pos x="21" y="52"/>
                </a:cxn>
                <a:cxn ang="0">
                  <a:pos x="19" y="65"/>
                </a:cxn>
                <a:cxn ang="0">
                  <a:pos x="13" y="65"/>
                </a:cxn>
                <a:cxn ang="0">
                  <a:pos x="11" y="70"/>
                </a:cxn>
                <a:cxn ang="0">
                  <a:pos x="9" y="70"/>
                </a:cxn>
                <a:cxn ang="0">
                  <a:pos x="4" y="65"/>
                </a:cxn>
                <a:cxn ang="0">
                  <a:pos x="0" y="50"/>
                </a:cxn>
                <a:cxn ang="0">
                  <a:pos x="2" y="47"/>
                </a:cxn>
              </a:cxnLst>
              <a:rect l="0" t="0" r="r" b="b"/>
              <a:pathLst>
                <a:path w="44" h="70">
                  <a:moveTo>
                    <a:pt x="2" y="47"/>
                  </a:moveTo>
                  <a:lnTo>
                    <a:pt x="4" y="47"/>
                  </a:lnTo>
                  <a:lnTo>
                    <a:pt x="2" y="41"/>
                  </a:lnTo>
                  <a:lnTo>
                    <a:pt x="4" y="41"/>
                  </a:lnTo>
                  <a:lnTo>
                    <a:pt x="2" y="32"/>
                  </a:lnTo>
                  <a:lnTo>
                    <a:pt x="2" y="25"/>
                  </a:lnTo>
                  <a:lnTo>
                    <a:pt x="11" y="25"/>
                  </a:lnTo>
                  <a:lnTo>
                    <a:pt x="9" y="23"/>
                  </a:lnTo>
                  <a:lnTo>
                    <a:pt x="11" y="14"/>
                  </a:lnTo>
                  <a:lnTo>
                    <a:pt x="17" y="9"/>
                  </a:lnTo>
                  <a:lnTo>
                    <a:pt x="19" y="5"/>
                  </a:lnTo>
                  <a:lnTo>
                    <a:pt x="21" y="5"/>
                  </a:lnTo>
                  <a:lnTo>
                    <a:pt x="25" y="0"/>
                  </a:lnTo>
                  <a:lnTo>
                    <a:pt x="29" y="5"/>
                  </a:lnTo>
                  <a:lnTo>
                    <a:pt x="29" y="0"/>
                  </a:lnTo>
                  <a:lnTo>
                    <a:pt x="42" y="5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36" y="23"/>
                  </a:lnTo>
                  <a:lnTo>
                    <a:pt x="21" y="34"/>
                  </a:lnTo>
                  <a:lnTo>
                    <a:pt x="21" y="41"/>
                  </a:lnTo>
                  <a:lnTo>
                    <a:pt x="27" y="47"/>
                  </a:lnTo>
                  <a:lnTo>
                    <a:pt x="25" y="50"/>
                  </a:lnTo>
                  <a:lnTo>
                    <a:pt x="27" y="50"/>
                  </a:lnTo>
                  <a:lnTo>
                    <a:pt x="21" y="52"/>
                  </a:lnTo>
                  <a:lnTo>
                    <a:pt x="19" y="65"/>
                  </a:lnTo>
                  <a:lnTo>
                    <a:pt x="13" y="65"/>
                  </a:lnTo>
                  <a:lnTo>
                    <a:pt x="11" y="70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0" y="50"/>
                  </a:lnTo>
                  <a:lnTo>
                    <a:pt x="2" y="4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36" name="Swaziland"/>
            <p:cNvSpPr>
              <a:spLocks/>
            </p:cNvSpPr>
            <p:nvPr/>
          </p:nvSpPr>
          <p:spPr bwMode="auto">
            <a:xfrm>
              <a:off x="5024727" y="5394234"/>
              <a:ext cx="37977" cy="52574"/>
            </a:xfrm>
            <a:custGeom>
              <a:avLst/>
              <a:gdLst>
                <a:gd name="T0" fmla="*/ 60 w 105"/>
                <a:gd name="T1" fmla="*/ 9 h 123"/>
                <a:gd name="T2" fmla="*/ 85 w 105"/>
                <a:gd name="T3" fmla="*/ 22 h 123"/>
                <a:gd name="T4" fmla="*/ 87 w 105"/>
                <a:gd name="T5" fmla="*/ 22 h 123"/>
                <a:gd name="T6" fmla="*/ 93 w 105"/>
                <a:gd name="T7" fmla="*/ 61 h 123"/>
                <a:gd name="T8" fmla="*/ 88 w 105"/>
                <a:gd name="T9" fmla="*/ 87 h 123"/>
                <a:gd name="T10" fmla="*/ 85 w 105"/>
                <a:gd name="T11" fmla="*/ 86 h 123"/>
                <a:gd name="T12" fmla="*/ 76 w 105"/>
                <a:gd name="T13" fmla="*/ 122 h 123"/>
                <a:gd name="T14" fmla="*/ 39 w 105"/>
                <a:gd name="T15" fmla="*/ 119 h 123"/>
                <a:gd name="T16" fmla="*/ 14 w 105"/>
                <a:gd name="T17" fmla="*/ 101 h 123"/>
                <a:gd name="T18" fmla="*/ 1 w 105"/>
                <a:gd name="T19" fmla="*/ 80 h 123"/>
                <a:gd name="T20" fmla="*/ 12 w 105"/>
                <a:gd name="T21" fmla="*/ 45 h 123"/>
                <a:gd name="T22" fmla="*/ 34 w 105"/>
                <a:gd name="T23" fmla="*/ 14 h 123"/>
                <a:gd name="T24" fmla="*/ 60 w 105"/>
                <a:gd name="T25" fmla="*/ 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3">
                  <a:moveTo>
                    <a:pt x="60" y="9"/>
                  </a:moveTo>
                  <a:cubicBezTo>
                    <a:pt x="67" y="13"/>
                    <a:pt x="78" y="27"/>
                    <a:pt x="85" y="22"/>
                  </a:cubicBezTo>
                  <a:cubicBezTo>
                    <a:pt x="87" y="22"/>
                    <a:pt x="87" y="22"/>
                    <a:pt x="87" y="22"/>
                  </a:cubicBezTo>
                  <a:cubicBezTo>
                    <a:pt x="105" y="29"/>
                    <a:pt x="85" y="48"/>
                    <a:pt x="93" y="61"/>
                  </a:cubicBezTo>
                  <a:cubicBezTo>
                    <a:pt x="92" y="68"/>
                    <a:pt x="96" y="86"/>
                    <a:pt x="88" y="87"/>
                  </a:cubicBezTo>
                  <a:cubicBezTo>
                    <a:pt x="87" y="87"/>
                    <a:pt x="86" y="87"/>
                    <a:pt x="85" y="86"/>
                  </a:cubicBezTo>
                  <a:cubicBezTo>
                    <a:pt x="78" y="97"/>
                    <a:pt x="79" y="111"/>
                    <a:pt x="76" y="122"/>
                  </a:cubicBezTo>
                  <a:cubicBezTo>
                    <a:pt x="64" y="122"/>
                    <a:pt x="50" y="123"/>
                    <a:pt x="39" y="119"/>
                  </a:cubicBezTo>
                  <a:cubicBezTo>
                    <a:pt x="28" y="116"/>
                    <a:pt x="20" y="109"/>
                    <a:pt x="14" y="101"/>
                  </a:cubicBezTo>
                  <a:cubicBezTo>
                    <a:pt x="10" y="93"/>
                    <a:pt x="12" y="79"/>
                    <a:pt x="1" y="80"/>
                  </a:cubicBezTo>
                  <a:cubicBezTo>
                    <a:pt x="3" y="68"/>
                    <a:pt x="0" y="53"/>
                    <a:pt x="12" y="45"/>
                  </a:cubicBezTo>
                  <a:cubicBezTo>
                    <a:pt x="22" y="37"/>
                    <a:pt x="25" y="23"/>
                    <a:pt x="34" y="14"/>
                  </a:cubicBezTo>
                  <a:cubicBezTo>
                    <a:pt x="40" y="6"/>
                    <a:pt x="52" y="0"/>
                    <a:pt x="60" y="9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37" name="Suriname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2730382" y="4365882"/>
              <a:ext cx="88760" cy="122616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2" y="0"/>
                </a:cxn>
                <a:cxn ang="0">
                  <a:pos x="2" y="0"/>
                </a:cxn>
                <a:cxn ang="0">
                  <a:pos x="0" y="11"/>
                </a:cxn>
                <a:cxn ang="0">
                  <a:pos x="4" y="22"/>
                </a:cxn>
                <a:cxn ang="0">
                  <a:pos x="8" y="22"/>
                </a:cxn>
                <a:cxn ang="0">
                  <a:pos x="8" y="20"/>
                </a:cxn>
                <a:cxn ang="0">
                  <a:pos x="16" y="22"/>
                </a:cxn>
                <a:cxn ang="0">
                  <a:pos x="16" y="13"/>
                </a:cxn>
                <a:cxn ang="0">
                  <a:pos x="16" y="6"/>
                </a:cxn>
                <a:cxn ang="0">
                  <a:pos x="16" y="4"/>
                </a:cxn>
                <a:cxn ang="0">
                  <a:pos x="16" y="0"/>
                </a:cxn>
              </a:cxnLst>
              <a:rect l="0" t="0" r="r" b="b"/>
              <a:pathLst>
                <a:path w="16" h="22">
                  <a:moveTo>
                    <a:pt x="16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0" y="11"/>
                  </a:lnTo>
                  <a:lnTo>
                    <a:pt x="4" y="22"/>
                  </a:lnTo>
                  <a:lnTo>
                    <a:pt x="8" y="22"/>
                  </a:lnTo>
                  <a:lnTo>
                    <a:pt x="8" y="20"/>
                  </a:lnTo>
                  <a:lnTo>
                    <a:pt x="16" y="22"/>
                  </a:lnTo>
                  <a:lnTo>
                    <a:pt x="16" y="13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38" name="Sudan"/>
            <p:cNvGrpSpPr/>
            <p:nvPr/>
          </p:nvGrpSpPr>
          <p:grpSpPr>
            <a:xfrm>
              <a:off x="4812503" y="3799438"/>
              <a:ext cx="435163" cy="640117"/>
              <a:chOff x="4812503" y="3799438"/>
              <a:chExt cx="435163" cy="640117"/>
            </a:xfrm>
            <a:grpFill/>
          </p:grpSpPr>
          <p:sp>
            <p:nvSpPr>
              <p:cNvPr id="372" name="Sudan"/>
              <p:cNvSpPr>
                <a:spLocks/>
              </p:cNvSpPr>
              <p:nvPr/>
            </p:nvSpPr>
            <p:spPr bwMode="auto">
              <a:xfrm>
                <a:off x="4877039" y="4160829"/>
                <a:ext cx="303112" cy="278726"/>
              </a:xfrm>
              <a:custGeom>
                <a:avLst/>
                <a:gdLst>
                  <a:gd name="T0" fmla="*/ 773 w 833"/>
                  <a:gd name="T1" fmla="*/ 556 h 647"/>
                  <a:gd name="T2" fmla="*/ 741 w 833"/>
                  <a:gd name="T3" fmla="*/ 591 h 647"/>
                  <a:gd name="T4" fmla="*/ 681 w 833"/>
                  <a:gd name="T5" fmla="*/ 626 h 647"/>
                  <a:gd name="T6" fmla="*/ 608 w 833"/>
                  <a:gd name="T7" fmla="*/ 644 h 647"/>
                  <a:gd name="T8" fmla="*/ 554 w 833"/>
                  <a:gd name="T9" fmla="*/ 633 h 647"/>
                  <a:gd name="T10" fmla="*/ 509 w 833"/>
                  <a:gd name="T11" fmla="*/ 646 h 647"/>
                  <a:gd name="T12" fmla="*/ 480 w 833"/>
                  <a:gd name="T13" fmla="*/ 619 h 647"/>
                  <a:gd name="T14" fmla="*/ 428 w 833"/>
                  <a:gd name="T15" fmla="*/ 579 h 647"/>
                  <a:gd name="T16" fmla="*/ 382 w 833"/>
                  <a:gd name="T17" fmla="*/ 582 h 647"/>
                  <a:gd name="T18" fmla="*/ 325 w 833"/>
                  <a:gd name="T19" fmla="*/ 588 h 647"/>
                  <a:gd name="T20" fmla="*/ 291 w 833"/>
                  <a:gd name="T21" fmla="*/ 567 h 647"/>
                  <a:gd name="T22" fmla="*/ 252 w 833"/>
                  <a:gd name="T23" fmla="*/ 533 h 647"/>
                  <a:gd name="T24" fmla="*/ 244 w 833"/>
                  <a:gd name="T25" fmla="*/ 521 h 647"/>
                  <a:gd name="T26" fmla="*/ 207 w 833"/>
                  <a:gd name="T27" fmla="*/ 467 h 647"/>
                  <a:gd name="T28" fmla="*/ 181 w 833"/>
                  <a:gd name="T29" fmla="*/ 445 h 647"/>
                  <a:gd name="T30" fmla="*/ 153 w 833"/>
                  <a:gd name="T31" fmla="*/ 399 h 647"/>
                  <a:gd name="T32" fmla="*/ 86 w 833"/>
                  <a:gd name="T33" fmla="*/ 348 h 647"/>
                  <a:gd name="T34" fmla="*/ 65 w 833"/>
                  <a:gd name="T35" fmla="*/ 311 h 647"/>
                  <a:gd name="T36" fmla="*/ 0 w 833"/>
                  <a:gd name="T37" fmla="*/ 276 h 647"/>
                  <a:gd name="T38" fmla="*/ 7 w 833"/>
                  <a:gd name="T39" fmla="*/ 256 h 647"/>
                  <a:gd name="T40" fmla="*/ 35 w 833"/>
                  <a:gd name="T41" fmla="*/ 224 h 647"/>
                  <a:gd name="T42" fmla="*/ 47 w 833"/>
                  <a:gd name="T43" fmla="*/ 204 h 647"/>
                  <a:gd name="T44" fmla="*/ 59 w 833"/>
                  <a:gd name="T45" fmla="*/ 174 h 647"/>
                  <a:gd name="T46" fmla="*/ 127 w 833"/>
                  <a:gd name="T47" fmla="*/ 134 h 647"/>
                  <a:gd name="T48" fmla="*/ 155 w 833"/>
                  <a:gd name="T49" fmla="*/ 168 h 647"/>
                  <a:gd name="T50" fmla="*/ 197 w 833"/>
                  <a:gd name="T51" fmla="*/ 204 h 647"/>
                  <a:gd name="T52" fmla="*/ 281 w 833"/>
                  <a:gd name="T53" fmla="*/ 198 h 647"/>
                  <a:gd name="T54" fmla="*/ 349 w 833"/>
                  <a:gd name="T55" fmla="*/ 214 h 647"/>
                  <a:gd name="T56" fmla="*/ 403 w 833"/>
                  <a:gd name="T57" fmla="*/ 184 h 647"/>
                  <a:gd name="T58" fmla="*/ 431 w 833"/>
                  <a:gd name="T59" fmla="*/ 142 h 647"/>
                  <a:gd name="T60" fmla="*/ 527 w 833"/>
                  <a:gd name="T61" fmla="*/ 184 h 647"/>
                  <a:gd name="T62" fmla="*/ 581 w 833"/>
                  <a:gd name="T63" fmla="*/ 118 h 647"/>
                  <a:gd name="T64" fmla="*/ 615 w 833"/>
                  <a:gd name="T65" fmla="*/ 70 h 647"/>
                  <a:gd name="T66" fmla="*/ 595 w 833"/>
                  <a:gd name="T67" fmla="*/ 22 h 647"/>
                  <a:gd name="T68" fmla="*/ 637 w 833"/>
                  <a:gd name="T69" fmla="*/ 0 h 647"/>
                  <a:gd name="T70" fmla="*/ 671 w 833"/>
                  <a:gd name="T71" fmla="*/ 50 h 647"/>
                  <a:gd name="T72" fmla="*/ 701 w 833"/>
                  <a:gd name="T73" fmla="*/ 122 h 647"/>
                  <a:gd name="T74" fmla="*/ 725 w 833"/>
                  <a:gd name="T75" fmla="*/ 154 h 647"/>
                  <a:gd name="T76" fmla="*/ 723 w 833"/>
                  <a:gd name="T77" fmla="*/ 190 h 647"/>
                  <a:gd name="T78" fmla="*/ 737 w 833"/>
                  <a:gd name="T79" fmla="*/ 202 h 647"/>
                  <a:gd name="T80" fmla="*/ 741 w 833"/>
                  <a:gd name="T81" fmla="*/ 226 h 647"/>
                  <a:gd name="T82" fmla="*/ 707 w 833"/>
                  <a:gd name="T83" fmla="*/ 268 h 647"/>
                  <a:gd name="T84" fmla="*/ 662 w 833"/>
                  <a:gd name="T85" fmla="*/ 304 h 647"/>
                  <a:gd name="T86" fmla="*/ 725 w 833"/>
                  <a:gd name="T87" fmla="*/ 338 h 647"/>
                  <a:gd name="T88" fmla="*/ 773 w 833"/>
                  <a:gd name="T89" fmla="*/ 387 h 647"/>
                  <a:gd name="T90" fmla="*/ 811 w 833"/>
                  <a:gd name="T91" fmla="*/ 455 h 647"/>
                  <a:gd name="T92" fmla="*/ 833 w 833"/>
                  <a:gd name="T93" fmla="*/ 492 h 6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33" h="647">
                    <a:moveTo>
                      <a:pt x="772" y="555"/>
                    </a:moveTo>
                    <a:cubicBezTo>
                      <a:pt x="773" y="556"/>
                      <a:pt x="773" y="556"/>
                      <a:pt x="773" y="556"/>
                    </a:cubicBezTo>
                    <a:cubicBezTo>
                      <a:pt x="772" y="558"/>
                      <a:pt x="771" y="559"/>
                      <a:pt x="770" y="561"/>
                    </a:cubicBezTo>
                    <a:cubicBezTo>
                      <a:pt x="760" y="571"/>
                      <a:pt x="751" y="581"/>
                      <a:pt x="741" y="591"/>
                    </a:cubicBezTo>
                    <a:cubicBezTo>
                      <a:pt x="735" y="598"/>
                      <a:pt x="728" y="605"/>
                      <a:pt x="721" y="612"/>
                    </a:cubicBezTo>
                    <a:cubicBezTo>
                      <a:pt x="712" y="627"/>
                      <a:pt x="697" y="630"/>
                      <a:pt x="681" y="626"/>
                    </a:cubicBezTo>
                    <a:cubicBezTo>
                      <a:pt x="672" y="613"/>
                      <a:pt x="661" y="622"/>
                      <a:pt x="650" y="626"/>
                    </a:cubicBezTo>
                    <a:cubicBezTo>
                      <a:pt x="636" y="629"/>
                      <a:pt x="611" y="625"/>
                      <a:pt x="608" y="644"/>
                    </a:cubicBezTo>
                    <a:cubicBezTo>
                      <a:pt x="600" y="646"/>
                      <a:pt x="590" y="639"/>
                      <a:pt x="587" y="632"/>
                    </a:cubicBezTo>
                    <a:cubicBezTo>
                      <a:pt x="579" y="613"/>
                      <a:pt x="567" y="641"/>
                      <a:pt x="554" y="633"/>
                    </a:cubicBezTo>
                    <a:cubicBezTo>
                      <a:pt x="541" y="619"/>
                      <a:pt x="521" y="626"/>
                      <a:pt x="512" y="640"/>
                    </a:cubicBezTo>
                    <a:cubicBezTo>
                      <a:pt x="511" y="644"/>
                      <a:pt x="510" y="646"/>
                      <a:pt x="509" y="646"/>
                    </a:cubicBezTo>
                    <a:cubicBezTo>
                      <a:pt x="506" y="646"/>
                      <a:pt x="504" y="630"/>
                      <a:pt x="496" y="637"/>
                    </a:cubicBezTo>
                    <a:cubicBezTo>
                      <a:pt x="480" y="647"/>
                      <a:pt x="493" y="620"/>
                      <a:pt x="480" y="619"/>
                    </a:cubicBezTo>
                    <a:cubicBezTo>
                      <a:pt x="462" y="617"/>
                      <a:pt x="454" y="604"/>
                      <a:pt x="443" y="593"/>
                    </a:cubicBezTo>
                    <a:cubicBezTo>
                      <a:pt x="441" y="583"/>
                      <a:pt x="432" y="586"/>
                      <a:pt x="428" y="579"/>
                    </a:cubicBezTo>
                    <a:cubicBezTo>
                      <a:pt x="433" y="565"/>
                      <a:pt x="417" y="560"/>
                      <a:pt x="406" y="559"/>
                    </a:cubicBezTo>
                    <a:cubicBezTo>
                      <a:pt x="401" y="565"/>
                      <a:pt x="395" y="585"/>
                      <a:pt x="382" y="582"/>
                    </a:cubicBezTo>
                    <a:cubicBezTo>
                      <a:pt x="374" y="570"/>
                      <a:pt x="358" y="577"/>
                      <a:pt x="350" y="568"/>
                    </a:cubicBezTo>
                    <a:cubicBezTo>
                      <a:pt x="343" y="576"/>
                      <a:pt x="334" y="583"/>
                      <a:pt x="325" y="588"/>
                    </a:cubicBezTo>
                    <a:cubicBezTo>
                      <a:pt x="329" y="594"/>
                      <a:pt x="307" y="586"/>
                      <a:pt x="303" y="578"/>
                    </a:cubicBezTo>
                    <a:cubicBezTo>
                      <a:pt x="294" y="580"/>
                      <a:pt x="299" y="567"/>
                      <a:pt x="291" y="567"/>
                    </a:cubicBezTo>
                    <a:cubicBezTo>
                      <a:pt x="278" y="573"/>
                      <a:pt x="278" y="556"/>
                      <a:pt x="273" y="551"/>
                    </a:cubicBezTo>
                    <a:cubicBezTo>
                      <a:pt x="269" y="541"/>
                      <a:pt x="258" y="542"/>
                      <a:pt x="252" y="533"/>
                    </a:cubicBezTo>
                    <a:cubicBezTo>
                      <a:pt x="251" y="531"/>
                      <a:pt x="251" y="531"/>
                      <a:pt x="251" y="531"/>
                    </a:cubicBezTo>
                    <a:cubicBezTo>
                      <a:pt x="253" y="531"/>
                      <a:pt x="249" y="522"/>
                      <a:pt x="244" y="521"/>
                    </a:cubicBezTo>
                    <a:cubicBezTo>
                      <a:pt x="231" y="513"/>
                      <a:pt x="240" y="496"/>
                      <a:pt x="235" y="488"/>
                    </a:cubicBezTo>
                    <a:cubicBezTo>
                      <a:pt x="232" y="475"/>
                      <a:pt x="217" y="471"/>
                      <a:pt x="207" y="467"/>
                    </a:cubicBezTo>
                    <a:cubicBezTo>
                      <a:pt x="202" y="454"/>
                      <a:pt x="187" y="462"/>
                      <a:pt x="181" y="453"/>
                    </a:cubicBezTo>
                    <a:cubicBezTo>
                      <a:pt x="172" y="453"/>
                      <a:pt x="177" y="449"/>
                      <a:pt x="181" y="445"/>
                    </a:cubicBezTo>
                    <a:cubicBezTo>
                      <a:pt x="178" y="435"/>
                      <a:pt x="157" y="432"/>
                      <a:pt x="166" y="419"/>
                    </a:cubicBezTo>
                    <a:cubicBezTo>
                      <a:pt x="178" y="407"/>
                      <a:pt x="159" y="406"/>
                      <a:pt x="153" y="399"/>
                    </a:cubicBezTo>
                    <a:cubicBezTo>
                      <a:pt x="146" y="388"/>
                      <a:pt x="138" y="380"/>
                      <a:pt x="126" y="373"/>
                    </a:cubicBezTo>
                    <a:cubicBezTo>
                      <a:pt x="112" y="366"/>
                      <a:pt x="95" y="362"/>
                      <a:pt x="86" y="348"/>
                    </a:cubicBezTo>
                    <a:cubicBezTo>
                      <a:pt x="71" y="343"/>
                      <a:pt x="87" y="337"/>
                      <a:pt x="87" y="330"/>
                    </a:cubicBezTo>
                    <a:cubicBezTo>
                      <a:pt x="88" y="315"/>
                      <a:pt x="72" y="318"/>
                      <a:pt x="65" y="311"/>
                    </a:cubicBezTo>
                    <a:cubicBezTo>
                      <a:pt x="60" y="298"/>
                      <a:pt x="47" y="289"/>
                      <a:pt x="33" y="293"/>
                    </a:cubicBezTo>
                    <a:cubicBezTo>
                      <a:pt x="23" y="285"/>
                      <a:pt x="1" y="294"/>
                      <a:pt x="0" y="276"/>
                    </a:cubicBezTo>
                    <a:cubicBezTo>
                      <a:pt x="5" y="271"/>
                      <a:pt x="11" y="259"/>
                      <a:pt x="4" y="256"/>
                    </a:cubicBezTo>
                    <a:cubicBezTo>
                      <a:pt x="7" y="256"/>
                      <a:pt x="7" y="256"/>
                      <a:pt x="7" y="256"/>
                    </a:cubicBezTo>
                    <a:cubicBezTo>
                      <a:pt x="35" y="242"/>
                      <a:pt x="35" y="242"/>
                      <a:pt x="35" y="242"/>
                    </a:cubicBezTo>
                    <a:cubicBezTo>
                      <a:pt x="35" y="224"/>
                      <a:pt x="35" y="224"/>
                      <a:pt x="35" y="224"/>
                    </a:cubicBezTo>
                    <a:cubicBezTo>
                      <a:pt x="35" y="208"/>
                      <a:pt x="35" y="208"/>
                      <a:pt x="35" y="208"/>
                    </a:cubicBezTo>
                    <a:cubicBezTo>
                      <a:pt x="47" y="204"/>
                      <a:pt x="47" y="204"/>
                      <a:pt x="47" y="204"/>
                    </a:cubicBezTo>
                    <a:cubicBezTo>
                      <a:pt x="47" y="178"/>
                      <a:pt x="47" y="178"/>
                      <a:pt x="47" y="178"/>
                    </a:cubicBezTo>
                    <a:cubicBezTo>
                      <a:pt x="59" y="174"/>
                      <a:pt x="59" y="174"/>
                      <a:pt x="59" y="174"/>
                    </a:cubicBezTo>
                    <a:cubicBezTo>
                      <a:pt x="69" y="146"/>
                      <a:pt x="69" y="146"/>
                      <a:pt x="69" y="146"/>
                    </a:cubicBezTo>
                    <a:cubicBezTo>
                      <a:pt x="127" y="134"/>
                      <a:pt x="127" y="134"/>
                      <a:pt x="127" y="134"/>
                    </a:cubicBezTo>
                    <a:cubicBezTo>
                      <a:pt x="137" y="152"/>
                      <a:pt x="137" y="152"/>
                      <a:pt x="137" y="152"/>
                    </a:cubicBezTo>
                    <a:cubicBezTo>
                      <a:pt x="155" y="168"/>
                      <a:pt x="155" y="168"/>
                      <a:pt x="155" y="168"/>
                    </a:cubicBezTo>
                    <a:cubicBezTo>
                      <a:pt x="167" y="198"/>
                      <a:pt x="167" y="198"/>
                      <a:pt x="167" y="198"/>
                    </a:cubicBezTo>
                    <a:cubicBezTo>
                      <a:pt x="197" y="204"/>
                      <a:pt x="197" y="204"/>
                      <a:pt x="197" y="204"/>
                    </a:cubicBezTo>
                    <a:cubicBezTo>
                      <a:pt x="211" y="192"/>
                      <a:pt x="211" y="192"/>
                      <a:pt x="211" y="192"/>
                    </a:cubicBezTo>
                    <a:cubicBezTo>
                      <a:pt x="281" y="198"/>
                      <a:pt x="281" y="198"/>
                      <a:pt x="281" y="198"/>
                    </a:cubicBezTo>
                    <a:cubicBezTo>
                      <a:pt x="289" y="212"/>
                      <a:pt x="289" y="212"/>
                      <a:pt x="289" y="212"/>
                    </a:cubicBezTo>
                    <a:cubicBezTo>
                      <a:pt x="349" y="214"/>
                      <a:pt x="349" y="214"/>
                      <a:pt x="349" y="214"/>
                    </a:cubicBezTo>
                    <a:cubicBezTo>
                      <a:pt x="367" y="188"/>
                      <a:pt x="367" y="188"/>
                      <a:pt x="367" y="188"/>
                    </a:cubicBezTo>
                    <a:cubicBezTo>
                      <a:pt x="403" y="184"/>
                      <a:pt x="403" y="184"/>
                      <a:pt x="403" y="184"/>
                    </a:cubicBezTo>
                    <a:cubicBezTo>
                      <a:pt x="405" y="166"/>
                      <a:pt x="405" y="166"/>
                      <a:pt x="405" y="166"/>
                    </a:cubicBezTo>
                    <a:cubicBezTo>
                      <a:pt x="431" y="142"/>
                      <a:pt x="431" y="142"/>
                      <a:pt x="431" y="142"/>
                    </a:cubicBezTo>
                    <a:cubicBezTo>
                      <a:pt x="495" y="182"/>
                      <a:pt x="495" y="182"/>
                      <a:pt x="495" y="182"/>
                    </a:cubicBezTo>
                    <a:cubicBezTo>
                      <a:pt x="527" y="184"/>
                      <a:pt x="527" y="184"/>
                      <a:pt x="527" y="184"/>
                    </a:cubicBezTo>
                    <a:cubicBezTo>
                      <a:pt x="569" y="142"/>
                      <a:pt x="569" y="142"/>
                      <a:pt x="569" y="142"/>
                    </a:cubicBezTo>
                    <a:cubicBezTo>
                      <a:pt x="581" y="118"/>
                      <a:pt x="581" y="118"/>
                      <a:pt x="581" y="118"/>
                    </a:cubicBezTo>
                    <a:cubicBezTo>
                      <a:pt x="623" y="84"/>
                      <a:pt x="623" y="84"/>
                      <a:pt x="623" y="84"/>
                    </a:cubicBezTo>
                    <a:cubicBezTo>
                      <a:pt x="615" y="70"/>
                      <a:pt x="615" y="70"/>
                      <a:pt x="615" y="70"/>
                    </a:cubicBezTo>
                    <a:cubicBezTo>
                      <a:pt x="615" y="42"/>
                      <a:pt x="615" y="42"/>
                      <a:pt x="615" y="42"/>
                    </a:cubicBezTo>
                    <a:cubicBezTo>
                      <a:pt x="595" y="22"/>
                      <a:pt x="595" y="22"/>
                      <a:pt x="595" y="22"/>
                    </a:cubicBezTo>
                    <a:cubicBezTo>
                      <a:pt x="637" y="18"/>
                      <a:pt x="637" y="18"/>
                      <a:pt x="637" y="18"/>
                    </a:cubicBezTo>
                    <a:cubicBezTo>
                      <a:pt x="637" y="0"/>
                      <a:pt x="637" y="0"/>
                      <a:pt x="637" y="0"/>
                    </a:cubicBezTo>
                    <a:cubicBezTo>
                      <a:pt x="677" y="0"/>
                      <a:pt x="677" y="0"/>
                      <a:pt x="677" y="0"/>
                    </a:cubicBezTo>
                    <a:cubicBezTo>
                      <a:pt x="671" y="50"/>
                      <a:pt x="671" y="50"/>
                      <a:pt x="671" y="50"/>
                    </a:cubicBezTo>
                    <a:cubicBezTo>
                      <a:pt x="679" y="112"/>
                      <a:pt x="679" y="112"/>
                      <a:pt x="679" y="112"/>
                    </a:cubicBezTo>
                    <a:cubicBezTo>
                      <a:pt x="701" y="122"/>
                      <a:pt x="701" y="122"/>
                      <a:pt x="701" y="122"/>
                    </a:cubicBezTo>
                    <a:cubicBezTo>
                      <a:pt x="717" y="154"/>
                      <a:pt x="717" y="154"/>
                      <a:pt x="717" y="154"/>
                    </a:cubicBezTo>
                    <a:cubicBezTo>
                      <a:pt x="725" y="154"/>
                      <a:pt x="725" y="154"/>
                      <a:pt x="725" y="154"/>
                    </a:cubicBezTo>
                    <a:cubicBezTo>
                      <a:pt x="721" y="178"/>
                      <a:pt x="721" y="178"/>
                      <a:pt x="721" y="178"/>
                    </a:cubicBezTo>
                    <a:cubicBezTo>
                      <a:pt x="723" y="190"/>
                      <a:pt x="723" y="190"/>
                      <a:pt x="723" y="190"/>
                    </a:cubicBezTo>
                    <a:cubicBezTo>
                      <a:pt x="725" y="200"/>
                      <a:pt x="725" y="200"/>
                      <a:pt x="725" y="200"/>
                    </a:cubicBezTo>
                    <a:cubicBezTo>
                      <a:pt x="737" y="202"/>
                      <a:pt x="737" y="202"/>
                      <a:pt x="737" y="202"/>
                    </a:cubicBezTo>
                    <a:cubicBezTo>
                      <a:pt x="738" y="202"/>
                      <a:pt x="738" y="202"/>
                      <a:pt x="738" y="202"/>
                    </a:cubicBezTo>
                    <a:cubicBezTo>
                      <a:pt x="739" y="210"/>
                      <a:pt x="740" y="218"/>
                      <a:pt x="741" y="226"/>
                    </a:cubicBezTo>
                    <a:cubicBezTo>
                      <a:pt x="740" y="238"/>
                      <a:pt x="746" y="254"/>
                      <a:pt x="736" y="264"/>
                    </a:cubicBezTo>
                    <a:cubicBezTo>
                      <a:pt x="727" y="268"/>
                      <a:pt x="713" y="280"/>
                      <a:pt x="707" y="268"/>
                    </a:cubicBezTo>
                    <a:cubicBezTo>
                      <a:pt x="695" y="269"/>
                      <a:pt x="674" y="262"/>
                      <a:pt x="671" y="277"/>
                    </a:cubicBezTo>
                    <a:cubicBezTo>
                      <a:pt x="677" y="287"/>
                      <a:pt x="669" y="296"/>
                      <a:pt x="662" y="304"/>
                    </a:cubicBezTo>
                    <a:cubicBezTo>
                      <a:pt x="653" y="320"/>
                      <a:pt x="675" y="317"/>
                      <a:pt x="682" y="323"/>
                    </a:cubicBezTo>
                    <a:cubicBezTo>
                      <a:pt x="699" y="321"/>
                      <a:pt x="713" y="328"/>
                      <a:pt x="725" y="338"/>
                    </a:cubicBezTo>
                    <a:cubicBezTo>
                      <a:pt x="740" y="343"/>
                      <a:pt x="734" y="363"/>
                      <a:pt x="748" y="366"/>
                    </a:cubicBezTo>
                    <a:cubicBezTo>
                      <a:pt x="751" y="380"/>
                      <a:pt x="764" y="381"/>
                      <a:pt x="773" y="387"/>
                    </a:cubicBezTo>
                    <a:cubicBezTo>
                      <a:pt x="773" y="402"/>
                      <a:pt x="795" y="398"/>
                      <a:pt x="795" y="414"/>
                    </a:cubicBezTo>
                    <a:cubicBezTo>
                      <a:pt x="799" y="428"/>
                      <a:pt x="807" y="441"/>
                      <a:pt x="811" y="455"/>
                    </a:cubicBezTo>
                    <a:cubicBezTo>
                      <a:pt x="812" y="467"/>
                      <a:pt x="819" y="476"/>
                      <a:pt x="825" y="485"/>
                    </a:cubicBezTo>
                    <a:cubicBezTo>
                      <a:pt x="830" y="486"/>
                      <a:pt x="832" y="489"/>
                      <a:pt x="833" y="492"/>
                    </a:cubicBezTo>
                    <a:lnTo>
                      <a:pt x="772" y="55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73" name="Sudan"/>
              <p:cNvSpPr>
                <a:spLocks/>
              </p:cNvSpPr>
              <p:nvPr/>
            </p:nvSpPr>
            <p:spPr bwMode="auto">
              <a:xfrm>
                <a:off x="4812503" y="3799438"/>
                <a:ext cx="435163" cy="471546"/>
              </a:xfrm>
              <a:custGeom>
                <a:avLst/>
                <a:gdLst>
                  <a:gd name="T0" fmla="*/ 1080 w 1200"/>
                  <a:gd name="T1" fmla="*/ 117 h 1036"/>
                  <a:gd name="T2" fmla="*/ 1103 w 1200"/>
                  <a:gd name="T3" fmla="*/ 236 h 1036"/>
                  <a:gd name="T4" fmla="*/ 1136 w 1200"/>
                  <a:gd name="T5" fmla="*/ 265 h 1036"/>
                  <a:gd name="T6" fmla="*/ 1164 w 1200"/>
                  <a:gd name="T7" fmla="*/ 286 h 1036"/>
                  <a:gd name="T8" fmla="*/ 1185 w 1200"/>
                  <a:gd name="T9" fmla="*/ 293 h 1036"/>
                  <a:gd name="T10" fmla="*/ 1200 w 1200"/>
                  <a:gd name="T11" fmla="*/ 311 h 1036"/>
                  <a:gd name="T12" fmla="*/ 1182 w 1200"/>
                  <a:gd name="T13" fmla="*/ 341 h 1036"/>
                  <a:gd name="T14" fmla="*/ 1147 w 1200"/>
                  <a:gd name="T15" fmla="*/ 353 h 1036"/>
                  <a:gd name="T16" fmla="*/ 1103 w 1200"/>
                  <a:gd name="T17" fmla="*/ 388 h 1036"/>
                  <a:gd name="T18" fmla="*/ 1092 w 1200"/>
                  <a:gd name="T19" fmla="*/ 453 h 1036"/>
                  <a:gd name="T20" fmla="*/ 1064 w 1200"/>
                  <a:gd name="T21" fmla="*/ 533 h 1036"/>
                  <a:gd name="T22" fmla="*/ 1076 w 1200"/>
                  <a:gd name="T23" fmla="*/ 600 h 1036"/>
                  <a:gd name="T24" fmla="*/ 1060 w 1200"/>
                  <a:gd name="T25" fmla="*/ 668 h 1036"/>
                  <a:gd name="T26" fmla="*/ 1021 w 1200"/>
                  <a:gd name="T27" fmla="*/ 729 h 1036"/>
                  <a:gd name="T28" fmla="*/ 980 w 1200"/>
                  <a:gd name="T29" fmla="*/ 796 h 1036"/>
                  <a:gd name="T30" fmla="*/ 972 w 1200"/>
                  <a:gd name="T31" fmla="*/ 868 h 1036"/>
                  <a:gd name="T32" fmla="*/ 928 w 1200"/>
                  <a:gd name="T33" fmla="*/ 888 h 1036"/>
                  <a:gd name="T34" fmla="*/ 917 w 1200"/>
                  <a:gd name="T35" fmla="*/ 961 h 1036"/>
                  <a:gd name="T36" fmla="*/ 918 w 1200"/>
                  <a:gd name="T37" fmla="*/ 982 h 1036"/>
                  <a:gd name="T38" fmla="*/ 904 w 1200"/>
                  <a:gd name="T39" fmla="*/ 970 h 1036"/>
                  <a:gd name="T40" fmla="*/ 906 w 1200"/>
                  <a:gd name="T41" fmla="*/ 934 h 1036"/>
                  <a:gd name="T42" fmla="*/ 882 w 1200"/>
                  <a:gd name="T43" fmla="*/ 902 h 1036"/>
                  <a:gd name="T44" fmla="*/ 852 w 1200"/>
                  <a:gd name="T45" fmla="*/ 830 h 1036"/>
                  <a:gd name="T46" fmla="*/ 818 w 1200"/>
                  <a:gd name="T47" fmla="*/ 780 h 1036"/>
                  <a:gd name="T48" fmla="*/ 776 w 1200"/>
                  <a:gd name="T49" fmla="*/ 802 h 1036"/>
                  <a:gd name="T50" fmla="*/ 796 w 1200"/>
                  <a:gd name="T51" fmla="*/ 850 h 1036"/>
                  <a:gd name="T52" fmla="*/ 762 w 1200"/>
                  <a:gd name="T53" fmla="*/ 898 h 1036"/>
                  <a:gd name="T54" fmla="*/ 708 w 1200"/>
                  <a:gd name="T55" fmla="*/ 964 h 1036"/>
                  <a:gd name="T56" fmla="*/ 612 w 1200"/>
                  <a:gd name="T57" fmla="*/ 922 h 1036"/>
                  <a:gd name="T58" fmla="*/ 584 w 1200"/>
                  <a:gd name="T59" fmla="*/ 964 h 1036"/>
                  <a:gd name="T60" fmla="*/ 538 w 1200"/>
                  <a:gd name="T61" fmla="*/ 958 h 1036"/>
                  <a:gd name="T62" fmla="*/ 458 w 1200"/>
                  <a:gd name="T63" fmla="*/ 938 h 1036"/>
                  <a:gd name="T64" fmla="*/ 392 w 1200"/>
                  <a:gd name="T65" fmla="*/ 972 h 1036"/>
                  <a:gd name="T66" fmla="*/ 348 w 1200"/>
                  <a:gd name="T67" fmla="*/ 978 h 1036"/>
                  <a:gd name="T68" fmla="*/ 318 w 1200"/>
                  <a:gd name="T69" fmla="*/ 932 h 1036"/>
                  <a:gd name="T70" fmla="*/ 250 w 1200"/>
                  <a:gd name="T71" fmla="*/ 926 h 1036"/>
                  <a:gd name="T72" fmla="*/ 228 w 1200"/>
                  <a:gd name="T73" fmla="*/ 958 h 1036"/>
                  <a:gd name="T74" fmla="*/ 216 w 1200"/>
                  <a:gd name="T75" fmla="*/ 988 h 1036"/>
                  <a:gd name="T76" fmla="*/ 216 w 1200"/>
                  <a:gd name="T77" fmla="*/ 1022 h 1036"/>
                  <a:gd name="T78" fmla="*/ 185 w 1200"/>
                  <a:gd name="T79" fmla="*/ 1036 h 1036"/>
                  <a:gd name="T80" fmla="*/ 133 w 1200"/>
                  <a:gd name="T81" fmla="*/ 1032 h 1036"/>
                  <a:gd name="T82" fmla="*/ 143 w 1200"/>
                  <a:gd name="T83" fmla="*/ 982 h 1036"/>
                  <a:gd name="T84" fmla="*/ 116 w 1200"/>
                  <a:gd name="T85" fmla="*/ 904 h 1036"/>
                  <a:gd name="T86" fmla="*/ 78 w 1200"/>
                  <a:gd name="T87" fmla="*/ 867 h 1036"/>
                  <a:gd name="T88" fmla="*/ 76 w 1200"/>
                  <a:gd name="T89" fmla="*/ 830 h 1036"/>
                  <a:gd name="T90" fmla="*/ 53 w 1200"/>
                  <a:gd name="T91" fmla="*/ 783 h 1036"/>
                  <a:gd name="T92" fmla="*/ 22 w 1200"/>
                  <a:gd name="T93" fmla="*/ 739 h 1036"/>
                  <a:gd name="T94" fmla="*/ 31 w 1200"/>
                  <a:gd name="T95" fmla="*/ 675 h 1036"/>
                  <a:gd name="T96" fmla="*/ 54 w 1200"/>
                  <a:gd name="T97" fmla="*/ 621 h 1036"/>
                  <a:gd name="T98" fmla="*/ 50 w 1200"/>
                  <a:gd name="T99" fmla="*/ 588 h 1036"/>
                  <a:gd name="T100" fmla="*/ 84 w 1200"/>
                  <a:gd name="T101" fmla="*/ 537 h 1036"/>
                  <a:gd name="T102" fmla="*/ 124 w 1200"/>
                  <a:gd name="T103" fmla="*/ 505 h 1036"/>
                  <a:gd name="T104" fmla="*/ 146 w 1200"/>
                  <a:gd name="T105" fmla="*/ 223 h 1036"/>
                  <a:gd name="T106" fmla="*/ 145 w 1200"/>
                  <a:gd name="T107" fmla="*/ 186 h 1036"/>
                  <a:gd name="T108" fmla="*/ 209 w 1200"/>
                  <a:gd name="T109" fmla="*/ 36 h 1036"/>
                  <a:gd name="T110" fmla="*/ 669 w 1200"/>
                  <a:gd name="T111" fmla="*/ 12 h 1036"/>
                  <a:gd name="T112" fmla="*/ 788 w 1200"/>
                  <a:gd name="T113" fmla="*/ 21 h 1036"/>
                  <a:gd name="T114" fmla="*/ 815 w 1200"/>
                  <a:gd name="T115" fmla="*/ 40 h 1036"/>
                  <a:gd name="T116" fmla="*/ 851 w 1200"/>
                  <a:gd name="T117" fmla="*/ 19 h 1036"/>
                  <a:gd name="T118" fmla="*/ 1044 w 1200"/>
                  <a:gd name="T119" fmla="*/ 12 h 1036"/>
                  <a:gd name="T120" fmla="*/ 1053 w 1200"/>
                  <a:gd name="T121" fmla="*/ 48 h 1036"/>
                  <a:gd name="T122" fmla="*/ 1075 w 1200"/>
                  <a:gd name="T123" fmla="*/ 79 h 1036"/>
                  <a:gd name="connsiteX0" fmla="*/ 8922 w 9964"/>
                  <a:gd name="connsiteY0" fmla="*/ 685 h 9922"/>
                  <a:gd name="connsiteX1" fmla="*/ 8964 w 9964"/>
                  <a:gd name="connsiteY1" fmla="*/ 1051 h 9922"/>
                  <a:gd name="connsiteX2" fmla="*/ 9039 w 9964"/>
                  <a:gd name="connsiteY2" fmla="*/ 1698 h 9922"/>
                  <a:gd name="connsiteX3" fmla="*/ 9156 w 9964"/>
                  <a:gd name="connsiteY3" fmla="*/ 2200 h 9922"/>
                  <a:gd name="connsiteX4" fmla="*/ 9239 w 9964"/>
                  <a:gd name="connsiteY4" fmla="*/ 2374 h 9922"/>
                  <a:gd name="connsiteX5" fmla="*/ 9431 w 9964"/>
                  <a:gd name="connsiteY5" fmla="*/ 2480 h 9922"/>
                  <a:gd name="connsiteX6" fmla="*/ 9589 w 9964"/>
                  <a:gd name="connsiteY6" fmla="*/ 2557 h 9922"/>
                  <a:gd name="connsiteX7" fmla="*/ 9664 w 9964"/>
                  <a:gd name="connsiteY7" fmla="*/ 2683 h 9922"/>
                  <a:gd name="connsiteX8" fmla="*/ 9739 w 9964"/>
                  <a:gd name="connsiteY8" fmla="*/ 2721 h 9922"/>
                  <a:gd name="connsiteX9" fmla="*/ 9839 w 9964"/>
                  <a:gd name="connsiteY9" fmla="*/ 2750 h 9922"/>
                  <a:gd name="connsiteX10" fmla="*/ 9881 w 9964"/>
                  <a:gd name="connsiteY10" fmla="*/ 2856 h 9922"/>
                  <a:gd name="connsiteX11" fmla="*/ 9964 w 9964"/>
                  <a:gd name="connsiteY11" fmla="*/ 2924 h 9922"/>
                  <a:gd name="connsiteX12" fmla="*/ 9964 w 9964"/>
                  <a:gd name="connsiteY12" fmla="*/ 2924 h 9922"/>
                  <a:gd name="connsiteX13" fmla="*/ 9814 w 9964"/>
                  <a:gd name="connsiteY13" fmla="*/ 3214 h 9922"/>
                  <a:gd name="connsiteX14" fmla="*/ 9714 w 9964"/>
                  <a:gd name="connsiteY14" fmla="*/ 3310 h 9922"/>
                  <a:gd name="connsiteX15" fmla="*/ 9522 w 9964"/>
                  <a:gd name="connsiteY15" fmla="*/ 3329 h 9922"/>
                  <a:gd name="connsiteX16" fmla="*/ 9372 w 9964"/>
                  <a:gd name="connsiteY16" fmla="*/ 3474 h 9922"/>
                  <a:gd name="connsiteX17" fmla="*/ 9156 w 9964"/>
                  <a:gd name="connsiteY17" fmla="*/ 3667 h 9922"/>
                  <a:gd name="connsiteX18" fmla="*/ 9089 w 9964"/>
                  <a:gd name="connsiteY18" fmla="*/ 3870 h 9922"/>
                  <a:gd name="connsiteX19" fmla="*/ 9064 w 9964"/>
                  <a:gd name="connsiteY19" fmla="*/ 4295 h 9922"/>
                  <a:gd name="connsiteX20" fmla="*/ 8939 w 9964"/>
                  <a:gd name="connsiteY20" fmla="*/ 4710 h 9922"/>
                  <a:gd name="connsiteX21" fmla="*/ 8831 w 9964"/>
                  <a:gd name="connsiteY21" fmla="*/ 5067 h 9922"/>
                  <a:gd name="connsiteX22" fmla="*/ 8914 w 9964"/>
                  <a:gd name="connsiteY22" fmla="*/ 5617 h 9922"/>
                  <a:gd name="connsiteX23" fmla="*/ 8931 w 9964"/>
                  <a:gd name="connsiteY23" fmla="*/ 5714 h 9922"/>
                  <a:gd name="connsiteX24" fmla="*/ 8914 w 9964"/>
                  <a:gd name="connsiteY24" fmla="*/ 6032 h 9922"/>
                  <a:gd name="connsiteX25" fmla="*/ 8797 w 9964"/>
                  <a:gd name="connsiteY25" fmla="*/ 6370 h 9922"/>
                  <a:gd name="connsiteX26" fmla="*/ 8764 w 9964"/>
                  <a:gd name="connsiteY26" fmla="*/ 6843 h 9922"/>
                  <a:gd name="connsiteX27" fmla="*/ 8472 w 9964"/>
                  <a:gd name="connsiteY27" fmla="*/ 6959 h 9922"/>
                  <a:gd name="connsiteX28" fmla="*/ 8314 w 9964"/>
                  <a:gd name="connsiteY28" fmla="*/ 7297 h 9922"/>
                  <a:gd name="connsiteX29" fmla="*/ 8131 w 9964"/>
                  <a:gd name="connsiteY29" fmla="*/ 7605 h 9922"/>
                  <a:gd name="connsiteX30" fmla="*/ 8114 w 9964"/>
                  <a:gd name="connsiteY30" fmla="*/ 8059 h 9922"/>
                  <a:gd name="connsiteX31" fmla="*/ 8064 w 9964"/>
                  <a:gd name="connsiteY31" fmla="*/ 8300 h 9922"/>
                  <a:gd name="connsiteX32" fmla="*/ 7914 w 9964"/>
                  <a:gd name="connsiteY32" fmla="*/ 8252 h 9922"/>
                  <a:gd name="connsiteX33" fmla="*/ 7697 w 9964"/>
                  <a:gd name="connsiteY33" fmla="*/ 8493 h 9922"/>
                  <a:gd name="connsiteX34" fmla="*/ 7697 w 9964"/>
                  <a:gd name="connsiteY34" fmla="*/ 8851 h 9922"/>
                  <a:gd name="connsiteX35" fmla="*/ 7606 w 9964"/>
                  <a:gd name="connsiteY35" fmla="*/ 9198 h 9922"/>
                  <a:gd name="connsiteX36" fmla="*/ 7622 w 9964"/>
                  <a:gd name="connsiteY36" fmla="*/ 9401 h 9922"/>
                  <a:gd name="connsiteX37" fmla="*/ 7614 w 9964"/>
                  <a:gd name="connsiteY37" fmla="*/ 9401 h 9922"/>
                  <a:gd name="connsiteX38" fmla="*/ 7514 w 9964"/>
                  <a:gd name="connsiteY38" fmla="*/ 9381 h 9922"/>
                  <a:gd name="connsiteX39" fmla="*/ 7497 w 9964"/>
                  <a:gd name="connsiteY39" fmla="*/ 9285 h 9922"/>
                  <a:gd name="connsiteX40" fmla="*/ 7481 w 9964"/>
                  <a:gd name="connsiteY40" fmla="*/ 9169 h 9922"/>
                  <a:gd name="connsiteX41" fmla="*/ 7514 w 9964"/>
                  <a:gd name="connsiteY41" fmla="*/ 8937 h 9922"/>
                  <a:gd name="connsiteX42" fmla="*/ 7447 w 9964"/>
                  <a:gd name="connsiteY42" fmla="*/ 8937 h 9922"/>
                  <a:gd name="connsiteX43" fmla="*/ 7314 w 9964"/>
                  <a:gd name="connsiteY43" fmla="*/ 8629 h 9922"/>
                  <a:gd name="connsiteX44" fmla="*/ 7131 w 9964"/>
                  <a:gd name="connsiteY44" fmla="*/ 8532 h 9922"/>
                  <a:gd name="connsiteX45" fmla="*/ 7064 w 9964"/>
                  <a:gd name="connsiteY45" fmla="*/ 7934 h 9922"/>
                  <a:gd name="connsiteX46" fmla="*/ 7114 w 9964"/>
                  <a:gd name="connsiteY46" fmla="*/ 7451 h 9922"/>
                  <a:gd name="connsiteX47" fmla="*/ 6781 w 9964"/>
                  <a:gd name="connsiteY47" fmla="*/ 7451 h 9922"/>
                  <a:gd name="connsiteX48" fmla="*/ 6781 w 9964"/>
                  <a:gd name="connsiteY48" fmla="*/ 7625 h 9922"/>
                  <a:gd name="connsiteX49" fmla="*/ 6431 w 9964"/>
                  <a:gd name="connsiteY49" fmla="*/ 7663 h 9922"/>
                  <a:gd name="connsiteX50" fmla="*/ 6597 w 9964"/>
                  <a:gd name="connsiteY50" fmla="*/ 7856 h 9922"/>
                  <a:gd name="connsiteX51" fmla="*/ 6597 w 9964"/>
                  <a:gd name="connsiteY51" fmla="*/ 8127 h 9922"/>
                  <a:gd name="connsiteX52" fmla="*/ 6664 w 9964"/>
                  <a:gd name="connsiteY52" fmla="*/ 8262 h 9922"/>
                  <a:gd name="connsiteX53" fmla="*/ 6314 w 9964"/>
                  <a:gd name="connsiteY53" fmla="*/ 8590 h 9922"/>
                  <a:gd name="connsiteX54" fmla="*/ 6214 w 9964"/>
                  <a:gd name="connsiteY54" fmla="*/ 8822 h 9922"/>
                  <a:gd name="connsiteX55" fmla="*/ 5864 w 9964"/>
                  <a:gd name="connsiteY55" fmla="*/ 9227 h 9922"/>
                  <a:gd name="connsiteX56" fmla="*/ 5597 w 9964"/>
                  <a:gd name="connsiteY56" fmla="*/ 9208 h 9922"/>
                  <a:gd name="connsiteX57" fmla="*/ 5064 w 9964"/>
                  <a:gd name="connsiteY57" fmla="*/ 8822 h 9922"/>
                  <a:gd name="connsiteX58" fmla="*/ 4847 w 9964"/>
                  <a:gd name="connsiteY58" fmla="*/ 9053 h 9922"/>
                  <a:gd name="connsiteX59" fmla="*/ 4831 w 9964"/>
                  <a:gd name="connsiteY59" fmla="*/ 9227 h 9922"/>
                  <a:gd name="connsiteX60" fmla="*/ 4531 w 9964"/>
                  <a:gd name="connsiteY60" fmla="*/ 9266 h 9922"/>
                  <a:gd name="connsiteX61" fmla="*/ 4447 w 9964"/>
                  <a:gd name="connsiteY61" fmla="*/ 9169 h 9922"/>
                  <a:gd name="connsiteX62" fmla="*/ 4431 w 9964"/>
                  <a:gd name="connsiteY62" fmla="*/ 8957 h 9922"/>
                  <a:gd name="connsiteX63" fmla="*/ 3814 w 9964"/>
                  <a:gd name="connsiteY63" fmla="*/ 9362 h 9922"/>
                  <a:gd name="connsiteX64" fmla="*/ 3231 w 9964"/>
                  <a:gd name="connsiteY64" fmla="*/ 9304 h 9922"/>
                  <a:gd name="connsiteX65" fmla="*/ 3114 w 9964"/>
                  <a:gd name="connsiteY65" fmla="*/ 9420 h 9922"/>
                  <a:gd name="connsiteX66" fmla="*/ 2864 w 9964"/>
                  <a:gd name="connsiteY66" fmla="*/ 9362 h 9922"/>
                  <a:gd name="connsiteX67" fmla="*/ 2764 w 9964"/>
                  <a:gd name="connsiteY67" fmla="*/ 9073 h 9922"/>
                  <a:gd name="connsiteX68" fmla="*/ 2614 w 9964"/>
                  <a:gd name="connsiteY68" fmla="*/ 8918 h 9922"/>
                  <a:gd name="connsiteX69" fmla="*/ 2531 w 9964"/>
                  <a:gd name="connsiteY69" fmla="*/ 8744 h 9922"/>
                  <a:gd name="connsiteX70" fmla="*/ 2047 w 9964"/>
                  <a:gd name="connsiteY70" fmla="*/ 8860 h 9922"/>
                  <a:gd name="connsiteX71" fmla="*/ 1964 w 9964"/>
                  <a:gd name="connsiteY71" fmla="*/ 9130 h 9922"/>
                  <a:gd name="connsiteX72" fmla="*/ 1864 w 9964"/>
                  <a:gd name="connsiteY72" fmla="*/ 9169 h 9922"/>
                  <a:gd name="connsiteX73" fmla="*/ 1864 w 9964"/>
                  <a:gd name="connsiteY73" fmla="*/ 9420 h 9922"/>
                  <a:gd name="connsiteX74" fmla="*/ 1764 w 9964"/>
                  <a:gd name="connsiteY74" fmla="*/ 9459 h 9922"/>
                  <a:gd name="connsiteX75" fmla="*/ 1764 w 9964"/>
                  <a:gd name="connsiteY75" fmla="*/ 9613 h 9922"/>
                  <a:gd name="connsiteX76" fmla="*/ 1764 w 9964"/>
                  <a:gd name="connsiteY76" fmla="*/ 9787 h 9922"/>
                  <a:gd name="connsiteX77" fmla="*/ 1531 w 9964"/>
                  <a:gd name="connsiteY77" fmla="*/ 9922 h 9922"/>
                  <a:gd name="connsiteX78" fmla="*/ 1506 w 9964"/>
                  <a:gd name="connsiteY78" fmla="*/ 9922 h 9922"/>
                  <a:gd name="connsiteX79" fmla="*/ 1456 w 9964"/>
                  <a:gd name="connsiteY79" fmla="*/ 9922 h 9922"/>
                  <a:gd name="connsiteX80" fmla="*/ 1072 w 9964"/>
                  <a:gd name="connsiteY80" fmla="*/ 9883 h 9922"/>
                  <a:gd name="connsiteX81" fmla="*/ 1056 w 9964"/>
                  <a:gd name="connsiteY81" fmla="*/ 9729 h 9922"/>
                  <a:gd name="connsiteX82" fmla="*/ 1156 w 9964"/>
                  <a:gd name="connsiteY82" fmla="*/ 9401 h 9922"/>
                  <a:gd name="connsiteX83" fmla="*/ 1156 w 9964"/>
                  <a:gd name="connsiteY83" fmla="*/ 9073 h 9922"/>
                  <a:gd name="connsiteX84" fmla="*/ 931 w 9964"/>
                  <a:gd name="connsiteY84" fmla="*/ 8648 h 9922"/>
                  <a:gd name="connsiteX85" fmla="*/ 656 w 9964"/>
                  <a:gd name="connsiteY85" fmla="*/ 8300 h 9922"/>
                  <a:gd name="connsiteX86" fmla="*/ 614 w 9964"/>
                  <a:gd name="connsiteY86" fmla="*/ 8291 h 9922"/>
                  <a:gd name="connsiteX87" fmla="*/ 689 w 9964"/>
                  <a:gd name="connsiteY87" fmla="*/ 8185 h 9922"/>
                  <a:gd name="connsiteX88" fmla="*/ 597 w 9964"/>
                  <a:gd name="connsiteY88" fmla="*/ 7934 h 9922"/>
                  <a:gd name="connsiteX89" fmla="*/ 464 w 9964"/>
                  <a:gd name="connsiteY89" fmla="*/ 7634 h 9922"/>
                  <a:gd name="connsiteX90" fmla="*/ 406 w 9964"/>
                  <a:gd name="connsiteY90" fmla="*/ 7480 h 9922"/>
                  <a:gd name="connsiteX91" fmla="*/ 372 w 9964"/>
                  <a:gd name="connsiteY91" fmla="*/ 7094 h 9922"/>
                  <a:gd name="connsiteX92" fmla="*/ 147 w 9964"/>
                  <a:gd name="connsiteY92" fmla="*/ 7055 h 9922"/>
                  <a:gd name="connsiteX93" fmla="*/ 64 w 9964"/>
                  <a:gd name="connsiteY93" fmla="*/ 6737 h 9922"/>
                  <a:gd name="connsiteX94" fmla="*/ 222 w 9964"/>
                  <a:gd name="connsiteY94" fmla="*/ 6437 h 9922"/>
                  <a:gd name="connsiteX95" fmla="*/ 197 w 9964"/>
                  <a:gd name="connsiteY95" fmla="*/ 6129 h 9922"/>
                  <a:gd name="connsiteX96" fmla="*/ 414 w 9964"/>
                  <a:gd name="connsiteY96" fmla="*/ 5916 h 9922"/>
                  <a:gd name="connsiteX97" fmla="*/ 347 w 9964"/>
                  <a:gd name="connsiteY97" fmla="*/ 5771 h 9922"/>
                  <a:gd name="connsiteX98" fmla="*/ 381 w 9964"/>
                  <a:gd name="connsiteY98" fmla="*/ 5598 h 9922"/>
                  <a:gd name="connsiteX99" fmla="*/ 472 w 9964"/>
                  <a:gd name="connsiteY99" fmla="*/ 5463 h 9922"/>
                  <a:gd name="connsiteX100" fmla="*/ 664 w 9964"/>
                  <a:gd name="connsiteY100" fmla="*/ 5105 h 9922"/>
                  <a:gd name="connsiteX101" fmla="*/ 672 w 9964"/>
                  <a:gd name="connsiteY101" fmla="*/ 4893 h 9922"/>
                  <a:gd name="connsiteX102" fmla="*/ 997 w 9964"/>
                  <a:gd name="connsiteY102" fmla="*/ 4797 h 9922"/>
                  <a:gd name="connsiteX103" fmla="*/ 1264 w 9964"/>
                  <a:gd name="connsiteY103" fmla="*/ 4787 h 9922"/>
                  <a:gd name="connsiteX104" fmla="*/ 1181 w 9964"/>
                  <a:gd name="connsiteY104" fmla="*/ 2075 h 9922"/>
                  <a:gd name="connsiteX105" fmla="*/ 1181 w 9964"/>
                  <a:gd name="connsiteY105" fmla="*/ 2075 h 9922"/>
                  <a:gd name="connsiteX106" fmla="*/ 1172 w 9964"/>
                  <a:gd name="connsiteY106" fmla="*/ 1717 h 9922"/>
                  <a:gd name="connsiteX107" fmla="*/ 1764 w 9964"/>
                  <a:gd name="connsiteY107" fmla="*/ 1708 h 9922"/>
                  <a:gd name="connsiteX108" fmla="*/ 1706 w 9964"/>
                  <a:gd name="connsiteY108" fmla="*/ 269 h 9922"/>
                  <a:gd name="connsiteX109" fmla="*/ 5414 w 9964"/>
                  <a:gd name="connsiteY109" fmla="*/ 163 h 9922"/>
                  <a:gd name="connsiteX110" fmla="*/ 5539 w 9964"/>
                  <a:gd name="connsiteY110" fmla="*/ 38 h 9922"/>
                  <a:gd name="connsiteX111" fmla="*/ 5606 w 9964"/>
                  <a:gd name="connsiteY111" fmla="*/ 163 h 9922"/>
                  <a:gd name="connsiteX112" fmla="*/ 6531 w 9964"/>
                  <a:gd name="connsiteY112" fmla="*/ 125 h 9922"/>
                  <a:gd name="connsiteX113" fmla="*/ 6531 w 9964"/>
                  <a:gd name="connsiteY113" fmla="*/ 125 h 9922"/>
                  <a:gd name="connsiteX114" fmla="*/ 6756 w 9964"/>
                  <a:gd name="connsiteY114" fmla="*/ 308 h 9922"/>
                  <a:gd name="connsiteX115" fmla="*/ 6997 w 9964"/>
                  <a:gd name="connsiteY115" fmla="*/ 289 h 9922"/>
                  <a:gd name="connsiteX116" fmla="*/ 7056 w 9964"/>
                  <a:gd name="connsiteY116" fmla="*/ 105 h 9922"/>
                  <a:gd name="connsiteX117" fmla="*/ 8664 w 9964"/>
                  <a:gd name="connsiteY117" fmla="*/ 38 h 9922"/>
                  <a:gd name="connsiteX118" fmla="*/ 8664 w 9964"/>
                  <a:gd name="connsiteY118" fmla="*/ 38 h 9922"/>
                  <a:gd name="connsiteX119" fmla="*/ 8697 w 9964"/>
                  <a:gd name="connsiteY119" fmla="*/ 144 h 9922"/>
                  <a:gd name="connsiteX120" fmla="*/ 8739 w 9964"/>
                  <a:gd name="connsiteY120" fmla="*/ 385 h 9922"/>
                  <a:gd name="connsiteX121" fmla="*/ 8922 w 9964"/>
                  <a:gd name="connsiteY121" fmla="*/ 607 h 9922"/>
                  <a:gd name="connsiteX122" fmla="*/ 8922 w 9964"/>
                  <a:gd name="connsiteY122" fmla="*/ 685 h 9922"/>
                  <a:gd name="connsiteX0" fmla="*/ 8954 w 10000"/>
                  <a:gd name="connsiteY0" fmla="*/ 690 h 10000"/>
                  <a:gd name="connsiteX1" fmla="*/ 8996 w 10000"/>
                  <a:gd name="connsiteY1" fmla="*/ 1059 h 10000"/>
                  <a:gd name="connsiteX2" fmla="*/ 9072 w 10000"/>
                  <a:gd name="connsiteY2" fmla="*/ 1711 h 10000"/>
                  <a:gd name="connsiteX3" fmla="*/ 9189 w 10000"/>
                  <a:gd name="connsiteY3" fmla="*/ 2217 h 10000"/>
                  <a:gd name="connsiteX4" fmla="*/ 9272 w 10000"/>
                  <a:gd name="connsiteY4" fmla="*/ 2393 h 10000"/>
                  <a:gd name="connsiteX5" fmla="*/ 9465 w 10000"/>
                  <a:gd name="connsiteY5" fmla="*/ 2499 h 10000"/>
                  <a:gd name="connsiteX6" fmla="*/ 9624 w 10000"/>
                  <a:gd name="connsiteY6" fmla="*/ 2577 h 10000"/>
                  <a:gd name="connsiteX7" fmla="*/ 9699 w 10000"/>
                  <a:gd name="connsiteY7" fmla="*/ 2704 h 10000"/>
                  <a:gd name="connsiteX8" fmla="*/ 9774 w 10000"/>
                  <a:gd name="connsiteY8" fmla="*/ 2742 h 10000"/>
                  <a:gd name="connsiteX9" fmla="*/ 9875 w 10000"/>
                  <a:gd name="connsiteY9" fmla="*/ 2772 h 10000"/>
                  <a:gd name="connsiteX10" fmla="*/ 9917 w 10000"/>
                  <a:gd name="connsiteY10" fmla="*/ 2878 h 10000"/>
                  <a:gd name="connsiteX11" fmla="*/ 10000 w 10000"/>
                  <a:gd name="connsiteY11" fmla="*/ 2947 h 10000"/>
                  <a:gd name="connsiteX12" fmla="*/ 10000 w 10000"/>
                  <a:gd name="connsiteY12" fmla="*/ 2947 h 10000"/>
                  <a:gd name="connsiteX13" fmla="*/ 9849 w 10000"/>
                  <a:gd name="connsiteY13" fmla="*/ 3239 h 10000"/>
                  <a:gd name="connsiteX14" fmla="*/ 9749 w 10000"/>
                  <a:gd name="connsiteY14" fmla="*/ 3336 h 10000"/>
                  <a:gd name="connsiteX15" fmla="*/ 9556 w 10000"/>
                  <a:gd name="connsiteY15" fmla="*/ 3355 h 10000"/>
                  <a:gd name="connsiteX16" fmla="*/ 9406 w 10000"/>
                  <a:gd name="connsiteY16" fmla="*/ 3501 h 10000"/>
                  <a:gd name="connsiteX17" fmla="*/ 9189 w 10000"/>
                  <a:gd name="connsiteY17" fmla="*/ 3696 h 10000"/>
                  <a:gd name="connsiteX18" fmla="*/ 9122 w 10000"/>
                  <a:gd name="connsiteY18" fmla="*/ 3900 h 10000"/>
                  <a:gd name="connsiteX19" fmla="*/ 9097 w 10000"/>
                  <a:gd name="connsiteY19" fmla="*/ 4329 h 10000"/>
                  <a:gd name="connsiteX20" fmla="*/ 8971 w 10000"/>
                  <a:gd name="connsiteY20" fmla="*/ 4747 h 10000"/>
                  <a:gd name="connsiteX21" fmla="*/ 8863 w 10000"/>
                  <a:gd name="connsiteY21" fmla="*/ 5107 h 10000"/>
                  <a:gd name="connsiteX22" fmla="*/ 8946 w 10000"/>
                  <a:gd name="connsiteY22" fmla="*/ 5661 h 10000"/>
                  <a:gd name="connsiteX23" fmla="*/ 8963 w 10000"/>
                  <a:gd name="connsiteY23" fmla="*/ 5759 h 10000"/>
                  <a:gd name="connsiteX24" fmla="*/ 8946 w 10000"/>
                  <a:gd name="connsiteY24" fmla="*/ 6079 h 10000"/>
                  <a:gd name="connsiteX25" fmla="*/ 8829 w 10000"/>
                  <a:gd name="connsiteY25" fmla="*/ 6420 h 10000"/>
                  <a:gd name="connsiteX26" fmla="*/ 8796 w 10000"/>
                  <a:gd name="connsiteY26" fmla="*/ 6897 h 10000"/>
                  <a:gd name="connsiteX27" fmla="*/ 8503 w 10000"/>
                  <a:gd name="connsiteY27" fmla="*/ 7014 h 10000"/>
                  <a:gd name="connsiteX28" fmla="*/ 8344 w 10000"/>
                  <a:gd name="connsiteY28" fmla="*/ 7354 h 10000"/>
                  <a:gd name="connsiteX29" fmla="*/ 8160 w 10000"/>
                  <a:gd name="connsiteY29" fmla="*/ 7665 h 10000"/>
                  <a:gd name="connsiteX30" fmla="*/ 8143 w 10000"/>
                  <a:gd name="connsiteY30" fmla="*/ 8122 h 10000"/>
                  <a:gd name="connsiteX31" fmla="*/ 8093 w 10000"/>
                  <a:gd name="connsiteY31" fmla="*/ 8365 h 10000"/>
                  <a:gd name="connsiteX32" fmla="*/ 7943 w 10000"/>
                  <a:gd name="connsiteY32" fmla="*/ 8317 h 10000"/>
                  <a:gd name="connsiteX33" fmla="*/ 7725 w 10000"/>
                  <a:gd name="connsiteY33" fmla="*/ 8560 h 10000"/>
                  <a:gd name="connsiteX34" fmla="*/ 7725 w 10000"/>
                  <a:gd name="connsiteY34" fmla="*/ 8921 h 10000"/>
                  <a:gd name="connsiteX35" fmla="*/ 7633 w 10000"/>
                  <a:gd name="connsiteY35" fmla="*/ 9270 h 10000"/>
                  <a:gd name="connsiteX36" fmla="*/ 7650 w 10000"/>
                  <a:gd name="connsiteY36" fmla="*/ 9475 h 10000"/>
                  <a:gd name="connsiteX37" fmla="*/ 7642 w 10000"/>
                  <a:gd name="connsiteY37" fmla="*/ 9475 h 10000"/>
                  <a:gd name="connsiteX38" fmla="*/ 7541 w 10000"/>
                  <a:gd name="connsiteY38" fmla="*/ 9455 h 10000"/>
                  <a:gd name="connsiteX39" fmla="*/ 7524 w 10000"/>
                  <a:gd name="connsiteY39" fmla="*/ 9358 h 10000"/>
                  <a:gd name="connsiteX40" fmla="*/ 7508 w 10000"/>
                  <a:gd name="connsiteY40" fmla="*/ 9241 h 10000"/>
                  <a:gd name="connsiteX41" fmla="*/ 7541 w 10000"/>
                  <a:gd name="connsiteY41" fmla="*/ 9007 h 10000"/>
                  <a:gd name="connsiteX42" fmla="*/ 7474 w 10000"/>
                  <a:gd name="connsiteY42" fmla="*/ 9007 h 10000"/>
                  <a:gd name="connsiteX43" fmla="*/ 7340 w 10000"/>
                  <a:gd name="connsiteY43" fmla="*/ 8697 h 10000"/>
                  <a:gd name="connsiteX44" fmla="*/ 7157 w 10000"/>
                  <a:gd name="connsiteY44" fmla="*/ 8599 h 10000"/>
                  <a:gd name="connsiteX45" fmla="*/ 7090 w 10000"/>
                  <a:gd name="connsiteY45" fmla="*/ 7996 h 10000"/>
                  <a:gd name="connsiteX46" fmla="*/ 7140 w 10000"/>
                  <a:gd name="connsiteY46" fmla="*/ 7510 h 10000"/>
                  <a:gd name="connsiteX47" fmla="*/ 6805 w 10000"/>
                  <a:gd name="connsiteY47" fmla="*/ 7510 h 10000"/>
                  <a:gd name="connsiteX48" fmla="*/ 6805 w 10000"/>
                  <a:gd name="connsiteY48" fmla="*/ 7685 h 10000"/>
                  <a:gd name="connsiteX49" fmla="*/ 6454 w 10000"/>
                  <a:gd name="connsiteY49" fmla="*/ 7723 h 10000"/>
                  <a:gd name="connsiteX50" fmla="*/ 6621 w 10000"/>
                  <a:gd name="connsiteY50" fmla="*/ 7918 h 10000"/>
                  <a:gd name="connsiteX51" fmla="*/ 6621 w 10000"/>
                  <a:gd name="connsiteY51" fmla="*/ 8191 h 10000"/>
                  <a:gd name="connsiteX52" fmla="*/ 6688 w 10000"/>
                  <a:gd name="connsiteY52" fmla="*/ 8327 h 10000"/>
                  <a:gd name="connsiteX53" fmla="*/ 6337 w 10000"/>
                  <a:gd name="connsiteY53" fmla="*/ 8658 h 10000"/>
                  <a:gd name="connsiteX54" fmla="*/ 6236 w 10000"/>
                  <a:gd name="connsiteY54" fmla="*/ 8891 h 10000"/>
                  <a:gd name="connsiteX55" fmla="*/ 5885 w 10000"/>
                  <a:gd name="connsiteY55" fmla="*/ 9300 h 10000"/>
                  <a:gd name="connsiteX56" fmla="*/ 5617 w 10000"/>
                  <a:gd name="connsiteY56" fmla="*/ 9280 h 10000"/>
                  <a:gd name="connsiteX57" fmla="*/ 5082 w 10000"/>
                  <a:gd name="connsiteY57" fmla="*/ 8891 h 10000"/>
                  <a:gd name="connsiteX58" fmla="*/ 4865 w 10000"/>
                  <a:gd name="connsiteY58" fmla="*/ 9124 h 10000"/>
                  <a:gd name="connsiteX59" fmla="*/ 4848 w 10000"/>
                  <a:gd name="connsiteY59" fmla="*/ 9300 h 10000"/>
                  <a:gd name="connsiteX60" fmla="*/ 4547 w 10000"/>
                  <a:gd name="connsiteY60" fmla="*/ 9339 h 10000"/>
                  <a:gd name="connsiteX61" fmla="*/ 4463 w 10000"/>
                  <a:gd name="connsiteY61" fmla="*/ 9241 h 10000"/>
                  <a:gd name="connsiteX62" fmla="*/ 3828 w 10000"/>
                  <a:gd name="connsiteY62" fmla="*/ 9436 h 10000"/>
                  <a:gd name="connsiteX63" fmla="*/ 3243 w 10000"/>
                  <a:gd name="connsiteY63" fmla="*/ 9377 h 10000"/>
                  <a:gd name="connsiteX64" fmla="*/ 3125 w 10000"/>
                  <a:gd name="connsiteY64" fmla="*/ 9494 h 10000"/>
                  <a:gd name="connsiteX65" fmla="*/ 2874 w 10000"/>
                  <a:gd name="connsiteY65" fmla="*/ 9436 h 10000"/>
                  <a:gd name="connsiteX66" fmla="*/ 2774 w 10000"/>
                  <a:gd name="connsiteY66" fmla="*/ 9144 h 10000"/>
                  <a:gd name="connsiteX67" fmla="*/ 2623 w 10000"/>
                  <a:gd name="connsiteY67" fmla="*/ 8988 h 10000"/>
                  <a:gd name="connsiteX68" fmla="*/ 2540 w 10000"/>
                  <a:gd name="connsiteY68" fmla="*/ 8813 h 10000"/>
                  <a:gd name="connsiteX69" fmla="*/ 2054 w 10000"/>
                  <a:gd name="connsiteY69" fmla="*/ 8930 h 10000"/>
                  <a:gd name="connsiteX70" fmla="*/ 1971 w 10000"/>
                  <a:gd name="connsiteY70" fmla="*/ 9202 h 10000"/>
                  <a:gd name="connsiteX71" fmla="*/ 1871 w 10000"/>
                  <a:gd name="connsiteY71" fmla="*/ 9241 h 10000"/>
                  <a:gd name="connsiteX72" fmla="*/ 1871 w 10000"/>
                  <a:gd name="connsiteY72" fmla="*/ 9494 h 10000"/>
                  <a:gd name="connsiteX73" fmla="*/ 1770 w 10000"/>
                  <a:gd name="connsiteY73" fmla="*/ 9533 h 10000"/>
                  <a:gd name="connsiteX74" fmla="*/ 1770 w 10000"/>
                  <a:gd name="connsiteY74" fmla="*/ 9689 h 10000"/>
                  <a:gd name="connsiteX75" fmla="*/ 1770 w 10000"/>
                  <a:gd name="connsiteY75" fmla="*/ 9864 h 10000"/>
                  <a:gd name="connsiteX76" fmla="*/ 1537 w 10000"/>
                  <a:gd name="connsiteY76" fmla="*/ 10000 h 10000"/>
                  <a:gd name="connsiteX77" fmla="*/ 1511 w 10000"/>
                  <a:gd name="connsiteY77" fmla="*/ 10000 h 10000"/>
                  <a:gd name="connsiteX78" fmla="*/ 1461 w 10000"/>
                  <a:gd name="connsiteY78" fmla="*/ 10000 h 10000"/>
                  <a:gd name="connsiteX79" fmla="*/ 1076 w 10000"/>
                  <a:gd name="connsiteY79" fmla="*/ 9961 h 10000"/>
                  <a:gd name="connsiteX80" fmla="*/ 1060 w 10000"/>
                  <a:gd name="connsiteY80" fmla="*/ 9805 h 10000"/>
                  <a:gd name="connsiteX81" fmla="*/ 1160 w 10000"/>
                  <a:gd name="connsiteY81" fmla="*/ 9475 h 10000"/>
                  <a:gd name="connsiteX82" fmla="*/ 1160 w 10000"/>
                  <a:gd name="connsiteY82" fmla="*/ 9144 h 10000"/>
                  <a:gd name="connsiteX83" fmla="*/ 934 w 10000"/>
                  <a:gd name="connsiteY83" fmla="*/ 8716 h 10000"/>
                  <a:gd name="connsiteX84" fmla="*/ 658 w 10000"/>
                  <a:gd name="connsiteY84" fmla="*/ 8365 h 10000"/>
                  <a:gd name="connsiteX85" fmla="*/ 616 w 10000"/>
                  <a:gd name="connsiteY85" fmla="*/ 8356 h 10000"/>
                  <a:gd name="connsiteX86" fmla="*/ 691 w 10000"/>
                  <a:gd name="connsiteY86" fmla="*/ 8249 h 10000"/>
                  <a:gd name="connsiteX87" fmla="*/ 599 w 10000"/>
                  <a:gd name="connsiteY87" fmla="*/ 7996 h 10000"/>
                  <a:gd name="connsiteX88" fmla="*/ 466 w 10000"/>
                  <a:gd name="connsiteY88" fmla="*/ 7694 h 10000"/>
                  <a:gd name="connsiteX89" fmla="*/ 407 w 10000"/>
                  <a:gd name="connsiteY89" fmla="*/ 7539 h 10000"/>
                  <a:gd name="connsiteX90" fmla="*/ 373 w 10000"/>
                  <a:gd name="connsiteY90" fmla="*/ 7150 h 10000"/>
                  <a:gd name="connsiteX91" fmla="*/ 148 w 10000"/>
                  <a:gd name="connsiteY91" fmla="*/ 7110 h 10000"/>
                  <a:gd name="connsiteX92" fmla="*/ 64 w 10000"/>
                  <a:gd name="connsiteY92" fmla="*/ 6790 h 10000"/>
                  <a:gd name="connsiteX93" fmla="*/ 223 w 10000"/>
                  <a:gd name="connsiteY93" fmla="*/ 6488 h 10000"/>
                  <a:gd name="connsiteX94" fmla="*/ 198 w 10000"/>
                  <a:gd name="connsiteY94" fmla="*/ 6177 h 10000"/>
                  <a:gd name="connsiteX95" fmla="*/ 415 w 10000"/>
                  <a:gd name="connsiteY95" fmla="*/ 5963 h 10000"/>
                  <a:gd name="connsiteX96" fmla="*/ 348 w 10000"/>
                  <a:gd name="connsiteY96" fmla="*/ 5816 h 10000"/>
                  <a:gd name="connsiteX97" fmla="*/ 382 w 10000"/>
                  <a:gd name="connsiteY97" fmla="*/ 5642 h 10000"/>
                  <a:gd name="connsiteX98" fmla="*/ 474 w 10000"/>
                  <a:gd name="connsiteY98" fmla="*/ 5506 h 10000"/>
                  <a:gd name="connsiteX99" fmla="*/ 666 w 10000"/>
                  <a:gd name="connsiteY99" fmla="*/ 5145 h 10000"/>
                  <a:gd name="connsiteX100" fmla="*/ 674 w 10000"/>
                  <a:gd name="connsiteY100" fmla="*/ 4931 h 10000"/>
                  <a:gd name="connsiteX101" fmla="*/ 1001 w 10000"/>
                  <a:gd name="connsiteY101" fmla="*/ 4835 h 10000"/>
                  <a:gd name="connsiteX102" fmla="*/ 1269 w 10000"/>
                  <a:gd name="connsiteY102" fmla="*/ 4825 h 10000"/>
                  <a:gd name="connsiteX103" fmla="*/ 1185 w 10000"/>
                  <a:gd name="connsiteY103" fmla="*/ 2091 h 10000"/>
                  <a:gd name="connsiteX104" fmla="*/ 1185 w 10000"/>
                  <a:gd name="connsiteY104" fmla="*/ 2091 h 10000"/>
                  <a:gd name="connsiteX105" fmla="*/ 1176 w 10000"/>
                  <a:gd name="connsiteY105" fmla="*/ 1730 h 10000"/>
                  <a:gd name="connsiteX106" fmla="*/ 1770 w 10000"/>
                  <a:gd name="connsiteY106" fmla="*/ 1721 h 10000"/>
                  <a:gd name="connsiteX107" fmla="*/ 1712 w 10000"/>
                  <a:gd name="connsiteY107" fmla="*/ 271 h 10000"/>
                  <a:gd name="connsiteX108" fmla="*/ 5434 w 10000"/>
                  <a:gd name="connsiteY108" fmla="*/ 164 h 10000"/>
                  <a:gd name="connsiteX109" fmla="*/ 5559 w 10000"/>
                  <a:gd name="connsiteY109" fmla="*/ 38 h 10000"/>
                  <a:gd name="connsiteX110" fmla="*/ 5626 w 10000"/>
                  <a:gd name="connsiteY110" fmla="*/ 164 h 10000"/>
                  <a:gd name="connsiteX111" fmla="*/ 6555 w 10000"/>
                  <a:gd name="connsiteY111" fmla="*/ 126 h 10000"/>
                  <a:gd name="connsiteX112" fmla="*/ 6555 w 10000"/>
                  <a:gd name="connsiteY112" fmla="*/ 126 h 10000"/>
                  <a:gd name="connsiteX113" fmla="*/ 6780 w 10000"/>
                  <a:gd name="connsiteY113" fmla="*/ 310 h 10000"/>
                  <a:gd name="connsiteX114" fmla="*/ 7022 w 10000"/>
                  <a:gd name="connsiteY114" fmla="*/ 291 h 10000"/>
                  <a:gd name="connsiteX115" fmla="*/ 7081 w 10000"/>
                  <a:gd name="connsiteY115" fmla="*/ 106 h 10000"/>
                  <a:gd name="connsiteX116" fmla="*/ 8695 w 10000"/>
                  <a:gd name="connsiteY116" fmla="*/ 38 h 10000"/>
                  <a:gd name="connsiteX117" fmla="*/ 8695 w 10000"/>
                  <a:gd name="connsiteY117" fmla="*/ 38 h 10000"/>
                  <a:gd name="connsiteX118" fmla="*/ 8728 w 10000"/>
                  <a:gd name="connsiteY118" fmla="*/ 145 h 10000"/>
                  <a:gd name="connsiteX119" fmla="*/ 8771 w 10000"/>
                  <a:gd name="connsiteY119" fmla="*/ 388 h 10000"/>
                  <a:gd name="connsiteX120" fmla="*/ 8954 w 10000"/>
                  <a:gd name="connsiteY120" fmla="*/ 612 h 10000"/>
                  <a:gd name="connsiteX121" fmla="*/ 8954 w 10000"/>
                  <a:gd name="connsiteY121" fmla="*/ 690 h 10000"/>
                  <a:gd name="connsiteX0" fmla="*/ 8954 w 10000"/>
                  <a:gd name="connsiteY0" fmla="*/ 690 h 10000"/>
                  <a:gd name="connsiteX1" fmla="*/ 8996 w 10000"/>
                  <a:gd name="connsiteY1" fmla="*/ 1059 h 10000"/>
                  <a:gd name="connsiteX2" fmla="*/ 9072 w 10000"/>
                  <a:gd name="connsiteY2" fmla="*/ 1711 h 10000"/>
                  <a:gd name="connsiteX3" fmla="*/ 9189 w 10000"/>
                  <a:gd name="connsiteY3" fmla="*/ 2217 h 10000"/>
                  <a:gd name="connsiteX4" fmla="*/ 9272 w 10000"/>
                  <a:gd name="connsiteY4" fmla="*/ 2393 h 10000"/>
                  <a:gd name="connsiteX5" fmla="*/ 9465 w 10000"/>
                  <a:gd name="connsiteY5" fmla="*/ 2499 h 10000"/>
                  <a:gd name="connsiteX6" fmla="*/ 9624 w 10000"/>
                  <a:gd name="connsiteY6" fmla="*/ 2577 h 10000"/>
                  <a:gd name="connsiteX7" fmla="*/ 9699 w 10000"/>
                  <a:gd name="connsiteY7" fmla="*/ 2704 h 10000"/>
                  <a:gd name="connsiteX8" fmla="*/ 9774 w 10000"/>
                  <a:gd name="connsiteY8" fmla="*/ 2742 h 10000"/>
                  <a:gd name="connsiteX9" fmla="*/ 9875 w 10000"/>
                  <a:gd name="connsiteY9" fmla="*/ 2772 h 10000"/>
                  <a:gd name="connsiteX10" fmla="*/ 9917 w 10000"/>
                  <a:gd name="connsiteY10" fmla="*/ 2878 h 10000"/>
                  <a:gd name="connsiteX11" fmla="*/ 10000 w 10000"/>
                  <a:gd name="connsiteY11" fmla="*/ 2947 h 10000"/>
                  <a:gd name="connsiteX12" fmla="*/ 10000 w 10000"/>
                  <a:gd name="connsiteY12" fmla="*/ 2947 h 10000"/>
                  <a:gd name="connsiteX13" fmla="*/ 9849 w 10000"/>
                  <a:gd name="connsiteY13" fmla="*/ 3239 h 10000"/>
                  <a:gd name="connsiteX14" fmla="*/ 9749 w 10000"/>
                  <a:gd name="connsiteY14" fmla="*/ 3336 h 10000"/>
                  <a:gd name="connsiteX15" fmla="*/ 9556 w 10000"/>
                  <a:gd name="connsiteY15" fmla="*/ 3355 h 10000"/>
                  <a:gd name="connsiteX16" fmla="*/ 9406 w 10000"/>
                  <a:gd name="connsiteY16" fmla="*/ 3501 h 10000"/>
                  <a:gd name="connsiteX17" fmla="*/ 9189 w 10000"/>
                  <a:gd name="connsiteY17" fmla="*/ 3696 h 10000"/>
                  <a:gd name="connsiteX18" fmla="*/ 9122 w 10000"/>
                  <a:gd name="connsiteY18" fmla="*/ 3900 h 10000"/>
                  <a:gd name="connsiteX19" fmla="*/ 9097 w 10000"/>
                  <a:gd name="connsiteY19" fmla="*/ 4329 h 10000"/>
                  <a:gd name="connsiteX20" fmla="*/ 8971 w 10000"/>
                  <a:gd name="connsiteY20" fmla="*/ 4747 h 10000"/>
                  <a:gd name="connsiteX21" fmla="*/ 8863 w 10000"/>
                  <a:gd name="connsiteY21" fmla="*/ 5107 h 10000"/>
                  <a:gd name="connsiteX22" fmla="*/ 8946 w 10000"/>
                  <a:gd name="connsiteY22" fmla="*/ 5661 h 10000"/>
                  <a:gd name="connsiteX23" fmla="*/ 8963 w 10000"/>
                  <a:gd name="connsiteY23" fmla="*/ 5759 h 10000"/>
                  <a:gd name="connsiteX24" fmla="*/ 8946 w 10000"/>
                  <a:gd name="connsiteY24" fmla="*/ 6079 h 10000"/>
                  <a:gd name="connsiteX25" fmla="*/ 8829 w 10000"/>
                  <a:gd name="connsiteY25" fmla="*/ 6420 h 10000"/>
                  <a:gd name="connsiteX26" fmla="*/ 8796 w 10000"/>
                  <a:gd name="connsiteY26" fmla="*/ 6897 h 10000"/>
                  <a:gd name="connsiteX27" fmla="*/ 8503 w 10000"/>
                  <a:gd name="connsiteY27" fmla="*/ 7014 h 10000"/>
                  <a:gd name="connsiteX28" fmla="*/ 8344 w 10000"/>
                  <a:gd name="connsiteY28" fmla="*/ 7354 h 10000"/>
                  <a:gd name="connsiteX29" fmla="*/ 8160 w 10000"/>
                  <a:gd name="connsiteY29" fmla="*/ 7665 h 10000"/>
                  <a:gd name="connsiteX30" fmla="*/ 8143 w 10000"/>
                  <a:gd name="connsiteY30" fmla="*/ 8122 h 10000"/>
                  <a:gd name="connsiteX31" fmla="*/ 8093 w 10000"/>
                  <a:gd name="connsiteY31" fmla="*/ 8365 h 10000"/>
                  <a:gd name="connsiteX32" fmla="*/ 7943 w 10000"/>
                  <a:gd name="connsiteY32" fmla="*/ 8317 h 10000"/>
                  <a:gd name="connsiteX33" fmla="*/ 7725 w 10000"/>
                  <a:gd name="connsiteY33" fmla="*/ 8560 h 10000"/>
                  <a:gd name="connsiteX34" fmla="*/ 7725 w 10000"/>
                  <a:gd name="connsiteY34" fmla="*/ 8921 h 10000"/>
                  <a:gd name="connsiteX35" fmla="*/ 7633 w 10000"/>
                  <a:gd name="connsiteY35" fmla="*/ 9270 h 10000"/>
                  <a:gd name="connsiteX36" fmla="*/ 7650 w 10000"/>
                  <a:gd name="connsiteY36" fmla="*/ 9475 h 10000"/>
                  <a:gd name="connsiteX37" fmla="*/ 7642 w 10000"/>
                  <a:gd name="connsiteY37" fmla="*/ 9475 h 10000"/>
                  <a:gd name="connsiteX38" fmla="*/ 7541 w 10000"/>
                  <a:gd name="connsiteY38" fmla="*/ 9455 h 10000"/>
                  <a:gd name="connsiteX39" fmla="*/ 7524 w 10000"/>
                  <a:gd name="connsiteY39" fmla="*/ 9358 h 10000"/>
                  <a:gd name="connsiteX40" fmla="*/ 7508 w 10000"/>
                  <a:gd name="connsiteY40" fmla="*/ 9241 h 10000"/>
                  <a:gd name="connsiteX41" fmla="*/ 7541 w 10000"/>
                  <a:gd name="connsiteY41" fmla="*/ 9007 h 10000"/>
                  <a:gd name="connsiteX42" fmla="*/ 7474 w 10000"/>
                  <a:gd name="connsiteY42" fmla="*/ 9007 h 10000"/>
                  <a:gd name="connsiteX43" fmla="*/ 7340 w 10000"/>
                  <a:gd name="connsiteY43" fmla="*/ 8697 h 10000"/>
                  <a:gd name="connsiteX44" fmla="*/ 7157 w 10000"/>
                  <a:gd name="connsiteY44" fmla="*/ 8599 h 10000"/>
                  <a:gd name="connsiteX45" fmla="*/ 7090 w 10000"/>
                  <a:gd name="connsiteY45" fmla="*/ 7996 h 10000"/>
                  <a:gd name="connsiteX46" fmla="*/ 7140 w 10000"/>
                  <a:gd name="connsiteY46" fmla="*/ 7510 h 10000"/>
                  <a:gd name="connsiteX47" fmla="*/ 6805 w 10000"/>
                  <a:gd name="connsiteY47" fmla="*/ 7510 h 10000"/>
                  <a:gd name="connsiteX48" fmla="*/ 6805 w 10000"/>
                  <a:gd name="connsiteY48" fmla="*/ 7685 h 10000"/>
                  <a:gd name="connsiteX49" fmla="*/ 6454 w 10000"/>
                  <a:gd name="connsiteY49" fmla="*/ 7723 h 10000"/>
                  <a:gd name="connsiteX50" fmla="*/ 6621 w 10000"/>
                  <a:gd name="connsiteY50" fmla="*/ 7918 h 10000"/>
                  <a:gd name="connsiteX51" fmla="*/ 6621 w 10000"/>
                  <a:gd name="connsiteY51" fmla="*/ 8191 h 10000"/>
                  <a:gd name="connsiteX52" fmla="*/ 6688 w 10000"/>
                  <a:gd name="connsiteY52" fmla="*/ 8327 h 10000"/>
                  <a:gd name="connsiteX53" fmla="*/ 6337 w 10000"/>
                  <a:gd name="connsiteY53" fmla="*/ 8658 h 10000"/>
                  <a:gd name="connsiteX54" fmla="*/ 6236 w 10000"/>
                  <a:gd name="connsiteY54" fmla="*/ 8891 h 10000"/>
                  <a:gd name="connsiteX55" fmla="*/ 5885 w 10000"/>
                  <a:gd name="connsiteY55" fmla="*/ 9300 h 10000"/>
                  <a:gd name="connsiteX56" fmla="*/ 5617 w 10000"/>
                  <a:gd name="connsiteY56" fmla="*/ 9280 h 10000"/>
                  <a:gd name="connsiteX57" fmla="*/ 5082 w 10000"/>
                  <a:gd name="connsiteY57" fmla="*/ 8891 h 10000"/>
                  <a:gd name="connsiteX58" fmla="*/ 4865 w 10000"/>
                  <a:gd name="connsiteY58" fmla="*/ 9124 h 10000"/>
                  <a:gd name="connsiteX59" fmla="*/ 4848 w 10000"/>
                  <a:gd name="connsiteY59" fmla="*/ 9300 h 10000"/>
                  <a:gd name="connsiteX60" fmla="*/ 4547 w 10000"/>
                  <a:gd name="connsiteY60" fmla="*/ 9339 h 10000"/>
                  <a:gd name="connsiteX61" fmla="*/ 4520 w 10000"/>
                  <a:gd name="connsiteY61" fmla="*/ 9573 h 10000"/>
                  <a:gd name="connsiteX62" fmla="*/ 3828 w 10000"/>
                  <a:gd name="connsiteY62" fmla="*/ 9436 h 10000"/>
                  <a:gd name="connsiteX63" fmla="*/ 3243 w 10000"/>
                  <a:gd name="connsiteY63" fmla="*/ 9377 h 10000"/>
                  <a:gd name="connsiteX64" fmla="*/ 3125 w 10000"/>
                  <a:gd name="connsiteY64" fmla="*/ 9494 h 10000"/>
                  <a:gd name="connsiteX65" fmla="*/ 2874 w 10000"/>
                  <a:gd name="connsiteY65" fmla="*/ 9436 h 10000"/>
                  <a:gd name="connsiteX66" fmla="*/ 2774 w 10000"/>
                  <a:gd name="connsiteY66" fmla="*/ 9144 h 10000"/>
                  <a:gd name="connsiteX67" fmla="*/ 2623 w 10000"/>
                  <a:gd name="connsiteY67" fmla="*/ 8988 h 10000"/>
                  <a:gd name="connsiteX68" fmla="*/ 2540 w 10000"/>
                  <a:gd name="connsiteY68" fmla="*/ 8813 h 10000"/>
                  <a:gd name="connsiteX69" fmla="*/ 2054 w 10000"/>
                  <a:gd name="connsiteY69" fmla="*/ 8930 h 10000"/>
                  <a:gd name="connsiteX70" fmla="*/ 1971 w 10000"/>
                  <a:gd name="connsiteY70" fmla="*/ 9202 h 10000"/>
                  <a:gd name="connsiteX71" fmla="*/ 1871 w 10000"/>
                  <a:gd name="connsiteY71" fmla="*/ 9241 h 10000"/>
                  <a:gd name="connsiteX72" fmla="*/ 1871 w 10000"/>
                  <a:gd name="connsiteY72" fmla="*/ 9494 h 10000"/>
                  <a:gd name="connsiteX73" fmla="*/ 1770 w 10000"/>
                  <a:gd name="connsiteY73" fmla="*/ 9533 h 10000"/>
                  <a:gd name="connsiteX74" fmla="*/ 1770 w 10000"/>
                  <a:gd name="connsiteY74" fmla="*/ 9689 h 10000"/>
                  <a:gd name="connsiteX75" fmla="*/ 1770 w 10000"/>
                  <a:gd name="connsiteY75" fmla="*/ 9864 h 10000"/>
                  <a:gd name="connsiteX76" fmla="*/ 1537 w 10000"/>
                  <a:gd name="connsiteY76" fmla="*/ 10000 h 10000"/>
                  <a:gd name="connsiteX77" fmla="*/ 1511 w 10000"/>
                  <a:gd name="connsiteY77" fmla="*/ 10000 h 10000"/>
                  <a:gd name="connsiteX78" fmla="*/ 1461 w 10000"/>
                  <a:gd name="connsiteY78" fmla="*/ 10000 h 10000"/>
                  <a:gd name="connsiteX79" fmla="*/ 1076 w 10000"/>
                  <a:gd name="connsiteY79" fmla="*/ 9961 h 10000"/>
                  <a:gd name="connsiteX80" fmla="*/ 1060 w 10000"/>
                  <a:gd name="connsiteY80" fmla="*/ 9805 h 10000"/>
                  <a:gd name="connsiteX81" fmla="*/ 1160 w 10000"/>
                  <a:gd name="connsiteY81" fmla="*/ 9475 h 10000"/>
                  <a:gd name="connsiteX82" fmla="*/ 1160 w 10000"/>
                  <a:gd name="connsiteY82" fmla="*/ 9144 h 10000"/>
                  <a:gd name="connsiteX83" fmla="*/ 934 w 10000"/>
                  <a:gd name="connsiteY83" fmla="*/ 8716 h 10000"/>
                  <a:gd name="connsiteX84" fmla="*/ 658 w 10000"/>
                  <a:gd name="connsiteY84" fmla="*/ 8365 h 10000"/>
                  <a:gd name="connsiteX85" fmla="*/ 616 w 10000"/>
                  <a:gd name="connsiteY85" fmla="*/ 8356 h 10000"/>
                  <a:gd name="connsiteX86" fmla="*/ 691 w 10000"/>
                  <a:gd name="connsiteY86" fmla="*/ 8249 h 10000"/>
                  <a:gd name="connsiteX87" fmla="*/ 599 w 10000"/>
                  <a:gd name="connsiteY87" fmla="*/ 7996 h 10000"/>
                  <a:gd name="connsiteX88" fmla="*/ 466 w 10000"/>
                  <a:gd name="connsiteY88" fmla="*/ 7694 h 10000"/>
                  <a:gd name="connsiteX89" fmla="*/ 407 w 10000"/>
                  <a:gd name="connsiteY89" fmla="*/ 7539 h 10000"/>
                  <a:gd name="connsiteX90" fmla="*/ 373 w 10000"/>
                  <a:gd name="connsiteY90" fmla="*/ 7150 h 10000"/>
                  <a:gd name="connsiteX91" fmla="*/ 148 w 10000"/>
                  <a:gd name="connsiteY91" fmla="*/ 7110 h 10000"/>
                  <a:gd name="connsiteX92" fmla="*/ 64 w 10000"/>
                  <a:gd name="connsiteY92" fmla="*/ 6790 h 10000"/>
                  <a:gd name="connsiteX93" fmla="*/ 223 w 10000"/>
                  <a:gd name="connsiteY93" fmla="*/ 6488 h 10000"/>
                  <a:gd name="connsiteX94" fmla="*/ 198 w 10000"/>
                  <a:gd name="connsiteY94" fmla="*/ 6177 h 10000"/>
                  <a:gd name="connsiteX95" fmla="*/ 415 w 10000"/>
                  <a:gd name="connsiteY95" fmla="*/ 5963 h 10000"/>
                  <a:gd name="connsiteX96" fmla="*/ 348 w 10000"/>
                  <a:gd name="connsiteY96" fmla="*/ 5816 h 10000"/>
                  <a:gd name="connsiteX97" fmla="*/ 382 w 10000"/>
                  <a:gd name="connsiteY97" fmla="*/ 5642 h 10000"/>
                  <a:gd name="connsiteX98" fmla="*/ 474 w 10000"/>
                  <a:gd name="connsiteY98" fmla="*/ 5506 h 10000"/>
                  <a:gd name="connsiteX99" fmla="*/ 666 w 10000"/>
                  <a:gd name="connsiteY99" fmla="*/ 5145 h 10000"/>
                  <a:gd name="connsiteX100" fmla="*/ 674 w 10000"/>
                  <a:gd name="connsiteY100" fmla="*/ 4931 h 10000"/>
                  <a:gd name="connsiteX101" fmla="*/ 1001 w 10000"/>
                  <a:gd name="connsiteY101" fmla="*/ 4835 h 10000"/>
                  <a:gd name="connsiteX102" fmla="*/ 1269 w 10000"/>
                  <a:gd name="connsiteY102" fmla="*/ 4825 h 10000"/>
                  <a:gd name="connsiteX103" fmla="*/ 1185 w 10000"/>
                  <a:gd name="connsiteY103" fmla="*/ 2091 h 10000"/>
                  <a:gd name="connsiteX104" fmla="*/ 1185 w 10000"/>
                  <a:gd name="connsiteY104" fmla="*/ 2091 h 10000"/>
                  <a:gd name="connsiteX105" fmla="*/ 1176 w 10000"/>
                  <a:gd name="connsiteY105" fmla="*/ 1730 h 10000"/>
                  <a:gd name="connsiteX106" fmla="*/ 1770 w 10000"/>
                  <a:gd name="connsiteY106" fmla="*/ 1721 h 10000"/>
                  <a:gd name="connsiteX107" fmla="*/ 1712 w 10000"/>
                  <a:gd name="connsiteY107" fmla="*/ 271 h 10000"/>
                  <a:gd name="connsiteX108" fmla="*/ 5434 w 10000"/>
                  <a:gd name="connsiteY108" fmla="*/ 164 h 10000"/>
                  <a:gd name="connsiteX109" fmla="*/ 5559 w 10000"/>
                  <a:gd name="connsiteY109" fmla="*/ 38 h 10000"/>
                  <a:gd name="connsiteX110" fmla="*/ 5626 w 10000"/>
                  <a:gd name="connsiteY110" fmla="*/ 164 h 10000"/>
                  <a:gd name="connsiteX111" fmla="*/ 6555 w 10000"/>
                  <a:gd name="connsiteY111" fmla="*/ 126 h 10000"/>
                  <a:gd name="connsiteX112" fmla="*/ 6555 w 10000"/>
                  <a:gd name="connsiteY112" fmla="*/ 126 h 10000"/>
                  <a:gd name="connsiteX113" fmla="*/ 6780 w 10000"/>
                  <a:gd name="connsiteY113" fmla="*/ 310 h 10000"/>
                  <a:gd name="connsiteX114" fmla="*/ 7022 w 10000"/>
                  <a:gd name="connsiteY114" fmla="*/ 291 h 10000"/>
                  <a:gd name="connsiteX115" fmla="*/ 7081 w 10000"/>
                  <a:gd name="connsiteY115" fmla="*/ 106 h 10000"/>
                  <a:gd name="connsiteX116" fmla="*/ 8695 w 10000"/>
                  <a:gd name="connsiteY116" fmla="*/ 38 h 10000"/>
                  <a:gd name="connsiteX117" fmla="*/ 8695 w 10000"/>
                  <a:gd name="connsiteY117" fmla="*/ 38 h 10000"/>
                  <a:gd name="connsiteX118" fmla="*/ 8728 w 10000"/>
                  <a:gd name="connsiteY118" fmla="*/ 145 h 10000"/>
                  <a:gd name="connsiteX119" fmla="*/ 8771 w 10000"/>
                  <a:gd name="connsiteY119" fmla="*/ 388 h 10000"/>
                  <a:gd name="connsiteX120" fmla="*/ 8954 w 10000"/>
                  <a:gd name="connsiteY120" fmla="*/ 612 h 10000"/>
                  <a:gd name="connsiteX121" fmla="*/ 8954 w 10000"/>
                  <a:gd name="connsiteY121" fmla="*/ 690 h 10000"/>
                  <a:gd name="connsiteX0" fmla="*/ 8954 w 10000"/>
                  <a:gd name="connsiteY0" fmla="*/ 690 h 10000"/>
                  <a:gd name="connsiteX1" fmla="*/ 8996 w 10000"/>
                  <a:gd name="connsiteY1" fmla="*/ 1059 h 10000"/>
                  <a:gd name="connsiteX2" fmla="*/ 9072 w 10000"/>
                  <a:gd name="connsiteY2" fmla="*/ 1711 h 10000"/>
                  <a:gd name="connsiteX3" fmla="*/ 9189 w 10000"/>
                  <a:gd name="connsiteY3" fmla="*/ 2217 h 10000"/>
                  <a:gd name="connsiteX4" fmla="*/ 9272 w 10000"/>
                  <a:gd name="connsiteY4" fmla="*/ 2393 h 10000"/>
                  <a:gd name="connsiteX5" fmla="*/ 9465 w 10000"/>
                  <a:gd name="connsiteY5" fmla="*/ 2499 h 10000"/>
                  <a:gd name="connsiteX6" fmla="*/ 9624 w 10000"/>
                  <a:gd name="connsiteY6" fmla="*/ 2577 h 10000"/>
                  <a:gd name="connsiteX7" fmla="*/ 9699 w 10000"/>
                  <a:gd name="connsiteY7" fmla="*/ 2704 h 10000"/>
                  <a:gd name="connsiteX8" fmla="*/ 9774 w 10000"/>
                  <a:gd name="connsiteY8" fmla="*/ 2742 h 10000"/>
                  <a:gd name="connsiteX9" fmla="*/ 9875 w 10000"/>
                  <a:gd name="connsiteY9" fmla="*/ 2772 h 10000"/>
                  <a:gd name="connsiteX10" fmla="*/ 9917 w 10000"/>
                  <a:gd name="connsiteY10" fmla="*/ 2878 h 10000"/>
                  <a:gd name="connsiteX11" fmla="*/ 10000 w 10000"/>
                  <a:gd name="connsiteY11" fmla="*/ 2947 h 10000"/>
                  <a:gd name="connsiteX12" fmla="*/ 10000 w 10000"/>
                  <a:gd name="connsiteY12" fmla="*/ 2947 h 10000"/>
                  <a:gd name="connsiteX13" fmla="*/ 9849 w 10000"/>
                  <a:gd name="connsiteY13" fmla="*/ 3239 h 10000"/>
                  <a:gd name="connsiteX14" fmla="*/ 9749 w 10000"/>
                  <a:gd name="connsiteY14" fmla="*/ 3336 h 10000"/>
                  <a:gd name="connsiteX15" fmla="*/ 9556 w 10000"/>
                  <a:gd name="connsiteY15" fmla="*/ 3355 h 10000"/>
                  <a:gd name="connsiteX16" fmla="*/ 9406 w 10000"/>
                  <a:gd name="connsiteY16" fmla="*/ 3501 h 10000"/>
                  <a:gd name="connsiteX17" fmla="*/ 9189 w 10000"/>
                  <a:gd name="connsiteY17" fmla="*/ 3696 h 10000"/>
                  <a:gd name="connsiteX18" fmla="*/ 9122 w 10000"/>
                  <a:gd name="connsiteY18" fmla="*/ 3900 h 10000"/>
                  <a:gd name="connsiteX19" fmla="*/ 9097 w 10000"/>
                  <a:gd name="connsiteY19" fmla="*/ 4329 h 10000"/>
                  <a:gd name="connsiteX20" fmla="*/ 8971 w 10000"/>
                  <a:gd name="connsiteY20" fmla="*/ 4747 h 10000"/>
                  <a:gd name="connsiteX21" fmla="*/ 8863 w 10000"/>
                  <a:gd name="connsiteY21" fmla="*/ 5107 h 10000"/>
                  <a:gd name="connsiteX22" fmla="*/ 8946 w 10000"/>
                  <a:gd name="connsiteY22" fmla="*/ 5661 h 10000"/>
                  <a:gd name="connsiteX23" fmla="*/ 8963 w 10000"/>
                  <a:gd name="connsiteY23" fmla="*/ 5759 h 10000"/>
                  <a:gd name="connsiteX24" fmla="*/ 8946 w 10000"/>
                  <a:gd name="connsiteY24" fmla="*/ 6079 h 10000"/>
                  <a:gd name="connsiteX25" fmla="*/ 8829 w 10000"/>
                  <a:gd name="connsiteY25" fmla="*/ 6420 h 10000"/>
                  <a:gd name="connsiteX26" fmla="*/ 8796 w 10000"/>
                  <a:gd name="connsiteY26" fmla="*/ 6897 h 10000"/>
                  <a:gd name="connsiteX27" fmla="*/ 8503 w 10000"/>
                  <a:gd name="connsiteY27" fmla="*/ 7014 h 10000"/>
                  <a:gd name="connsiteX28" fmla="*/ 8344 w 10000"/>
                  <a:gd name="connsiteY28" fmla="*/ 7354 h 10000"/>
                  <a:gd name="connsiteX29" fmla="*/ 8160 w 10000"/>
                  <a:gd name="connsiteY29" fmla="*/ 7665 h 10000"/>
                  <a:gd name="connsiteX30" fmla="*/ 8143 w 10000"/>
                  <a:gd name="connsiteY30" fmla="*/ 8122 h 10000"/>
                  <a:gd name="connsiteX31" fmla="*/ 8093 w 10000"/>
                  <a:gd name="connsiteY31" fmla="*/ 8365 h 10000"/>
                  <a:gd name="connsiteX32" fmla="*/ 7943 w 10000"/>
                  <a:gd name="connsiteY32" fmla="*/ 8317 h 10000"/>
                  <a:gd name="connsiteX33" fmla="*/ 7725 w 10000"/>
                  <a:gd name="connsiteY33" fmla="*/ 8560 h 10000"/>
                  <a:gd name="connsiteX34" fmla="*/ 7725 w 10000"/>
                  <a:gd name="connsiteY34" fmla="*/ 8921 h 10000"/>
                  <a:gd name="connsiteX35" fmla="*/ 7633 w 10000"/>
                  <a:gd name="connsiteY35" fmla="*/ 9270 h 10000"/>
                  <a:gd name="connsiteX36" fmla="*/ 7650 w 10000"/>
                  <a:gd name="connsiteY36" fmla="*/ 9475 h 10000"/>
                  <a:gd name="connsiteX37" fmla="*/ 7642 w 10000"/>
                  <a:gd name="connsiteY37" fmla="*/ 9475 h 10000"/>
                  <a:gd name="connsiteX38" fmla="*/ 7541 w 10000"/>
                  <a:gd name="connsiteY38" fmla="*/ 9455 h 10000"/>
                  <a:gd name="connsiteX39" fmla="*/ 7524 w 10000"/>
                  <a:gd name="connsiteY39" fmla="*/ 9358 h 10000"/>
                  <a:gd name="connsiteX40" fmla="*/ 7508 w 10000"/>
                  <a:gd name="connsiteY40" fmla="*/ 9241 h 10000"/>
                  <a:gd name="connsiteX41" fmla="*/ 7541 w 10000"/>
                  <a:gd name="connsiteY41" fmla="*/ 9007 h 10000"/>
                  <a:gd name="connsiteX42" fmla="*/ 7474 w 10000"/>
                  <a:gd name="connsiteY42" fmla="*/ 9007 h 10000"/>
                  <a:gd name="connsiteX43" fmla="*/ 7340 w 10000"/>
                  <a:gd name="connsiteY43" fmla="*/ 8697 h 10000"/>
                  <a:gd name="connsiteX44" fmla="*/ 7157 w 10000"/>
                  <a:gd name="connsiteY44" fmla="*/ 8599 h 10000"/>
                  <a:gd name="connsiteX45" fmla="*/ 7090 w 10000"/>
                  <a:gd name="connsiteY45" fmla="*/ 7996 h 10000"/>
                  <a:gd name="connsiteX46" fmla="*/ 7140 w 10000"/>
                  <a:gd name="connsiteY46" fmla="*/ 7510 h 10000"/>
                  <a:gd name="connsiteX47" fmla="*/ 6805 w 10000"/>
                  <a:gd name="connsiteY47" fmla="*/ 7510 h 10000"/>
                  <a:gd name="connsiteX48" fmla="*/ 6805 w 10000"/>
                  <a:gd name="connsiteY48" fmla="*/ 7685 h 10000"/>
                  <a:gd name="connsiteX49" fmla="*/ 6454 w 10000"/>
                  <a:gd name="connsiteY49" fmla="*/ 7723 h 10000"/>
                  <a:gd name="connsiteX50" fmla="*/ 6621 w 10000"/>
                  <a:gd name="connsiteY50" fmla="*/ 7918 h 10000"/>
                  <a:gd name="connsiteX51" fmla="*/ 6621 w 10000"/>
                  <a:gd name="connsiteY51" fmla="*/ 8191 h 10000"/>
                  <a:gd name="connsiteX52" fmla="*/ 6688 w 10000"/>
                  <a:gd name="connsiteY52" fmla="*/ 8327 h 10000"/>
                  <a:gd name="connsiteX53" fmla="*/ 6337 w 10000"/>
                  <a:gd name="connsiteY53" fmla="*/ 8658 h 10000"/>
                  <a:gd name="connsiteX54" fmla="*/ 6236 w 10000"/>
                  <a:gd name="connsiteY54" fmla="*/ 8891 h 10000"/>
                  <a:gd name="connsiteX55" fmla="*/ 5885 w 10000"/>
                  <a:gd name="connsiteY55" fmla="*/ 9300 h 10000"/>
                  <a:gd name="connsiteX56" fmla="*/ 5617 w 10000"/>
                  <a:gd name="connsiteY56" fmla="*/ 9280 h 10000"/>
                  <a:gd name="connsiteX57" fmla="*/ 5082 w 10000"/>
                  <a:gd name="connsiteY57" fmla="*/ 8891 h 10000"/>
                  <a:gd name="connsiteX58" fmla="*/ 4865 w 10000"/>
                  <a:gd name="connsiteY58" fmla="*/ 9124 h 10000"/>
                  <a:gd name="connsiteX59" fmla="*/ 4848 w 10000"/>
                  <a:gd name="connsiteY59" fmla="*/ 9300 h 10000"/>
                  <a:gd name="connsiteX60" fmla="*/ 4547 w 10000"/>
                  <a:gd name="connsiteY60" fmla="*/ 9339 h 10000"/>
                  <a:gd name="connsiteX61" fmla="*/ 4520 w 10000"/>
                  <a:gd name="connsiteY61" fmla="*/ 9573 h 10000"/>
                  <a:gd name="connsiteX62" fmla="*/ 3931 w 10000"/>
                  <a:gd name="connsiteY62" fmla="*/ 9576 h 10000"/>
                  <a:gd name="connsiteX63" fmla="*/ 3828 w 10000"/>
                  <a:gd name="connsiteY63" fmla="*/ 9436 h 10000"/>
                  <a:gd name="connsiteX64" fmla="*/ 3243 w 10000"/>
                  <a:gd name="connsiteY64" fmla="*/ 9377 h 10000"/>
                  <a:gd name="connsiteX65" fmla="*/ 3125 w 10000"/>
                  <a:gd name="connsiteY65" fmla="*/ 9494 h 10000"/>
                  <a:gd name="connsiteX66" fmla="*/ 2874 w 10000"/>
                  <a:gd name="connsiteY66" fmla="*/ 9436 h 10000"/>
                  <a:gd name="connsiteX67" fmla="*/ 2774 w 10000"/>
                  <a:gd name="connsiteY67" fmla="*/ 9144 h 10000"/>
                  <a:gd name="connsiteX68" fmla="*/ 2623 w 10000"/>
                  <a:gd name="connsiteY68" fmla="*/ 8988 h 10000"/>
                  <a:gd name="connsiteX69" fmla="*/ 2540 w 10000"/>
                  <a:gd name="connsiteY69" fmla="*/ 8813 h 10000"/>
                  <a:gd name="connsiteX70" fmla="*/ 2054 w 10000"/>
                  <a:gd name="connsiteY70" fmla="*/ 8930 h 10000"/>
                  <a:gd name="connsiteX71" fmla="*/ 1971 w 10000"/>
                  <a:gd name="connsiteY71" fmla="*/ 9202 h 10000"/>
                  <a:gd name="connsiteX72" fmla="*/ 1871 w 10000"/>
                  <a:gd name="connsiteY72" fmla="*/ 9241 h 10000"/>
                  <a:gd name="connsiteX73" fmla="*/ 1871 w 10000"/>
                  <a:gd name="connsiteY73" fmla="*/ 9494 h 10000"/>
                  <a:gd name="connsiteX74" fmla="*/ 1770 w 10000"/>
                  <a:gd name="connsiteY74" fmla="*/ 9533 h 10000"/>
                  <a:gd name="connsiteX75" fmla="*/ 1770 w 10000"/>
                  <a:gd name="connsiteY75" fmla="*/ 9689 h 10000"/>
                  <a:gd name="connsiteX76" fmla="*/ 1770 w 10000"/>
                  <a:gd name="connsiteY76" fmla="*/ 9864 h 10000"/>
                  <a:gd name="connsiteX77" fmla="*/ 1537 w 10000"/>
                  <a:gd name="connsiteY77" fmla="*/ 10000 h 10000"/>
                  <a:gd name="connsiteX78" fmla="*/ 1511 w 10000"/>
                  <a:gd name="connsiteY78" fmla="*/ 10000 h 10000"/>
                  <a:gd name="connsiteX79" fmla="*/ 1461 w 10000"/>
                  <a:gd name="connsiteY79" fmla="*/ 10000 h 10000"/>
                  <a:gd name="connsiteX80" fmla="*/ 1076 w 10000"/>
                  <a:gd name="connsiteY80" fmla="*/ 9961 h 10000"/>
                  <a:gd name="connsiteX81" fmla="*/ 1060 w 10000"/>
                  <a:gd name="connsiteY81" fmla="*/ 9805 h 10000"/>
                  <a:gd name="connsiteX82" fmla="*/ 1160 w 10000"/>
                  <a:gd name="connsiteY82" fmla="*/ 9475 h 10000"/>
                  <a:gd name="connsiteX83" fmla="*/ 1160 w 10000"/>
                  <a:gd name="connsiteY83" fmla="*/ 9144 h 10000"/>
                  <a:gd name="connsiteX84" fmla="*/ 934 w 10000"/>
                  <a:gd name="connsiteY84" fmla="*/ 8716 h 10000"/>
                  <a:gd name="connsiteX85" fmla="*/ 658 w 10000"/>
                  <a:gd name="connsiteY85" fmla="*/ 8365 h 10000"/>
                  <a:gd name="connsiteX86" fmla="*/ 616 w 10000"/>
                  <a:gd name="connsiteY86" fmla="*/ 8356 h 10000"/>
                  <a:gd name="connsiteX87" fmla="*/ 691 w 10000"/>
                  <a:gd name="connsiteY87" fmla="*/ 8249 h 10000"/>
                  <a:gd name="connsiteX88" fmla="*/ 599 w 10000"/>
                  <a:gd name="connsiteY88" fmla="*/ 7996 h 10000"/>
                  <a:gd name="connsiteX89" fmla="*/ 466 w 10000"/>
                  <a:gd name="connsiteY89" fmla="*/ 7694 h 10000"/>
                  <a:gd name="connsiteX90" fmla="*/ 407 w 10000"/>
                  <a:gd name="connsiteY90" fmla="*/ 7539 h 10000"/>
                  <a:gd name="connsiteX91" fmla="*/ 373 w 10000"/>
                  <a:gd name="connsiteY91" fmla="*/ 7150 h 10000"/>
                  <a:gd name="connsiteX92" fmla="*/ 148 w 10000"/>
                  <a:gd name="connsiteY92" fmla="*/ 7110 h 10000"/>
                  <a:gd name="connsiteX93" fmla="*/ 64 w 10000"/>
                  <a:gd name="connsiteY93" fmla="*/ 6790 h 10000"/>
                  <a:gd name="connsiteX94" fmla="*/ 223 w 10000"/>
                  <a:gd name="connsiteY94" fmla="*/ 6488 h 10000"/>
                  <a:gd name="connsiteX95" fmla="*/ 198 w 10000"/>
                  <a:gd name="connsiteY95" fmla="*/ 6177 h 10000"/>
                  <a:gd name="connsiteX96" fmla="*/ 415 w 10000"/>
                  <a:gd name="connsiteY96" fmla="*/ 5963 h 10000"/>
                  <a:gd name="connsiteX97" fmla="*/ 348 w 10000"/>
                  <a:gd name="connsiteY97" fmla="*/ 5816 h 10000"/>
                  <a:gd name="connsiteX98" fmla="*/ 382 w 10000"/>
                  <a:gd name="connsiteY98" fmla="*/ 5642 h 10000"/>
                  <a:gd name="connsiteX99" fmla="*/ 474 w 10000"/>
                  <a:gd name="connsiteY99" fmla="*/ 5506 h 10000"/>
                  <a:gd name="connsiteX100" fmla="*/ 666 w 10000"/>
                  <a:gd name="connsiteY100" fmla="*/ 5145 h 10000"/>
                  <a:gd name="connsiteX101" fmla="*/ 674 w 10000"/>
                  <a:gd name="connsiteY101" fmla="*/ 4931 h 10000"/>
                  <a:gd name="connsiteX102" fmla="*/ 1001 w 10000"/>
                  <a:gd name="connsiteY102" fmla="*/ 4835 h 10000"/>
                  <a:gd name="connsiteX103" fmla="*/ 1269 w 10000"/>
                  <a:gd name="connsiteY103" fmla="*/ 4825 h 10000"/>
                  <a:gd name="connsiteX104" fmla="*/ 1185 w 10000"/>
                  <a:gd name="connsiteY104" fmla="*/ 2091 h 10000"/>
                  <a:gd name="connsiteX105" fmla="*/ 1185 w 10000"/>
                  <a:gd name="connsiteY105" fmla="*/ 2091 h 10000"/>
                  <a:gd name="connsiteX106" fmla="*/ 1176 w 10000"/>
                  <a:gd name="connsiteY106" fmla="*/ 1730 h 10000"/>
                  <a:gd name="connsiteX107" fmla="*/ 1770 w 10000"/>
                  <a:gd name="connsiteY107" fmla="*/ 1721 h 10000"/>
                  <a:gd name="connsiteX108" fmla="*/ 1712 w 10000"/>
                  <a:gd name="connsiteY108" fmla="*/ 271 h 10000"/>
                  <a:gd name="connsiteX109" fmla="*/ 5434 w 10000"/>
                  <a:gd name="connsiteY109" fmla="*/ 164 h 10000"/>
                  <a:gd name="connsiteX110" fmla="*/ 5559 w 10000"/>
                  <a:gd name="connsiteY110" fmla="*/ 38 h 10000"/>
                  <a:gd name="connsiteX111" fmla="*/ 5626 w 10000"/>
                  <a:gd name="connsiteY111" fmla="*/ 164 h 10000"/>
                  <a:gd name="connsiteX112" fmla="*/ 6555 w 10000"/>
                  <a:gd name="connsiteY112" fmla="*/ 126 h 10000"/>
                  <a:gd name="connsiteX113" fmla="*/ 6555 w 10000"/>
                  <a:gd name="connsiteY113" fmla="*/ 126 h 10000"/>
                  <a:gd name="connsiteX114" fmla="*/ 6780 w 10000"/>
                  <a:gd name="connsiteY114" fmla="*/ 310 h 10000"/>
                  <a:gd name="connsiteX115" fmla="*/ 7022 w 10000"/>
                  <a:gd name="connsiteY115" fmla="*/ 291 h 10000"/>
                  <a:gd name="connsiteX116" fmla="*/ 7081 w 10000"/>
                  <a:gd name="connsiteY116" fmla="*/ 106 h 10000"/>
                  <a:gd name="connsiteX117" fmla="*/ 8695 w 10000"/>
                  <a:gd name="connsiteY117" fmla="*/ 38 h 10000"/>
                  <a:gd name="connsiteX118" fmla="*/ 8695 w 10000"/>
                  <a:gd name="connsiteY118" fmla="*/ 38 h 10000"/>
                  <a:gd name="connsiteX119" fmla="*/ 8728 w 10000"/>
                  <a:gd name="connsiteY119" fmla="*/ 145 h 10000"/>
                  <a:gd name="connsiteX120" fmla="*/ 8771 w 10000"/>
                  <a:gd name="connsiteY120" fmla="*/ 388 h 10000"/>
                  <a:gd name="connsiteX121" fmla="*/ 8954 w 10000"/>
                  <a:gd name="connsiteY121" fmla="*/ 612 h 10000"/>
                  <a:gd name="connsiteX122" fmla="*/ 8954 w 10000"/>
                  <a:gd name="connsiteY122" fmla="*/ 690 h 10000"/>
                  <a:gd name="connsiteX0" fmla="*/ 8954 w 10000"/>
                  <a:gd name="connsiteY0" fmla="*/ 690 h 10000"/>
                  <a:gd name="connsiteX1" fmla="*/ 8996 w 10000"/>
                  <a:gd name="connsiteY1" fmla="*/ 1059 h 10000"/>
                  <a:gd name="connsiteX2" fmla="*/ 9072 w 10000"/>
                  <a:gd name="connsiteY2" fmla="*/ 1711 h 10000"/>
                  <a:gd name="connsiteX3" fmla="*/ 9189 w 10000"/>
                  <a:gd name="connsiteY3" fmla="*/ 2217 h 10000"/>
                  <a:gd name="connsiteX4" fmla="*/ 9272 w 10000"/>
                  <a:gd name="connsiteY4" fmla="*/ 2393 h 10000"/>
                  <a:gd name="connsiteX5" fmla="*/ 9465 w 10000"/>
                  <a:gd name="connsiteY5" fmla="*/ 2499 h 10000"/>
                  <a:gd name="connsiteX6" fmla="*/ 9624 w 10000"/>
                  <a:gd name="connsiteY6" fmla="*/ 2577 h 10000"/>
                  <a:gd name="connsiteX7" fmla="*/ 9699 w 10000"/>
                  <a:gd name="connsiteY7" fmla="*/ 2704 h 10000"/>
                  <a:gd name="connsiteX8" fmla="*/ 9774 w 10000"/>
                  <a:gd name="connsiteY8" fmla="*/ 2742 h 10000"/>
                  <a:gd name="connsiteX9" fmla="*/ 9875 w 10000"/>
                  <a:gd name="connsiteY9" fmla="*/ 2772 h 10000"/>
                  <a:gd name="connsiteX10" fmla="*/ 9917 w 10000"/>
                  <a:gd name="connsiteY10" fmla="*/ 2878 h 10000"/>
                  <a:gd name="connsiteX11" fmla="*/ 10000 w 10000"/>
                  <a:gd name="connsiteY11" fmla="*/ 2947 h 10000"/>
                  <a:gd name="connsiteX12" fmla="*/ 10000 w 10000"/>
                  <a:gd name="connsiteY12" fmla="*/ 2947 h 10000"/>
                  <a:gd name="connsiteX13" fmla="*/ 9849 w 10000"/>
                  <a:gd name="connsiteY13" fmla="*/ 3239 h 10000"/>
                  <a:gd name="connsiteX14" fmla="*/ 9749 w 10000"/>
                  <a:gd name="connsiteY14" fmla="*/ 3336 h 10000"/>
                  <a:gd name="connsiteX15" fmla="*/ 9556 w 10000"/>
                  <a:gd name="connsiteY15" fmla="*/ 3355 h 10000"/>
                  <a:gd name="connsiteX16" fmla="*/ 9406 w 10000"/>
                  <a:gd name="connsiteY16" fmla="*/ 3501 h 10000"/>
                  <a:gd name="connsiteX17" fmla="*/ 9189 w 10000"/>
                  <a:gd name="connsiteY17" fmla="*/ 3696 h 10000"/>
                  <a:gd name="connsiteX18" fmla="*/ 9122 w 10000"/>
                  <a:gd name="connsiteY18" fmla="*/ 3900 h 10000"/>
                  <a:gd name="connsiteX19" fmla="*/ 9097 w 10000"/>
                  <a:gd name="connsiteY19" fmla="*/ 4329 h 10000"/>
                  <a:gd name="connsiteX20" fmla="*/ 8971 w 10000"/>
                  <a:gd name="connsiteY20" fmla="*/ 4747 h 10000"/>
                  <a:gd name="connsiteX21" fmla="*/ 8863 w 10000"/>
                  <a:gd name="connsiteY21" fmla="*/ 5107 h 10000"/>
                  <a:gd name="connsiteX22" fmla="*/ 8946 w 10000"/>
                  <a:gd name="connsiteY22" fmla="*/ 5661 h 10000"/>
                  <a:gd name="connsiteX23" fmla="*/ 8963 w 10000"/>
                  <a:gd name="connsiteY23" fmla="*/ 5759 h 10000"/>
                  <a:gd name="connsiteX24" fmla="*/ 8946 w 10000"/>
                  <a:gd name="connsiteY24" fmla="*/ 6079 h 10000"/>
                  <a:gd name="connsiteX25" fmla="*/ 8829 w 10000"/>
                  <a:gd name="connsiteY25" fmla="*/ 6420 h 10000"/>
                  <a:gd name="connsiteX26" fmla="*/ 8796 w 10000"/>
                  <a:gd name="connsiteY26" fmla="*/ 6897 h 10000"/>
                  <a:gd name="connsiteX27" fmla="*/ 8503 w 10000"/>
                  <a:gd name="connsiteY27" fmla="*/ 7014 h 10000"/>
                  <a:gd name="connsiteX28" fmla="*/ 8344 w 10000"/>
                  <a:gd name="connsiteY28" fmla="*/ 7354 h 10000"/>
                  <a:gd name="connsiteX29" fmla="*/ 8160 w 10000"/>
                  <a:gd name="connsiteY29" fmla="*/ 7665 h 10000"/>
                  <a:gd name="connsiteX30" fmla="*/ 8143 w 10000"/>
                  <a:gd name="connsiteY30" fmla="*/ 8122 h 10000"/>
                  <a:gd name="connsiteX31" fmla="*/ 8093 w 10000"/>
                  <a:gd name="connsiteY31" fmla="*/ 8365 h 10000"/>
                  <a:gd name="connsiteX32" fmla="*/ 7943 w 10000"/>
                  <a:gd name="connsiteY32" fmla="*/ 8317 h 10000"/>
                  <a:gd name="connsiteX33" fmla="*/ 7725 w 10000"/>
                  <a:gd name="connsiteY33" fmla="*/ 8560 h 10000"/>
                  <a:gd name="connsiteX34" fmla="*/ 7725 w 10000"/>
                  <a:gd name="connsiteY34" fmla="*/ 8921 h 10000"/>
                  <a:gd name="connsiteX35" fmla="*/ 7633 w 10000"/>
                  <a:gd name="connsiteY35" fmla="*/ 9270 h 10000"/>
                  <a:gd name="connsiteX36" fmla="*/ 7650 w 10000"/>
                  <a:gd name="connsiteY36" fmla="*/ 9475 h 10000"/>
                  <a:gd name="connsiteX37" fmla="*/ 7642 w 10000"/>
                  <a:gd name="connsiteY37" fmla="*/ 9475 h 10000"/>
                  <a:gd name="connsiteX38" fmla="*/ 7541 w 10000"/>
                  <a:gd name="connsiteY38" fmla="*/ 9455 h 10000"/>
                  <a:gd name="connsiteX39" fmla="*/ 7524 w 10000"/>
                  <a:gd name="connsiteY39" fmla="*/ 9358 h 10000"/>
                  <a:gd name="connsiteX40" fmla="*/ 7508 w 10000"/>
                  <a:gd name="connsiteY40" fmla="*/ 9241 h 10000"/>
                  <a:gd name="connsiteX41" fmla="*/ 7541 w 10000"/>
                  <a:gd name="connsiteY41" fmla="*/ 9007 h 10000"/>
                  <a:gd name="connsiteX42" fmla="*/ 7474 w 10000"/>
                  <a:gd name="connsiteY42" fmla="*/ 9007 h 10000"/>
                  <a:gd name="connsiteX43" fmla="*/ 7340 w 10000"/>
                  <a:gd name="connsiteY43" fmla="*/ 8697 h 10000"/>
                  <a:gd name="connsiteX44" fmla="*/ 7157 w 10000"/>
                  <a:gd name="connsiteY44" fmla="*/ 8599 h 10000"/>
                  <a:gd name="connsiteX45" fmla="*/ 7090 w 10000"/>
                  <a:gd name="connsiteY45" fmla="*/ 7996 h 10000"/>
                  <a:gd name="connsiteX46" fmla="*/ 7140 w 10000"/>
                  <a:gd name="connsiteY46" fmla="*/ 7510 h 10000"/>
                  <a:gd name="connsiteX47" fmla="*/ 6805 w 10000"/>
                  <a:gd name="connsiteY47" fmla="*/ 7510 h 10000"/>
                  <a:gd name="connsiteX48" fmla="*/ 6805 w 10000"/>
                  <a:gd name="connsiteY48" fmla="*/ 7685 h 10000"/>
                  <a:gd name="connsiteX49" fmla="*/ 6454 w 10000"/>
                  <a:gd name="connsiteY49" fmla="*/ 7723 h 10000"/>
                  <a:gd name="connsiteX50" fmla="*/ 6621 w 10000"/>
                  <a:gd name="connsiteY50" fmla="*/ 7918 h 10000"/>
                  <a:gd name="connsiteX51" fmla="*/ 6621 w 10000"/>
                  <a:gd name="connsiteY51" fmla="*/ 8191 h 10000"/>
                  <a:gd name="connsiteX52" fmla="*/ 6688 w 10000"/>
                  <a:gd name="connsiteY52" fmla="*/ 8327 h 10000"/>
                  <a:gd name="connsiteX53" fmla="*/ 6337 w 10000"/>
                  <a:gd name="connsiteY53" fmla="*/ 8658 h 10000"/>
                  <a:gd name="connsiteX54" fmla="*/ 6236 w 10000"/>
                  <a:gd name="connsiteY54" fmla="*/ 8891 h 10000"/>
                  <a:gd name="connsiteX55" fmla="*/ 5885 w 10000"/>
                  <a:gd name="connsiteY55" fmla="*/ 9300 h 10000"/>
                  <a:gd name="connsiteX56" fmla="*/ 5617 w 10000"/>
                  <a:gd name="connsiteY56" fmla="*/ 9280 h 10000"/>
                  <a:gd name="connsiteX57" fmla="*/ 5082 w 10000"/>
                  <a:gd name="connsiteY57" fmla="*/ 8891 h 10000"/>
                  <a:gd name="connsiteX58" fmla="*/ 4865 w 10000"/>
                  <a:gd name="connsiteY58" fmla="*/ 9124 h 10000"/>
                  <a:gd name="connsiteX59" fmla="*/ 4848 w 10000"/>
                  <a:gd name="connsiteY59" fmla="*/ 9300 h 10000"/>
                  <a:gd name="connsiteX60" fmla="*/ 4547 w 10000"/>
                  <a:gd name="connsiteY60" fmla="*/ 9339 h 10000"/>
                  <a:gd name="connsiteX61" fmla="*/ 4520 w 10000"/>
                  <a:gd name="connsiteY61" fmla="*/ 9573 h 10000"/>
                  <a:gd name="connsiteX62" fmla="*/ 3931 w 10000"/>
                  <a:gd name="connsiteY62" fmla="*/ 9576 h 10000"/>
                  <a:gd name="connsiteX63" fmla="*/ 3828 w 10000"/>
                  <a:gd name="connsiteY63" fmla="*/ 9436 h 10000"/>
                  <a:gd name="connsiteX64" fmla="*/ 3243 w 10000"/>
                  <a:gd name="connsiteY64" fmla="*/ 9377 h 10000"/>
                  <a:gd name="connsiteX65" fmla="*/ 3125 w 10000"/>
                  <a:gd name="connsiteY65" fmla="*/ 9494 h 10000"/>
                  <a:gd name="connsiteX66" fmla="*/ 2874 w 10000"/>
                  <a:gd name="connsiteY66" fmla="*/ 9436 h 10000"/>
                  <a:gd name="connsiteX67" fmla="*/ 2774 w 10000"/>
                  <a:gd name="connsiteY67" fmla="*/ 9144 h 10000"/>
                  <a:gd name="connsiteX68" fmla="*/ 2623 w 10000"/>
                  <a:gd name="connsiteY68" fmla="*/ 8988 h 10000"/>
                  <a:gd name="connsiteX69" fmla="*/ 2540 w 10000"/>
                  <a:gd name="connsiteY69" fmla="*/ 8813 h 10000"/>
                  <a:gd name="connsiteX70" fmla="*/ 2054 w 10000"/>
                  <a:gd name="connsiteY70" fmla="*/ 8930 h 10000"/>
                  <a:gd name="connsiteX71" fmla="*/ 1971 w 10000"/>
                  <a:gd name="connsiteY71" fmla="*/ 9202 h 10000"/>
                  <a:gd name="connsiteX72" fmla="*/ 1871 w 10000"/>
                  <a:gd name="connsiteY72" fmla="*/ 9241 h 10000"/>
                  <a:gd name="connsiteX73" fmla="*/ 1871 w 10000"/>
                  <a:gd name="connsiteY73" fmla="*/ 9494 h 10000"/>
                  <a:gd name="connsiteX74" fmla="*/ 1770 w 10000"/>
                  <a:gd name="connsiteY74" fmla="*/ 9533 h 10000"/>
                  <a:gd name="connsiteX75" fmla="*/ 1770 w 10000"/>
                  <a:gd name="connsiteY75" fmla="*/ 9689 h 10000"/>
                  <a:gd name="connsiteX76" fmla="*/ 1770 w 10000"/>
                  <a:gd name="connsiteY76" fmla="*/ 9864 h 10000"/>
                  <a:gd name="connsiteX77" fmla="*/ 1537 w 10000"/>
                  <a:gd name="connsiteY77" fmla="*/ 10000 h 10000"/>
                  <a:gd name="connsiteX78" fmla="*/ 1511 w 10000"/>
                  <a:gd name="connsiteY78" fmla="*/ 10000 h 10000"/>
                  <a:gd name="connsiteX79" fmla="*/ 1461 w 10000"/>
                  <a:gd name="connsiteY79" fmla="*/ 10000 h 10000"/>
                  <a:gd name="connsiteX80" fmla="*/ 1076 w 10000"/>
                  <a:gd name="connsiteY80" fmla="*/ 9961 h 10000"/>
                  <a:gd name="connsiteX81" fmla="*/ 1060 w 10000"/>
                  <a:gd name="connsiteY81" fmla="*/ 9805 h 10000"/>
                  <a:gd name="connsiteX82" fmla="*/ 1160 w 10000"/>
                  <a:gd name="connsiteY82" fmla="*/ 9475 h 10000"/>
                  <a:gd name="connsiteX83" fmla="*/ 1160 w 10000"/>
                  <a:gd name="connsiteY83" fmla="*/ 9144 h 10000"/>
                  <a:gd name="connsiteX84" fmla="*/ 934 w 10000"/>
                  <a:gd name="connsiteY84" fmla="*/ 8716 h 10000"/>
                  <a:gd name="connsiteX85" fmla="*/ 658 w 10000"/>
                  <a:gd name="connsiteY85" fmla="*/ 8365 h 10000"/>
                  <a:gd name="connsiteX86" fmla="*/ 616 w 10000"/>
                  <a:gd name="connsiteY86" fmla="*/ 8356 h 10000"/>
                  <a:gd name="connsiteX87" fmla="*/ 691 w 10000"/>
                  <a:gd name="connsiteY87" fmla="*/ 8249 h 10000"/>
                  <a:gd name="connsiteX88" fmla="*/ 599 w 10000"/>
                  <a:gd name="connsiteY88" fmla="*/ 7996 h 10000"/>
                  <a:gd name="connsiteX89" fmla="*/ 466 w 10000"/>
                  <a:gd name="connsiteY89" fmla="*/ 7694 h 10000"/>
                  <a:gd name="connsiteX90" fmla="*/ 407 w 10000"/>
                  <a:gd name="connsiteY90" fmla="*/ 7539 h 10000"/>
                  <a:gd name="connsiteX91" fmla="*/ 373 w 10000"/>
                  <a:gd name="connsiteY91" fmla="*/ 7150 h 10000"/>
                  <a:gd name="connsiteX92" fmla="*/ 148 w 10000"/>
                  <a:gd name="connsiteY92" fmla="*/ 7110 h 10000"/>
                  <a:gd name="connsiteX93" fmla="*/ 64 w 10000"/>
                  <a:gd name="connsiteY93" fmla="*/ 6790 h 10000"/>
                  <a:gd name="connsiteX94" fmla="*/ 223 w 10000"/>
                  <a:gd name="connsiteY94" fmla="*/ 6488 h 10000"/>
                  <a:gd name="connsiteX95" fmla="*/ 198 w 10000"/>
                  <a:gd name="connsiteY95" fmla="*/ 6177 h 10000"/>
                  <a:gd name="connsiteX96" fmla="*/ 415 w 10000"/>
                  <a:gd name="connsiteY96" fmla="*/ 5963 h 10000"/>
                  <a:gd name="connsiteX97" fmla="*/ 348 w 10000"/>
                  <a:gd name="connsiteY97" fmla="*/ 5816 h 10000"/>
                  <a:gd name="connsiteX98" fmla="*/ 382 w 10000"/>
                  <a:gd name="connsiteY98" fmla="*/ 5642 h 10000"/>
                  <a:gd name="connsiteX99" fmla="*/ 474 w 10000"/>
                  <a:gd name="connsiteY99" fmla="*/ 5506 h 10000"/>
                  <a:gd name="connsiteX100" fmla="*/ 666 w 10000"/>
                  <a:gd name="connsiteY100" fmla="*/ 5145 h 10000"/>
                  <a:gd name="connsiteX101" fmla="*/ 674 w 10000"/>
                  <a:gd name="connsiteY101" fmla="*/ 4931 h 10000"/>
                  <a:gd name="connsiteX102" fmla="*/ 1001 w 10000"/>
                  <a:gd name="connsiteY102" fmla="*/ 4835 h 10000"/>
                  <a:gd name="connsiteX103" fmla="*/ 1269 w 10000"/>
                  <a:gd name="connsiteY103" fmla="*/ 4825 h 10000"/>
                  <a:gd name="connsiteX104" fmla="*/ 1185 w 10000"/>
                  <a:gd name="connsiteY104" fmla="*/ 2091 h 10000"/>
                  <a:gd name="connsiteX105" fmla="*/ 1185 w 10000"/>
                  <a:gd name="connsiteY105" fmla="*/ 2091 h 10000"/>
                  <a:gd name="connsiteX106" fmla="*/ 1176 w 10000"/>
                  <a:gd name="connsiteY106" fmla="*/ 1730 h 10000"/>
                  <a:gd name="connsiteX107" fmla="*/ 1770 w 10000"/>
                  <a:gd name="connsiteY107" fmla="*/ 1721 h 10000"/>
                  <a:gd name="connsiteX108" fmla="*/ 1712 w 10000"/>
                  <a:gd name="connsiteY108" fmla="*/ 271 h 10000"/>
                  <a:gd name="connsiteX109" fmla="*/ 5434 w 10000"/>
                  <a:gd name="connsiteY109" fmla="*/ 164 h 10000"/>
                  <a:gd name="connsiteX110" fmla="*/ 5559 w 10000"/>
                  <a:gd name="connsiteY110" fmla="*/ 38 h 10000"/>
                  <a:gd name="connsiteX111" fmla="*/ 5626 w 10000"/>
                  <a:gd name="connsiteY111" fmla="*/ 164 h 10000"/>
                  <a:gd name="connsiteX112" fmla="*/ 6555 w 10000"/>
                  <a:gd name="connsiteY112" fmla="*/ 126 h 10000"/>
                  <a:gd name="connsiteX113" fmla="*/ 6555 w 10000"/>
                  <a:gd name="connsiteY113" fmla="*/ 126 h 10000"/>
                  <a:gd name="connsiteX114" fmla="*/ 7022 w 10000"/>
                  <a:gd name="connsiteY114" fmla="*/ 291 h 10000"/>
                  <a:gd name="connsiteX115" fmla="*/ 7081 w 10000"/>
                  <a:gd name="connsiteY115" fmla="*/ 106 h 10000"/>
                  <a:gd name="connsiteX116" fmla="*/ 8695 w 10000"/>
                  <a:gd name="connsiteY116" fmla="*/ 38 h 10000"/>
                  <a:gd name="connsiteX117" fmla="*/ 8695 w 10000"/>
                  <a:gd name="connsiteY117" fmla="*/ 38 h 10000"/>
                  <a:gd name="connsiteX118" fmla="*/ 8728 w 10000"/>
                  <a:gd name="connsiteY118" fmla="*/ 145 h 10000"/>
                  <a:gd name="connsiteX119" fmla="*/ 8771 w 10000"/>
                  <a:gd name="connsiteY119" fmla="*/ 388 h 10000"/>
                  <a:gd name="connsiteX120" fmla="*/ 8954 w 10000"/>
                  <a:gd name="connsiteY120" fmla="*/ 612 h 10000"/>
                  <a:gd name="connsiteX121" fmla="*/ 8954 w 10000"/>
                  <a:gd name="connsiteY121" fmla="*/ 690 h 10000"/>
                  <a:gd name="connsiteX0" fmla="*/ 8954 w 10000"/>
                  <a:gd name="connsiteY0" fmla="*/ 690 h 10000"/>
                  <a:gd name="connsiteX1" fmla="*/ 8996 w 10000"/>
                  <a:gd name="connsiteY1" fmla="*/ 1059 h 10000"/>
                  <a:gd name="connsiteX2" fmla="*/ 9072 w 10000"/>
                  <a:gd name="connsiteY2" fmla="*/ 1711 h 10000"/>
                  <a:gd name="connsiteX3" fmla="*/ 9189 w 10000"/>
                  <a:gd name="connsiteY3" fmla="*/ 2217 h 10000"/>
                  <a:gd name="connsiteX4" fmla="*/ 9272 w 10000"/>
                  <a:gd name="connsiteY4" fmla="*/ 2393 h 10000"/>
                  <a:gd name="connsiteX5" fmla="*/ 9465 w 10000"/>
                  <a:gd name="connsiteY5" fmla="*/ 2499 h 10000"/>
                  <a:gd name="connsiteX6" fmla="*/ 9624 w 10000"/>
                  <a:gd name="connsiteY6" fmla="*/ 2577 h 10000"/>
                  <a:gd name="connsiteX7" fmla="*/ 9699 w 10000"/>
                  <a:gd name="connsiteY7" fmla="*/ 2704 h 10000"/>
                  <a:gd name="connsiteX8" fmla="*/ 9774 w 10000"/>
                  <a:gd name="connsiteY8" fmla="*/ 2742 h 10000"/>
                  <a:gd name="connsiteX9" fmla="*/ 9875 w 10000"/>
                  <a:gd name="connsiteY9" fmla="*/ 2772 h 10000"/>
                  <a:gd name="connsiteX10" fmla="*/ 9917 w 10000"/>
                  <a:gd name="connsiteY10" fmla="*/ 2878 h 10000"/>
                  <a:gd name="connsiteX11" fmla="*/ 10000 w 10000"/>
                  <a:gd name="connsiteY11" fmla="*/ 2947 h 10000"/>
                  <a:gd name="connsiteX12" fmla="*/ 10000 w 10000"/>
                  <a:gd name="connsiteY12" fmla="*/ 2947 h 10000"/>
                  <a:gd name="connsiteX13" fmla="*/ 9849 w 10000"/>
                  <a:gd name="connsiteY13" fmla="*/ 3239 h 10000"/>
                  <a:gd name="connsiteX14" fmla="*/ 9749 w 10000"/>
                  <a:gd name="connsiteY14" fmla="*/ 3336 h 10000"/>
                  <a:gd name="connsiteX15" fmla="*/ 9556 w 10000"/>
                  <a:gd name="connsiteY15" fmla="*/ 3355 h 10000"/>
                  <a:gd name="connsiteX16" fmla="*/ 9406 w 10000"/>
                  <a:gd name="connsiteY16" fmla="*/ 3501 h 10000"/>
                  <a:gd name="connsiteX17" fmla="*/ 9189 w 10000"/>
                  <a:gd name="connsiteY17" fmla="*/ 3696 h 10000"/>
                  <a:gd name="connsiteX18" fmla="*/ 9122 w 10000"/>
                  <a:gd name="connsiteY18" fmla="*/ 3900 h 10000"/>
                  <a:gd name="connsiteX19" fmla="*/ 9097 w 10000"/>
                  <a:gd name="connsiteY19" fmla="*/ 4329 h 10000"/>
                  <a:gd name="connsiteX20" fmla="*/ 8971 w 10000"/>
                  <a:gd name="connsiteY20" fmla="*/ 4747 h 10000"/>
                  <a:gd name="connsiteX21" fmla="*/ 8863 w 10000"/>
                  <a:gd name="connsiteY21" fmla="*/ 5107 h 10000"/>
                  <a:gd name="connsiteX22" fmla="*/ 8946 w 10000"/>
                  <a:gd name="connsiteY22" fmla="*/ 5661 h 10000"/>
                  <a:gd name="connsiteX23" fmla="*/ 8963 w 10000"/>
                  <a:gd name="connsiteY23" fmla="*/ 5759 h 10000"/>
                  <a:gd name="connsiteX24" fmla="*/ 8946 w 10000"/>
                  <a:gd name="connsiteY24" fmla="*/ 6079 h 10000"/>
                  <a:gd name="connsiteX25" fmla="*/ 8829 w 10000"/>
                  <a:gd name="connsiteY25" fmla="*/ 6420 h 10000"/>
                  <a:gd name="connsiteX26" fmla="*/ 8796 w 10000"/>
                  <a:gd name="connsiteY26" fmla="*/ 6897 h 10000"/>
                  <a:gd name="connsiteX27" fmla="*/ 8503 w 10000"/>
                  <a:gd name="connsiteY27" fmla="*/ 7014 h 10000"/>
                  <a:gd name="connsiteX28" fmla="*/ 8344 w 10000"/>
                  <a:gd name="connsiteY28" fmla="*/ 7354 h 10000"/>
                  <a:gd name="connsiteX29" fmla="*/ 8160 w 10000"/>
                  <a:gd name="connsiteY29" fmla="*/ 7665 h 10000"/>
                  <a:gd name="connsiteX30" fmla="*/ 8143 w 10000"/>
                  <a:gd name="connsiteY30" fmla="*/ 8122 h 10000"/>
                  <a:gd name="connsiteX31" fmla="*/ 8093 w 10000"/>
                  <a:gd name="connsiteY31" fmla="*/ 8365 h 10000"/>
                  <a:gd name="connsiteX32" fmla="*/ 7943 w 10000"/>
                  <a:gd name="connsiteY32" fmla="*/ 8317 h 10000"/>
                  <a:gd name="connsiteX33" fmla="*/ 7725 w 10000"/>
                  <a:gd name="connsiteY33" fmla="*/ 8560 h 10000"/>
                  <a:gd name="connsiteX34" fmla="*/ 7725 w 10000"/>
                  <a:gd name="connsiteY34" fmla="*/ 8921 h 10000"/>
                  <a:gd name="connsiteX35" fmla="*/ 7633 w 10000"/>
                  <a:gd name="connsiteY35" fmla="*/ 9270 h 10000"/>
                  <a:gd name="connsiteX36" fmla="*/ 7650 w 10000"/>
                  <a:gd name="connsiteY36" fmla="*/ 9475 h 10000"/>
                  <a:gd name="connsiteX37" fmla="*/ 7642 w 10000"/>
                  <a:gd name="connsiteY37" fmla="*/ 9475 h 10000"/>
                  <a:gd name="connsiteX38" fmla="*/ 7541 w 10000"/>
                  <a:gd name="connsiteY38" fmla="*/ 9455 h 10000"/>
                  <a:gd name="connsiteX39" fmla="*/ 7524 w 10000"/>
                  <a:gd name="connsiteY39" fmla="*/ 9358 h 10000"/>
                  <a:gd name="connsiteX40" fmla="*/ 7508 w 10000"/>
                  <a:gd name="connsiteY40" fmla="*/ 9241 h 10000"/>
                  <a:gd name="connsiteX41" fmla="*/ 7541 w 10000"/>
                  <a:gd name="connsiteY41" fmla="*/ 9007 h 10000"/>
                  <a:gd name="connsiteX42" fmla="*/ 7474 w 10000"/>
                  <a:gd name="connsiteY42" fmla="*/ 9007 h 10000"/>
                  <a:gd name="connsiteX43" fmla="*/ 7340 w 10000"/>
                  <a:gd name="connsiteY43" fmla="*/ 8697 h 10000"/>
                  <a:gd name="connsiteX44" fmla="*/ 7157 w 10000"/>
                  <a:gd name="connsiteY44" fmla="*/ 8599 h 10000"/>
                  <a:gd name="connsiteX45" fmla="*/ 7090 w 10000"/>
                  <a:gd name="connsiteY45" fmla="*/ 7996 h 10000"/>
                  <a:gd name="connsiteX46" fmla="*/ 7140 w 10000"/>
                  <a:gd name="connsiteY46" fmla="*/ 7510 h 10000"/>
                  <a:gd name="connsiteX47" fmla="*/ 6805 w 10000"/>
                  <a:gd name="connsiteY47" fmla="*/ 7510 h 10000"/>
                  <a:gd name="connsiteX48" fmla="*/ 6805 w 10000"/>
                  <a:gd name="connsiteY48" fmla="*/ 7685 h 10000"/>
                  <a:gd name="connsiteX49" fmla="*/ 6454 w 10000"/>
                  <a:gd name="connsiteY49" fmla="*/ 7723 h 10000"/>
                  <a:gd name="connsiteX50" fmla="*/ 6621 w 10000"/>
                  <a:gd name="connsiteY50" fmla="*/ 7918 h 10000"/>
                  <a:gd name="connsiteX51" fmla="*/ 6621 w 10000"/>
                  <a:gd name="connsiteY51" fmla="*/ 8191 h 10000"/>
                  <a:gd name="connsiteX52" fmla="*/ 6688 w 10000"/>
                  <a:gd name="connsiteY52" fmla="*/ 8327 h 10000"/>
                  <a:gd name="connsiteX53" fmla="*/ 6337 w 10000"/>
                  <a:gd name="connsiteY53" fmla="*/ 8658 h 10000"/>
                  <a:gd name="connsiteX54" fmla="*/ 6236 w 10000"/>
                  <a:gd name="connsiteY54" fmla="*/ 8891 h 10000"/>
                  <a:gd name="connsiteX55" fmla="*/ 5885 w 10000"/>
                  <a:gd name="connsiteY55" fmla="*/ 9300 h 10000"/>
                  <a:gd name="connsiteX56" fmla="*/ 5617 w 10000"/>
                  <a:gd name="connsiteY56" fmla="*/ 9280 h 10000"/>
                  <a:gd name="connsiteX57" fmla="*/ 5082 w 10000"/>
                  <a:gd name="connsiteY57" fmla="*/ 8891 h 10000"/>
                  <a:gd name="connsiteX58" fmla="*/ 4865 w 10000"/>
                  <a:gd name="connsiteY58" fmla="*/ 9124 h 10000"/>
                  <a:gd name="connsiteX59" fmla="*/ 4848 w 10000"/>
                  <a:gd name="connsiteY59" fmla="*/ 9300 h 10000"/>
                  <a:gd name="connsiteX60" fmla="*/ 4547 w 10000"/>
                  <a:gd name="connsiteY60" fmla="*/ 9339 h 10000"/>
                  <a:gd name="connsiteX61" fmla="*/ 4520 w 10000"/>
                  <a:gd name="connsiteY61" fmla="*/ 9573 h 10000"/>
                  <a:gd name="connsiteX62" fmla="*/ 3931 w 10000"/>
                  <a:gd name="connsiteY62" fmla="*/ 9576 h 10000"/>
                  <a:gd name="connsiteX63" fmla="*/ 3828 w 10000"/>
                  <a:gd name="connsiteY63" fmla="*/ 9436 h 10000"/>
                  <a:gd name="connsiteX64" fmla="*/ 3243 w 10000"/>
                  <a:gd name="connsiteY64" fmla="*/ 9377 h 10000"/>
                  <a:gd name="connsiteX65" fmla="*/ 3125 w 10000"/>
                  <a:gd name="connsiteY65" fmla="*/ 9494 h 10000"/>
                  <a:gd name="connsiteX66" fmla="*/ 2874 w 10000"/>
                  <a:gd name="connsiteY66" fmla="*/ 9436 h 10000"/>
                  <a:gd name="connsiteX67" fmla="*/ 2774 w 10000"/>
                  <a:gd name="connsiteY67" fmla="*/ 9144 h 10000"/>
                  <a:gd name="connsiteX68" fmla="*/ 2623 w 10000"/>
                  <a:gd name="connsiteY68" fmla="*/ 8988 h 10000"/>
                  <a:gd name="connsiteX69" fmla="*/ 2540 w 10000"/>
                  <a:gd name="connsiteY69" fmla="*/ 8813 h 10000"/>
                  <a:gd name="connsiteX70" fmla="*/ 2054 w 10000"/>
                  <a:gd name="connsiteY70" fmla="*/ 8930 h 10000"/>
                  <a:gd name="connsiteX71" fmla="*/ 1971 w 10000"/>
                  <a:gd name="connsiteY71" fmla="*/ 9202 h 10000"/>
                  <a:gd name="connsiteX72" fmla="*/ 1871 w 10000"/>
                  <a:gd name="connsiteY72" fmla="*/ 9241 h 10000"/>
                  <a:gd name="connsiteX73" fmla="*/ 1871 w 10000"/>
                  <a:gd name="connsiteY73" fmla="*/ 9494 h 10000"/>
                  <a:gd name="connsiteX74" fmla="*/ 1770 w 10000"/>
                  <a:gd name="connsiteY74" fmla="*/ 9533 h 10000"/>
                  <a:gd name="connsiteX75" fmla="*/ 1770 w 10000"/>
                  <a:gd name="connsiteY75" fmla="*/ 9689 h 10000"/>
                  <a:gd name="connsiteX76" fmla="*/ 1770 w 10000"/>
                  <a:gd name="connsiteY76" fmla="*/ 9864 h 10000"/>
                  <a:gd name="connsiteX77" fmla="*/ 1537 w 10000"/>
                  <a:gd name="connsiteY77" fmla="*/ 10000 h 10000"/>
                  <a:gd name="connsiteX78" fmla="*/ 1511 w 10000"/>
                  <a:gd name="connsiteY78" fmla="*/ 10000 h 10000"/>
                  <a:gd name="connsiteX79" fmla="*/ 1461 w 10000"/>
                  <a:gd name="connsiteY79" fmla="*/ 10000 h 10000"/>
                  <a:gd name="connsiteX80" fmla="*/ 1076 w 10000"/>
                  <a:gd name="connsiteY80" fmla="*/ 9961 h 10000"/>
                  <a:gd name="connsiteX81" fmla="*/ 1060 w 10000"/>
                  <a:gd name="connsiteY81" fmla="*/ 9805 h 10000"/>
                  <a:gd name="connsiteX82" fmla="*/ 1160 w 10000"/>
                  <a:gd name="connsiteY82" fmla="*/ 9475 h 10000"/>
                  <a:gd name="connsiteX83" fmla="*/ 1160 w 10000"/>
                  <a:gd name="connsiteY83" fmla="*/ 9144 h 10000"/>
                  <a:gd name="connsiteX84" fmla="*/ 934 w 10000"/>
                  <a:gd name="connsiteY84" fmla="*/ 8716 h 10000"/>
                  <a:gd name="connsiteX85" fmla="*/ 658 w 10000"/>
                  <a:gd name="connsiteY85" fmla="*/ 8365 h 10000"/>
                  <a:gd name="connsiteX86" fmla="*/ 616 w 10000"/>
                  <a:gd name="connsiteY86" fmla="*/ 8356 h 10000"/>
                  <a:gd name="connsiteX87" fmla="*/ 691 w 10000"/>
                  <a:gd name="connsiteY87" fmla="*/ 8249 h 10000"/>
                  <a:gd name="connsiteX88" fmla="*/ 599 w 10000"/>
                  <a:gd name="connsiteY88" fmla="*/ 7996 h 10000"/>
                  <a:gd name="connsiteX89" fmla="*/ 466 w 10000"/>
                  <a:gd name="connsiteY89" fmla="*/ 7694 h 10000"/>
                  <a:gd name="connsiteX90" fmla="*/ 407 w 10000"/>
                  <a:gd name="connsiteY90" fmla="*/ 7539 h 10000"/>
                  <a:gd name="connsiteX91" fmla="*/ 373 w 10000"/>
                  <a:gd name="connsiteY91" fmla="*/ 7150 h 10000"/>
                  <a:gd name="connsiteX92" fmla="*/ 148 w 10000"/>
                  <a:gd name="connsiteY92" fmla="*/ 7110 h 10000"/>
                  <a:gd name="connsiteX93" fmla="*/ 64 w 10000"/>
                  <a:gd name="connsiteY93" fmla="*/ 6790 h 10000"/>
                  <a:gd name="connsiteX94" fmla="*/ 223 w 10000"/>
                  <a:gd name="connsiteY94" fmla="*/ 6488 h 10000"/>
                  <a:gd name="connsiteX95" fmla="*/ 198 w 10000"/>
                  <a:gd name="connsiteY95" fmla="*/ 6177 h 10000"/>
                  <a:gd name="connsiteX96" fmla="*/ 415 w 10000"/>
                  <a:gd name="connsiteY96" fmla="*/ 5963 h 10000"/>
                  <a:gd name="connsiteX97" fmla="*/ 348 w 10000"/>
                  <a:gd name="connsiteY97" fmla="*/ 5816 h 10000"/>
                  <a:gd name="connsiteX98" fmla="*/ 382 w 10000"/>
                  <a:gd name="connsiteY98" fmla="*/ 5642 h 10000"/>
                  <a:gd name="connsiteX99" fmla="*/ 474 w 10000"/>
                  <a:gd name="connsiteY99" fmla="*/ 5506 h 10000"/>
                  <a:gd name="connsiteX100" fmla="*/ 666 w 10000"/>
                  <a:gd name="connsiteY100" fmla="*/ 5145 h 10000"/>
                  <a:gd name="connsiteX101" fmla="*/ 674 w 10000"/>
                  <a:gd name="connsiteY101" fmla="*/ 4931 h 10000"/>
                  <a:gd name="connsiteX102" fmla="*/ 1001 w 10000"/>
                  <a:gd name="connsiteY102" fmla="*/ 4835 h 10000"/>
                  <a:gd name="connsiteX103" fmla="*/ 1269 w 10000"/>
                  <a:gd name="connsiteY103" fmla="*/ 4825 h 10000"/>
                  <a:gd name="connsiteX104" fmla="*/ 1185 w 10000"/>
                  <a:gd name="connsiteY104" fmla="*/ 2091 h 10000"/>
                  <a:gd name="connsiteX105" fmla="*/ 1185 w 10000"/>
                  <a:gd name="connsiteY105" fmla="*/ 2091 h 10000"/>
                  <a:gd name="connsiteX106" fmla="*/ 1176 w 10000"/>
                  <a:gd name="connsiteY106" fmla="*/ 1730 h 10000"/>
                  <a:gd name="connsiteX107" fmla="*/ 1770 w 10000"/>
                  <a:gd name="connsiteY107" fmla="*/ 1721 h 10000"/>
                  <a:gd name="connsiteX108" fmla="*/ 1712 w 10000"/>
                  <a:gd name="connsiteY108" fmla="*/ 271 h 10000"/>
                  <a:gd name="connsiteX109" fmla="*/ 5434 w 10000"/>
                  <a:gd name="connsiteY109" fmla="*/ 164 h 10000"/>
                  <a:gd name="connsiteX110" fmla="*/ 5559 w 10000"/>
                  <a:gd name="connsiteY110" fmla="*/ 38 h 10000"/>
                  <a:gd name="connsiteX111" fmla="*/ 5626 w 10000"/>
                  <a:gd name="connsiteY111" fmla="*/ 164 h 10000"/>
                  <a:gd name="connsiteX112" fmla="*/ 6555 w 10000"/>
                  <a:gd name="connsiteY112" fmla="*/ 126 h 10000"/>
                  <a:gd name="connsiteX113" fmla="*/ 6555 w 10000"/>
                  <a:gd name="connsiteY113" fmla="*/ 126 h 10000"/>
                  <a:gd name="connsiteX114" fmla="*/ 7081 w 10000"/>
                  <a:gd name="connsiteY114" fmla="*/ 106 h 10000"/>
                  <a:gd name="connsiteX115" fmla="*/ 8695 w 10000"/>
                  <a:gd name="connsiteY115" fmla="*/ 38 h 10000"/>
                  <a:gd name="connsiteX116" fmla="*/ 8695 w 10000"/>
                  <a:gd name="connsiteY116" fmla="*/ 38 h 10000"/>
                  <a:gd name="connsiteX117" fmla="*/ 8728 w 10000"/>
                  <a:gd name="connsiteY117" fmla="*/ 145 h 10000"/>
                  <a:gd name="connsiteX118" fmla="*/ 8771 w 10000"/>
                  <a:gd name="connsiteY118" fmla="*/ 388 h 10000"/>
                  <a:gd name="connsiteX119" fmla="*/ 8954 w 10000"/>
                  <a:gd name="connsiteY119" fmla="*/ 612 h 10000"/>
                  <a:gd name="connsiteX120" fmla="*/ 8954 w 10000"/>
                  <a:gd name="connsiteY120" fmla="*/ 690 h 10000"/>
                  <a:gd name="connsiteX0" fmla="*/ 8954 w 10000"/>
                  <a:gd name="connsiteY0" fmla="*/ 860 h 10170"/>
                  <a:gd name="connsiteX1" fmla="*/ 8996 w 10000"/>
                  <a:gd name="connsiteY1" fmla="*/ 1229 h 10170"/>
                  <a:gd name="connsiteX2" fmla="*/ 9072 w 10000"/>
                  <a:gd name="connsiteY2" fmla="*/ 1881 h 10170"/>
                  <a:gd name="connsiteX3" fmla="*/ 9189 w 10000"/>
                  <a:gd name="connsiteY3" fmla="*/ 2387 h 10170"/>
                  <a:gd name="connsiteX4" fmla="*/ 9272 w 10000"/>
                  <a:gd name="connsiteY4" fmla="*/ 2563 h 10170"/>
                  <a:gd name="connsiteX5" fmla="*/ 9465 w 10000"/>
                  <a:gd name="connsiteY5" fmla="*/ 2669 h 10170"/>
                  <a:gd name="connsiteX6" fmla="*/ 9624 w 10000"/>
                  <a:gd name="connsiteY6" fmla="*/ 2747 h 10170"/>
                  <a:gd name="connsiteX7" fmla="*/ 9699 w 10000"/>
                  <a:gd name="connsiteY7" fmla="*/ 2874 h 10170"/>
                  <a:gd name="connsiteX8" fmla="*/ 9774 w 10000"/>
                  <a:gd name="connsiteY8" fmla="*/ 2912 h 10170"/>
                  <a:gd name="connsiteX9" fmla="*/ 9875 w 10000"/>
                  <a:gd name="connsiteY9" fmla="*/ 2942 h 10170"/>
                  <a:gd name="connsiteX10" fmla="*/ 9917 w 10000"/>
                  <a:gd name="connsiteY10" fmla="*/ 3048 h 10170"/>
                  <a:gd name="connsiteX11" fmla="*/ 10000 w 10000"/>
                  <a:gd name="connsiteY11" fmla="*/ 3117 h 10170"/>
                  <a:gd name="connsiteX12" fmla="*/ 10000 w 10000"/>
                  <a:gd name="connsiteY12" fmla="*/ 3117 h 10170"/>
                  <a:gd name="connsiteX13" fmla="*/ 9849 w 10000"/>
                  <a:gd name="connsiteY13" fmla="*/ 3409 h 10170"/>
                  <a:gd name="connsiteX14" fmla="*/ 9749 w 10000"/>
                  <a:gd name="connsiteY14" fmla="*/ 3506 h 10170"/>
                  <a:gd name="connsiteX15" fmla="*/ 9556 w 10000"/>
                  <a:gd name="connsiteY15" fmla="*/ 3525 h 10170"/>
                  <a:gd name="connsiteX16" fmla="*/ 9406 w 10000"/>
                  <a:gd name="connsiteY16" fmla="*/ 3671 h 10170"/>
                  <a:gd name="connsiteX17" fmla="*/ 9189 w 10000"/>
                  <a:gd name="connsiteY17" fmla="*/ 3866 h 10170"/>
                  <a:gd name="connsiteX18" fmla="*/ 9122 w 10000"/>
                  <a:gd name="connsiteY18" fmla="*/ 4070 h 10170"/>
                  <a:gd name="connsiteX19" fmla="*/ 9097 w 10000"/>
                  <a:gd name="connsiteY19" fmla="*/ 4499 h 10170"/>
                  <a:gd name="connsiteX20" fmla="*/ 8971 w 10000"/>
                  <a:gd name="connsiteY20" fmla="*/ 4917 h 10170"/>
                  <a:gd name="connsiteX21" fmla="*/ 8863 w 10000"/>
                  <a:gd name="connsiteY21" fmla="*/ 5277 h 10170"/>
                  <a:gd name="connsiteX22" fmla="*/ 8946 w 10000"/>
                  <a:gd name="connsiteY22" fmla="*/ 5831 h 10170"/>
                  <a:gd name="connsiteX23" fmla="*/ 8963 w 10000"/>
                  <a:gd name="connsiteY23" fmla="*/ 5929 h 10170"/>
                  <a:gd name="connsiteX24" fmla="*/ 8946 w 10000"/>
                  <a:gd name="connsiteY24" fmla="*/ 6249 h 10170"/>
                  <a:gd name="connsiteX25" fmla="*/ 8829 w 10000"/>
                  <a:gd name="connsiteY25" fmla="*/ 6590 h 10170"/>
                  <a:gd name="connsiteX26" fmla="*/ 8796 w 10000"/>
                  <a:gd name="connsiteY26" fmla="*/ 7067 h 10170"/>
                  <a:gd name="connsiteX27" fmla="*/ 8503 w 10000"/>
                  <a:gd name="connsiteY27" fmla="*/ 7184 h 10170"/>
                  <a:gd name="connsiteX28" fmla="*/ 8344 w 10000"/>
                  <a:gd name="connsiteY28" fmla="*/ 7524 h 10170"/>
                  <a:gd name="connsiteX29" fmla="*/ 8160 w 10000"/>
                  <a:gd name="connsiteY29" fmla="*/ 7835 h 10170"/>
                  <a:gd name="connsiteX30" fmla="*/ 8143 w 10000"/>
                  <a:gd name="connsiteY30" fmla="*/ 8292 h 10170"/>
                  <a:gd name="connsiteX31" fmla="*/ 8093 w 10000"/>
                  <a:gd name="connsiteY31" fmla="*/ 8535 h 10170"/>
                  <a:gd name="connsiteX32" fmla="*/ 7943 w 10000"/>
                  <a:gd name="connsiteY32" fmla="*/ 8487 h 10170"/>
                  <a:gd name="connsiteX33" fmla="*/ 7725 w 10000"/>
                  <a:gd name="connsiteY33" fmla="*/ 8730 h 10170"/>
                  <a:gd name="connsiteX34" fmla="*/ 7725 w 10000"/>
                  <a:gd name="connsiteY34" fmla="*/ 9091 h 10170"/>
                  <a:gd name="connsiteX35" fmla="*/ 7633 w 10000"/>
                  <a:gd name="connsiteY35" fmla="*/ 9440 h 10170"/>
                  <a:gd name="connsiteX36" fmla="*/ 7650 w 10000"/>
                  <a:gd name="connsiteY36" fmla="*/ 9645 h 10170"/>
                  <a:gd name="connsiteX37" fmla="*/ 7642 w 10000"/>
                  <a:gd name="connsiteY37" fmla="*/ 9645 h 10170"/>
                  <a:gd name="connsiteX38" fmla="*/ 7541 w 10000"/>
                  <a:gd name="connsiteY38" fmla="*/ 9625 h 10170"/>
                  <a:gd name="connsiteX39" fmla="*/ 7524 w 10000"/>
                  <a:gd name="connsiteY39" fmla="*/ 9528 h 10170"/>
                  <a:gd name="connsiteX40" fmla="*/ 7508 w 10000"/>
                  <a:gd name="connsiteY40" fmla="*/ 9411 h 10170"/>
                  <a:gd name="connsiteX41" fmla="*/ 7541 w 10000"/>
                  <a:gd name="connsiteY41" fmla="*/ 9177 h 10170"/>
                  <a:gd name="connsiteX42" fmla="*/ 7474 w 10000"/>
                  <a:gd name="connsiteY42" fmla="*/ 9177 h 10170"/>
                  <a:gd name="connsiteX43" fmla="*/ 7340 w 10000"/>
                  <a:gd name="connsiteY43" fmla="*/ 8867 h 10170"/>
                  <a:gd name="connsiteX44" fmla="*/ 7157 w 10000"/>
                  <a:gd name="connsiteY44" fmla="*/ 8769 h 10170"/>
                  <a:gd name="connsiteX45" fmla="*/ 7090 w 10000"/>
                  <a:gd name="connsiteY45" fmla="*/ 8166 h 10170"/>
                  <a:gd name="connsiteX46" fmla="*/ 7140 w 10000"/>
                  <a:gd name="connsiteY46" fmla="*/ 7680 h 10170"/>
                  <a:gd name="connsiteX47" fmla="*/ 6805 w 10000"/>
                  <a:gd name="connsiteY47" fmla="*/ 7680 h 10170"/>
                  <a:gd name="connsiteX48" fmla="*/ 6805 w 10000"/>
                  <a:gd name="connsiteY48" fmla="*/ 7855 h 10170"/>
                  <a:gd name="connsiteX49" fmla="*/ 6454 w 10000"/>
                  <a:gd name="connsiteY49" fmla="*/ 7893 h 10170"/>
                  <a:gd name="connsiteX50" fmla="*/ 6621 w 10000"/>
                  <a:gd name="connsiteY50" fmla="*/ 8088 h 10170"/>
                  <a:gd name="connsiteX51" fmla="*/ 6621 w 10000"/>
                  <a:gd name="connsiteY51" fmla="*/ 8361 h 10170"/>
                  <a:gd name="connsiteX52" fmla="*/ 6688 w 10000"/>
                  <a:gd name="connsiteY52" fmla="*/ 8497 h 10170"/>
                  <a:gd name="connsiteX53" fmla="*/ 6337 w 10000"/>
                  <a:gd name="connsiteY53" fmla="*/ 8828 h 10170"/>
                  <a:gd name="connsiteX54" fmla="*/ 6236 w 10000"/>
                  <a:gd name="connsiteY54" fmla="*/ 9061 h 10170"/>
                  <a:gd name="connsiteX55" fmla="*/ 5885 w 10000"/>
                  <a:gd name="connsiteY55" fmla="*/ 9470 h 10170"/>
                  <a:gd name="connsiteX56" fmla="*/ 5617 w 10000"/>
                  <a:gd name="connsiteY56" fmla="*/ 9450 h 10170"/>
                  <a:gd name="connsiteX57" fmla="*/ 5082 w 10000"/>
                  <a:gd name="connsiteY57" fmla="*/ 9061 h 10170"/>
                  <a:gd name="connsiteX58" fmla="*/ 4865 w 10000"/>
                  <a:gd name="connsiteY58" fmla="*/ 9294 h 10170"/>
                  <a:gd name="connsiteX59" fmla="*/ 4848 w 10000"/>
                  <a:gd name="connsiteY59" fmla="*/ 9470 h 10170"/>
                  <a:gd name="connsiteX60" fmla="*/ 4547 w 10000"/>
                  <a:gd name="connsiteY60" fmla="*/ 9509 h 10170"/>
                  <a:gd name="connsiteX61" fmla="*/ 4520 w 10000"/>
                  <a:gd name="connsiteY61" fmla="*/ 9743 h 10170"/>
                  <a:gd name="connsiteX62" fmla="*/ 3931 w 10000"/>
                  <a:gd name="connsiteY62" fmla="*/ 9746 h 10170"/>
                  <a:gd name="connsiteX63" fmla="*/ 3828 w 10000"/>
                  <a:gd name="connsiteY63" fmla="*/ 9606 h 10170"/>
                  <a:gd name="connsiteX64" fmla="*/ 3243 w 10000"/>
                  <a:gd name="connsiteY64" fmla="*/ 9547 h 10170"/>
                  <a:gd name="connsiteX65" fmla="*/ 3125 w 10000"/>
                  <a:gd name="connsiteY65" fmla="*/ 9664 h 10170"/>
                  <a:gd name="connsiteX66" fmla="*/ 2874 w 10000"/>
                  <a:gd name="connsiteY66" fmla="*/ 9606 h 10170"/>
                  <a:gd name="connsiteX67" fmla="*/ 2774 w 10000"/>
                  <a:gd name="connsiteY67" fmla="*/ 9314 h 10170"/>
                  <a:gd name="connsiteX68" fmla="*/ 2623 w 10000"/>
                  <a:gd name="connsiteY68" fmla="*/ 9158 h 10170"/>
                  <a:gd name="connsiteX69" fmla="*/ 2540 w 10000"/>
                  <a:gd name="connsiteY69" fmla="*/ 8983 h 10170"/>
                  <a:gd name="connsiteX70" fmla="*/ 2054 w 10000"/>
                  <a:gd name="connsiteY70" fmla="*/ 9100 h 10170"/>
                  <a:gd name="connsiteX71" fmla="*/ 1971 w 10000"/>
                  <a:gd name="connsiteY71" fmla="*/ 9372 h 10170"/>
                  <a:gd name="connsiteX72" fmla="*/ 1871 w 10000"/>
                  <a:gd name="connsiteY72" fmla="*/ 9411 h 10170"/>
                  <a:gd name="connsiteX73" fmla="*/ 1871 w 10000"/>
                  <a:gd name="connsiteY73" fmla="*/ 9664 h 10170"/>
                  <a:gd name="connsiteX74" fmla="*/ 1770 w 10000"/>
                  <a:gd name="connsiteY74" fmla="*/ 9703 h 10170"/>
                  <a:gd name="connsiteX75" fmla="*/ 1770 w 10000"/>
                  <a:gd name="connsiteY75" fmla="*/ 9859 h 10170"/>
                  <a:gd name="connsiteX76" fmla="*/ 1770 w 10000"/>
                  <a:gd name="connsiteY76" fmla="*/ 10034 h 10170"/>
                  <a:gd name="connsiteX77" fmla="*/ 1537 w 10000"/>
                  <a:gd name="connsiteY77" fmla="*/ 10170 h 10170"/>
                  <a:gd name="connsiteX78" fmla="*/ 1511 w 10000"/>
                  <a:gd name="connsiteY78" fmla="*/ 10170 h 10170"/>
                  <a:gd name="connsiteX79" fmla="*/ 1461 w 10000"/>
                  <a:gd name="connsiteY79" fmla="*/ 10170 h 10170"/>
                  <a:gd name="connsiteX80" fmla="*/ 1076 w 10000"/>
                  <a:gd name="connsiteY80" fmla="*/ 10131 h 10170"/>
                  <a:gd name="connsiteX81" fmla="*/ 1060 w 10000"/>
                  <a:gd name="connsiteY81" fmla="*/ 9975 h 10170"/>
                  <a:gd name="connsiteX82" fmla="*/ 1160 w 10000"/>
                  <a:gd name="connsiteY82" fmla="*/ 9645 h 10170"/>
                  <a:gd name="connsiteX83" fmla="*/ 1160 w 10000"/>
                  <a:gd name="connsiteY83" fmla="*/ 9314 h 10170"/>
                  <a:gd name="connsiteX84" fmla="*/ 934 w 10000"/>
                  <a:gd name="connsiteY84" fmla="*/ 8886 h 10170"/>
                  <a:gd name="connsiteX85" fmla="*/ 658 w 10000"/>
                  <a:gd name="connsiteY85" fmla="*/ 8535 h 10170"/>
                  <a:gd name="connsiteX86" fmla="*/ 616 w 10000"/>
                  <a:gd name="connsiteY86" fmla="*/ 8526 h 10170"/>
                  <a:gd name="connsiteX87" fmla="*/ 691 w 10000"/>
                  <a:gd name="connsiteY87" fmla="*/ 8419 h 10170"/>
                  <a:gd name="connsiteX88" fmla="*/ 599 w 10000"/>
                  <a:gd name="connsiteY88" fmla="*/ 8166 h 10170"/>
                  <a:gd name="connsiteX89" fmla="*/ 466 w 10000"/>
                  <a:gd name="connsiteY89" fmla="*/ 7864 h 10170"/>
                  <a:gd name="connsiteX90" fmla="*/ 407 w 10000"/>
                  <a:gd name="connsiteY90" fmla="*/ 7709 h 10170"/>
                  <a:gd name="connsiteX91" fmla="*/ 373 w 10000"/>
                  <a:gd name="connsiteY91" fmla="*/ 7320 h 10170"/>
                  <a:gd name="connsiteX92" fmla="*/ 148 w 10000"/>
                  <a:gd name="connsiteY92" fmla="*/ 7280 h 10170"/>
                  <a:gd name="connsiteX93" fmla="*/ 64 w 10000"/>
                  <a:gd name="connsiteY93" fmla="*/ 6960 h 10170"/>
                  <a:gd name="connsiteX94" fmla="*/ 223 w 10000"/>
                  <a:gd name="connsiteY94" fmla="*/ 6658 h 10170"/>
                  <a:gd name="connsiteX95" fmla="*/ 198 w 10000"/>
                  <a:gd name="connsiteY95" fmla="*/ 6347 h 10170"/>
                  <a:gd name="connsiteX96" fmla="*/ 415 w 10000"/>
                  <a:gd name="connsiteY96" fmla="*/ 6133 h 10170"/>
                  <a:gd name="connsiteX97" fmla="*/ 348 w 10000"/>
                  <a:gd name="connsiteY97" fmla="*/ 5986 h 10170"/>
                  <a:gd name="connsiteX98" fmla="*/ 382 w 10000"/>
                  <a:gd name="connsiteY98" fmla="*/ 5812 h 10170"/>
                  <a:gd name="connsiteX99" fmla="*/ 474 w 10000"/>
                  <a:gd name="connsiteY99" fmla="*/ 5676 h 10170"/>
                  <a:gd name="connsiteX100" fmla="*/ 666 w 10000"/>
                  <a:gd name="connsiteY100" fmla="*/ 5315 h 10170"/>
                  <a:gd name="connsiteX101" fmla="*/ 674 w 10000"/>
                  <a:gd name="connsiteY101" fmla="*/ 5101 h 10170"/>
                  <a:gd name="connsiteX102" fmla="*/ 1001 w 10000"/>
                  <a:gd name="connsiteY102" fmla="*/ 5005 h 10170"/>
                  <a:gd name="connsiteX103" fmla="*/ 1269 w 10000"/>
                  <a:gd name="connsiteY103" fmla="*/ 4995 h 10170"/>
                  <a:gd name="connsiteX104" fmla="*/ 1185 w 10000"/>
                  <a:gd name="connsiteY104" fmla="*/ 2261 h 10170"/>
                  <a:gd name="connsiteX105" fmla="*/ 1185 w 10000"/>
                  <a:gd name="connsiteY105" fmla="*/ 2261 h 10170"/>
                  <a:gd name="connsiteX106" fmla="*/ 1176 w 10000"/>
                  <a:gd name="connsiteY106" fmla="*/ 1900 h 10170"/>
                  <a:gd name="connsiteX107" fmla="*/ 1770 w 10000"/>
                  <a:gd name="connsiteY107" fmla="*/ 1891 h 10170"/>
                  <a:gd name="connsiteX108" fmla="*/ 1712 w 10000"/>
                  <a:gd name="connsiteY108" fmla="*/ 441 h 10170"/>
                  <a:gd name="connsiteX109" fmla="*/ 5434 w 10000"/>
                  <a:gd name="connsiteY109" fmla="*/ 334 h 10170"/>
                  <a:gd name="connsiteX110" fmla="*/ 5559 w 10000"/>
                  <a:gd name="connsiteY110" fmla="*/ 208 h 10170"/>
                  <a:gd name="connsiteX111" fmla="*/ 5626 w 10000"/>
                  <a:gd name="connsiteY111" fmla="*/ 334 h 10170"/>
                  <a:gd name="connsiteX112" fmla="*/ 6555 w 10000"/>
                  <a:gd name="connsiteY112" fmla="*/ 296 h 10170"/>
                  <a:gd name="connsiteX113" fmla="*/ 6555 w 10000"/>
                  <a:gd name="connsiteY113" fmla="*/ 296 h 10170"/>
                  <a:gd name="connsiteX114" fmla="*/ 7081 w 10000"/>
                  <a:gd name="connsiteY114" fmla="*/ 276 h 10170"/>
                  <a:gd name="connsiteX115" fmla="*/ 7657 w 10000"/>
                  <a:gd name="connsiteY115" fmla="*/ 0 h 10170"/>
                  <a:gd name="connsiteX116" fmla="*/ 8695 w 10000"/>
                  <a:gd name="connsiteY116" fmla="*/ 208 h 10170"/>
                  <a:gd name="connsiteX117" fmla="*/ 8695 w 10000"/>
                  <a:gd name="connsiteY117" fmla="*/ 208 h 10170"/>
                  <a:gd name="connsiteX118" fmla="*/ 8728 w 10000"/>
                  <a:gd name="connsiteY118" fmla="*/ 315 h 10170"/>
                  <a:gd name="connsiteX119" fmla="*/ 8771 w 10000"/>
                  <a:gd name="connsiteY119" fmla="*/ 558 h 10170"/>
                  <a:gd name="connsiteX120" fmla="*/ 8954 w 10000"/>
                  <a:gd name="connsiteY120" fmla="*/ 782 h 10170"/>
                  <a:gd name="connsiteX121" fmla="*/ 8954 w 10000"/>
                  <a:gd name="connsiteY121" fmla="*/ 860 h 10170"/>
                  <a:gd name="connsiteX0" fmla="*/ 8954 w 10000"/>
                  <a:gd name="connsiteY0" fmla="*/ 956 h 10266"/>
                  <a:gd name="connsiteX1" fmla="*/ 8996 w 10000"/>
                  <a:gd name="connsiteY1" fmla="*/ 1325 h 10266"/>
                  <a:gd name="connsiteX2" fmla="*/ 9072 w 10000"/>
                  <a:gd name="connsiteY2" fmla="*/ 1977 h 10266"/>
                  <a:gd name="connsiteX3" fmla="*/ 9189 w 10000"/>
                  <a:gd name="connsiteY3" fmla="*/ 2483 h 10266"/>
                  <a:gd name="connsiteX4" fmla="*/ 9272 w 10000"/>
                  <a:gd name="connsiteY4" fmla="*/ 2659 h 10266"/>
                  <a:gd name="connsiteX5" fmla="*/ 9465 w 10000"/>
                  <a:gd name="connsiteY5" fmla="*/ 2765 h 10266"/>
                  <a:gd name="connsiteX6" fmla="*/ 9624 w 10000"/>
                  <a:gd name="connsiteY6" fmla="*/ 2843 h 10266"/>
                  <a:gd name="connsiteX7" fmla="*/ 9699 w 10000"/>
                  <a:gd name="connsiteY7" fmla="*/ 2970 h 10266"/>
                  <a:gd name="connsiteX8" fmla="*/ 9774 w 10000"/>
                  <a:gd name="connsiteY8" fmla="*/ 3008 h 10266"/>
                  <a:gd name="connsiteX9" fmla="*/ 9875 w 10000"/>
                  <a:gd name="connsiteY9" fmla="*/ 3038 h 10266"/>
                  <a:gd name="connsiteX10" fmla="*/ 9917 w 10000"/>
                  <a:gd name="connsiteY10" fmla="*/ 3144 h 10266"/>
                  <a:gd name="connsiteX11" fmla="*/ 10000 w 10000"/>
                  <a:gd name="connsiteY11" fmla="*/ 3213 h 10266"/>
                  <a:gd name="connsiteX12" fmla="*/ 10000 w 10000"/>
                  <a:gd name="connsiteY12" fmla="*/ 3213 h 10266"/>
                  <a:gd name="connsiteX13" fmla="*/ 9849 w 10000"/>
                  <a:gd name="connsiteY13" fmla="*/ 3505 h 10266"/>
                  <a:gd name="connsiteX14" fmla="*/ 9749 w 10000"/>
                  <a:gd name="connsiteY14" fmla="*/ 3602 h 10266"/>
                  <a:gd name="connsiteX15" fmla="*/ 9556 w 10000"/>
                  <a:gd name="connsiteY15" fmla="*/ 3621 h 10266"/>
                  <a:gd name="connsiteX16" fmla="*/ 9406 w 10000"/>
                  <a:gd name="connsiteY16" fmla="*/ 3767 h 10266"/>
                  <a:gd name="connsiteX17" fmla="*/ 9189 w 10000"/>
                  <a:gd name="connsiteY17" fmla="*/ 3962 h 10266"/>
                  <a:gd name="connsiteX18" fmla="*/ 9122 w 10000"/>
                  <a:gd name="connsiteY18" fmla="*/ 4166 h 10266"/>
                  <a:gd name="connsiteX19" fmla="*/ 9097 w 10000"/>
                  <a:gd name="connsiteY19" fmla="*/ 4595 h 10266"/>
                  <a:gd name="connsiteX20" fmla="*/ 8971 w 10000"/>
                  <a:gd name="connsiteY20" fmla="*/ 5013 h 10266"/>
                  <a:gd name="connsiteX21" fmla="*/ 8863 w 10000"/>
                  <a:gd name="connsiteY21" fmla="*/ 5373 h 10266"/>
                  <a:gd name="connsiteX22" fmla="*/ 8946 w 10000"/>
                  <a:gd name="connsiteY22" fmla="*/ 5927 h 10266"/>
                  <a:gd name="connsiteX23" fmla="*/ 8963 w 10000"/>
                  <a:gd name="connsiteY23" fmla="*/ 6025 h 10266"/>
                  <a:gd name="connsiteX24" fmla="*/ 8946 w 10000"/>
                  <a:gd name="connsiteY24" fmla="*/ 6345 h 10266"/>
                  <a:gd name="connsiteX25" fmla="*/ 8829 w 10000"/>
                  <a:gd name="connsiteY25" fmla="*/ 6686 h 10266"/>
                  <a:gd name="connsiteX26" fmla="*/ 8796 w 10000"/>
                  <a:gd name="connsiteY26" fmla="*/ 7163 h 10266"/>
                  <a:gd name="connsiteX27" fmla="*/ 8503 w 10000"/>
                  <a:gd name="connsiteY27" fmla="*/ 7280 h 10266"/>
                  <a:gd name="connsiteX28" fmla="*/ 8344 w 10000"/>
                  <a:gd name="connsiteY28" fmla="*/ 7620 h 10266"/>
                  <a:gd name="connsiteX29" fmla="*/ 8160 w 10000"/>
                  <a:gd name="connsiteY29" fmla="*/ 7931 h 10266"/>
                  <a:gd name="connsiteX30" fmla="*/ 8143 w 10000"/>
                  <a:gd name="connsiteY30" fmla="*/ 8388 h 10266"/>
                  <a:gd name="connsiteX31" fmla="*/ 8093 w 10000"/>
                  <a:gd name="connsiteY31" fmla="*/ 8631 h 10266"/>
                  <a:gd name="connsiteX32" fmla="*/ 7943 w 10000"/>
                  <a:gd name="connsiteY32" fmla="*/ 8583 h 10266"/>
                  <a:gd name="connsiteX33" fmla="*/ 7725 w 10000"/>
                  <a:gd name="connsiteY33" fmla="*/ 8826 h 10266"/>
                  <a:gd name="connsiteX34" fmla="*/ 7725 w 10000"/>
                  <a:gd name="connsiteY34" fmla="*/ 9187 h 10266"/>
                  <a:gd name="connsiteX35" fmla="*/ 7633 w 10000"/>
                  <a:gd name="connsiteY35" fmla="*/ 9536 h 10266"/>
                  <a:gd name="connsiteX36" fmla="*/ 7650 w 10000"/>
                  <a:gd name="connsiteY36" fmla="*/ 9741 h 10266"/>
                  <a:gd name="connsiteX37" fmla="*/ 7642 w 10000"/>
                  <a:gd name="connsiteY37" fmla="*/ 9741 h 10266"/>
                  <a:gd name="connsiteX38" fmla="*/ 7541 w 10000"/>
                  <a:gd name="connsiteY38" fmla="*/ 9721 h 10266"/>
                  <a:gd name="connsiteX39" fmla="*/ 7524 w 10000"/>
                  <a:gd name="connsiteY39" fmla="*/ 9624 h 10266"/>
                  <a:gd name="connsiteX40" fmla="*/ 7508 w 10000"/>
                  <a:gd name="connsiteY40" fmla="*/ 9507 h 10266"/>
                  <a:gd name="connsiteX41" fmla="*/ 7541 w 10000"/>
                  <a:gd name="connsiteY41" fmla="*/ 9273 h 10266"/>
                  <a:gd name="connsiteX42" fmla="*/ 7474 w 10000"/>
                  <a:gd name="connsiteY42" fmla="*/ 9273 h 10266"/>
                  <a:gd name="connsiteX43" fmla="*/ 7340 w 10000"/>
                  <a:gd name="connsiteY43" fmla="*/ 8963 h 10266"/>
                  <a:gd name="connsiteX44" fmla="*/ 7157 w 10000"/>
                  <a:gd name="connsiteY44" fmla="*/ 8865 h 10266"/>
                  <a:gd name="connsiteX45" fmla="*/ 7090 w 10000"/>
                  <a:gd name="connsiteY45" fmla="*/ 8262 h 10266"/>
                  <a:gd name="connsiteX46" fmla="*/ 7140 w 10000"/>
                  <a:gd name="connsiteY46" fmla="*/ 7776 h 10266"/>
                  <a:gd name="connsiteX47" fmla="*/ 6805 w 10000"/>
                  <a:gd name="connsiteY47" fmla="*/ 7776 h 10266"/>
                  <a:gd name="connsiteX48" fmla="*/ 6805 w 10000"/>
                  <a:gd name="connsiteY48" fmla="*/ 7951 h 10266"/>
                  <a:gd name="connsiteX49" fmla="*/ 6454 w 10000"/>
                  <a:gd name="connsiteY49" fmla="*/ 7989 h 10266"/>
                  <a:gd name="connsiteX50" fmla="*/ 6621 w 10000"/>
                  <a:gd name="connsiteY50" fmla="*/ 8184 h 10266"/>
                  <a:gd name="connsiteX51" fmla="*/ 6621 w 10000"/>
                  <a:gd name="connsiteY51" fmla="*/ 8457 h 10266"/>
                  <a:gd name="connsiteX52" fmla="*/ 6688 w 10000"/>
                  <a:gd name="connsiteY52" fmla="*/ 8593 h 10266"/>
                  <a:gd name="connsiteX53" fmla="*/ 6337 w 10000"/>
                  <a:gd name="connsiteY53" fmla="*/ 8924 h 10266"/>
                  <a:gd name="connsiteX54" fmla="*/ 6236 w 10000"/>
                  <a:gd name="connsiteY54" fmla="*/ 9157 h 10266"/>
                  <a:gd name="connsiteX55" fmla="*/ 5885 w 10000"/>
                  <a:gd name="connsiteY55" fmla="*/ 9566 h 10266"/>
                  <a:gd name="connsiteX56" fmla="*/ 5617 w 10000"/>
                  <a:gd name="connsiteY56" fmla="*/ 9546 h 10266"/>
                  <a:gd name="connsiteX57" fmla="*/ 5082 w 10000"/>
                  <a:gd name="connsiteY57" fmla="*/ 9157 h 10266"/>
                  <a:gd name="connsiteX58" fmla="*/ 4865 w 10000"/>
                  <a:gd name="connsiteY58" fmla="*/ 9390 h 10266"/>
                  <a:gd name="connsiteX59" fmla="*/ 4848 w 10000"/>
                  <a:gd name="connsiteY59" fmla="*/ 9566 h 10266"/>
                  <a:gd name="connsiteX60" fmla="*/ 4547 w 10000"/>
                  <a:gd name="connsiteY60" fmla="*/ 9605 h 10266"/>
                  <a:gd name="connsiteX61" fmla="*/ 4520 w 10000"/>
                  <a:gd name="connsiteY61" fmla="*/ 9839 h 10266"/>
                  <a:gd name="connsiteX62" fmla="*/ 3931 w 10000"/>
                  <a:gd name="connsiteY62" fmla="*/ 9842 h 10266"/>
                  <a:gd name="connsiteX63" fmla="*/ 3828 w 10000"/>
                  <a:gd name="connsiteY63" fmla="*/ 9702 h 10266"/>
                  <a:gd name="connsiteX64" fmla="*/ 3243 w 10000"/>
                  <a:gd name="connsiteY64" fmla="*/ 9643 h 10266"/>
                  <a:gd name="connsiteX65" fmla="*/ 3125 w 10000"/>
                  <a:gd name="connsiteY65" fmla="*/ 9760 h 10266"/>
                  <a:gd name="connsiteX66" fmla="*/ 2874 w 10000"/>
                  <a:gd name="connsiteY66" fmla="*/ 9702 h 10266"/>
                  <a:gd name="connsiteX67" fmla="*/ 2774 w 10000"/>
                  <a:gd name="connsiteY67" fmla="*/ 9410 h 10266"/>
                  <a:gd name="connsiteX68" fmla="*/ 2623 w 10000"/>
                  <a:gd name="connsiteY68" fmla="*/ 9254 h 10266"/>
                  <a:gd name="connsiteX69" fmla="*/ 2540 w 10000"/>
                  <a:gd name="connsiteY69" fmla="*/ 9079 h 10266"/>
                  <a:gd name="connsiteX70" fmla="*/ 2054 w 10000"/>
                  <a:gd name="connsiteY70" fmla="*/ 9196 h 10266"/>
                  <a:gd name="connsiteX71" fmla="*/ 1971 w 10000"/>
                  <a:gd name="connsiteY71" fmla="*/ 9468 h 10266"/>
                  <a:gd name="connsiteX72" fmla="*/ 1871 w 10000"/>
                  <a:gd name="connsiteY72" fmla="*/ 9507 h 10266"/>
                  <a:gd name="connsiteX73" fmla="*/ 1871 w 10000"/>
                  <a:gd name="connsiteY73" fmla="*/ 9760 h 10266"/>
                  <a:gd name="connsiteX74" fmla="*/ 1770 w 10000"/>
                  <a:gd name="connsiteY74" fmla="*/ 9799 h 10266"/>
                  <a:gd name="connsiteX75" fmla="*/ 1770 w 10000"/>
                  <a:gd name="connsiteY75" fmla="*/ 9955 h 10266"/>
                  <a:gd name="connsiteX76" fmla="*/ 1770 w 10000"/>
                  <a:gd name="connsiteY76" fmla="*/ 10130 h 10266"/>
                  <a:gd name="connsiteX77" fmla="*/ 1537 w 10000"/>
                  <a:gd name="connsiteY77" fmla="*/ 10266 h 10266"/>
                  <a:gd name="connsiteX78" fmla="*/ 1511 w 10000"/>
                  <a:gd name="connsiteY78" fmla="*/ 10266 h 10266"/>
                  <a:gd name="connsiteX79" fmla="*/ 1461 w 10000"/>
                  <a:gd name="connsiteY79" fmla="*/ 10266 h 10266"/>
                  <a:gd name="connsiteX80" fmla="*/ 1076 w 10000"/>
                  <a:gd name="connsiteY80" fmla="*/ 10227 h 10266"/>
                  <a:gd name="connsiteX81" fmla="*/ 1060 w 10000"/>
                  <a:gd name="connsiteY81" fmla="*/ 10071 h 10266"/>
                  <a:gd name="connsiteX82" fmla="*/ 1160 w 10000"/>
                  <a:gd name="connsiteY82" fmla="*/ 9741 h 10266"/>
                  <a:gd name="connsiteX83" fmla="*/ 1160 w 10000"/>
                  <a:gd name="connsiteY83" fmla="*/ 9410 h 10266"/>
                  <a:gd name="connsiteX84" fmla="*/ 934 w 10000"/>
                  <a:gd name="connsiteY84" fmla="*/ 8982 h 10266"/>
                  <a:gd name="connsiteX85" fmla="*/ 658 w 10000"/>
                  <a:gd name="connsiteY85" fmla="*/ 8631 h 10266"/>
                  <a:gd name="connsiteX86" fmla="*/ 616 w 10000"/>
                  <a:gd name="connsiteY86" fmla="*/ 8622 h 10266"/>
                  <a:gd name="connsiteX87" fmla="*/ 691 w 10000"/>
                  <a:gd name="connsiteY87" fmla="*/ 8515 h 10266"/>
                  <a:gd name="connsiteX88" fmla="*/ 599 w 10000"/>
                  <a:gd name="connsiteY88" fmla="*/ 8262 h 10266"/>
                  <a:gd name="connsiteX89" fmla="*/ 466 w 10000"/>
                  <a:gd name="connsiteY89" fmla="*/ 7960 h 10266"/>
                  <a:gd name="connsiteX90" fmla="*/ 407 w 10000"/>
                  <a:gd name="connsiteY90" fmla="*/ 7805 h 10266"/>
                  <a:gd name="connsiteX91" fmla="*/ 373 w 10000"/>
                  <a:gd name="connsiteY91" fmla="*/ 7416 h 10266"/>
                  <a:gd name="connsiteX92" fmla="*/ 148 w 10000"/>
                  <a:gd name="connsiteY92" fmla="*/ 7376 h 10266"/>
                  <a:gd name="connsiteX93" fmla="*/ 64 w 10000"/>
                  <a:gd name="connsiteY93" fmla="*/ 7056 h 10266"/>
                  <a:gd name="connsiteX94" fmla="*/ 223 w 10000"/>
                  <a:gd name="connsiteY94" fmla="*/ 6754 h 10266"/>
                  <a:gd name="connsiteX95" fmla="*/ 198 w 10000"/>
                  <a:gd name="connsiteY95" fmla="*/ 6443 h 10266"/>
                  <a:gd name="connsiteX96" fmla="*/ 415 w 10000"/>
                  <a:gd name="connsiteY96" fmla="*/ 6229 h 10266"/>
                  <a:gd name="connsiteX97" fmla="*/ 348 w 10000"/>
                  <a:gd name="connsiteY97" fmla="*/ 6082 h 10266"/>
                  <a:gd name="connsiteX98" fmla="*/ 382 w 10000"/>
                  <a:gd name="connsiteY98" fmla="*/ 5908 h 10266"/>
                  <a:gd name="connsiteX99" fmla="*/ 474 w 10000"/>
                  <a:gd name="connsiteY99" fmla="*/ 5772 h 10266"/>
                  <a:gd name="connsiteX100" fmla="*/ 666 w 10000"/>
                  <a:gd name="connsiteY100" fmla="*/ 5411 h 10266"/>
                  <a:gd name="connsiteX101" fmla="*/ 674 w 10000"/>
                  <a:gd name="connsiteY101" fmla="*/ 5197 h 10266"/>
                  <a:gd name="connsiteX102" fmla="*/ 1001 w 10000"/>
                  <a:gd name="connsiteY102" fmla="*/ 5101 h 10266"/>
                  <a:gd name="connsiteX103" fmla="*/ 1269 w 10000"/>
                  <a:gd name="connsiteY103" fmla="*/ 5091 h 10266"/>
                  <a:gd name="connsiteX104" fmla="*/ 1185 w 10000"/>
                  <a:gd name="connsiteY104" fmla="*/ 2357 h 10266"/>
                  <a:gd name="connsiteX105" fmla="*/ 1185 w 10000"/>
                  <a:gd name="connsiteY105" fmla="*/ 2357 h 10266"/>
                  <a:gd name="connsiteX106" fmla="*/ 1176 w 10000"/>
                  <a:gd name="connsiteY106" fmla="*/ 1996 h 10266"/>
                  <a:gd name="connsiteX107" fmla="*/ 1770 w 10000"/>
                  <a:gd name="connsiteY107" fmla="*/ 1987 h 10266"/>
                  <a:gd name="connsiteX108" fmla="*/ 1712 w 10000"/>
                  <a:gd name="connsiteY108" fmla="*/ 537 h 10266"/>
                  <a:gd name="connsiteX109" fmla="*/ 5434 w 10000"/>
                  <a:gd name="connsiteY109" fmla="*/ 430 h 10266"/>
                  <a:gd name="connsiteX110" fmla="*/ 5559 w 10000"/>
                  <a:gd name="connsiteY110" fmla="*/ 304 h 10266"/>
                  <a:gd name="connsiteX111" fmla="*/ 5626 w 10000"/>
                  <a:gd name="connsiteY111" fmla="*/ 430 h 10266"/>
                  <a:gd name="connsiteX112" fmla="*/ 6555 w 10000"/>
                  <a:gd name="connsiteY112" fmla="*/ 392 h 10266"/>
                  <a:gd name="connsiteX113" fmla="*/ 6555 w 10000"/>
                  <a:gd name="connsiteY113" fmla="*/ 392 h 10266"/>
                  <a:gd name="connsiteX114" fmla="*/ 7081 w 10000"/>
                  <a:gd name="connsiteY114" fmla="*/ 372 h 10266"/>
                  <a:gd name="connsiteX115" fmla="*/ 7657 w 10000"/>
                  <a:gd name="connsiteY115" fmla="*/ 96 h 10266"/>
                  <a:gd name="connsiteX116" fmla="*/ 8327 w 10000"/>
                  <a:gd name="connsiteY116" fmla="*/ 6 h 10266"/>
                  <a:gd name="connsiteX117" fmla="*/ 8695 w 10000"/>
                  <a:gd name="connsiteY117" fmla="*/ 304 h 10266"/>
                  <a:gd name="connsiteX118" fmla="*/ 8695 w 10000"/>
                  <a:gd name="connsiteY118" fmla="*/ 304 h 10266"/>
                  <a:gd name="connsiteX119" fmla="*/ 8728 w 10000"/>
                  <a:gd name="connsiteY119" fmla="*/ 411 h 10266"/>
                  <a:gd name="connsiteX120" fmla="*/ 8771 w 10000"/>
                  <a:gd name="connsiteY120" fmla="*/ 654 h 10266"/>
                  <a:gd name="connsiteX121" fmla="*/ 8954 w 10000"/>
                  <a:gd name="connsiteY121" fmla="*/ 878 h 10266"/>
                  <a:gd name="connsiteX122" fmla="*/ 8954 w 10000"/>
                  <a:gd name="connsiteY122" fmla="*/ 956 h 10266"/>
                  <a:gd name="connsiteX0" fmla="*/ 8954 w 10000"/>
                  <a:gd name="connsiteY0" fmla="*/ 1113 h 10423"/>
                  <a:gd name="connsiteX1" fmla="*/ 8996 w 10000"/>
                  <a:gd name="connsiteY1" fmla="*/ 1482 h 10423"/>
                  <a:gd name="connsiteX2" fmla="*/ 9072 w 10000"/>
                  <a:gd name="connsiteY2" fmla="*/ 2134 h 10423"/>
                  <a:gd name="connsiteX3" fmla="*/ 9189 w 10000"/>
                  <a:gd name="connsiteY3" fmla="*/ 2640 h 10423"/>
                  <a:gd name="connsiteX4" fmla="*/ 9272 w 10000"/>
                  <a:gd name="connsiteY4" fmla="*/ 2816 h 10423"/>
                  <a:gd name="connsiteX5" fmla="*/ 9465 w 10000"/>
                  <a:gd name="connsiteY5" fmla="*/ 2922 h 10423"/>
                  <a:gd name="connsiteX6" fmla="*/ 9624 w 10000"/>
                  <a:gd name="connsiteY6" fmla="*/ 3000 h 10423"/>
                  <a:gd name="connsiteX7" fmla="*/ 9699 w 10000"/>
                  <a:gd name="connsiteY7" fmla="*/ 3127 h 10423"/>
                  <a:gd name="connsiteX8" fmla="*/ 9774 w 10000"/>
                  <a:gd name="connsiteY8" fmla="*/ 3165 h 10423"/>
                  <a:gd name="connsiteX9" fmla="*/ 9875 w 10000"/>
                  <a:gd name="connsiteY9" fmla="*/ 3195 h 10423"/>
                  <a:gd name="connsiteX10" fmla="*/ 9917 w 10000"/>
                  <a:gd name="connsiteY10" fmla="*/ 3301 h 10423"/>
                  <a:gd name="connsiteX11" fmla="*/ 10000 w 10000"/>
                  <a:gd name="connsiteY11" fmla="*/ 3370 h 10423"/>
                  <a:gd name="connsiteX12" fmla="*/ 10000 w 10000"/>
                  <a:gd name="connsiteY12" fmla="*/ 3370 h 10423"/>
                  <a:gd name="connsiteX13" fmla="*/ 9849 w 10000"/>
                  <a:gd name="connsiteY13" fmla="*/ 3662 h 10423"/>
                  <a:gd name="connsiteX14" fmla="*/ 9749 w 10000"/>
                  <a:gd name="connsiteY14" fmla="*/ 3759 h 10423"/>
                  <a:gd name="connsiteX15" fmla="*/ 9556 w 10000"/>
                  <a:gd name="connsiteY15" fmla="*/ 3778 h 10423"/>
                  <a:gd name="connsiteX16" fmla="*/ 9406 w 10000"/>
                  <a:gd name="connsiteY16" fmla="*/ 3924 h 10423"/>
                  <a:gd name="connsiteX17" fmla="*/ 9189 w 10000"/>
                  <a:gd name="connsiteY17" fmla="*/ 4119 h 10423"/>
                  <a:gd name="connsiteX18" fmla="*/ 9122 w 10000"/>
                  <a:gd name="connsiteY18" fmla="*/ 4323 h 10423"/>
                  <a:gd name="connsiteX19" fmla="*/ 9097 w 10000"/>
                  <a:gd name="connsiteY19" fmla="*/ 4752 h 10423"/>
                  <a:gd name="connsiteX20" fmla="*/ 8971 w 10000"/>
                  <a:gd name="connsiteY20" fmla="*/ 5170 h 10423"/>
                  <a:gd name="connsiteX21" fmla="*/ 8863 w 10000"/>
                  <a:gd name="connsiteY21" fmla="*/ 5530 h 10423"/>
                  <a:gd name="connsiteX22" fmla="*/ 8946 w 10000"/>
                  <a:gd name="connsiteY22" fmla="*/ 6084 h 10423"/>
                  <a:gd name="connsiteX23" fmla="*/ 8963 w 10000"/>
                  <a:gd name="connsiteY23" fmla="*/ 6182 h 10423"/>
                  <a:gd name="connsiteX24" fmla="*/ 8946 w 10000"/>
                  <a:gd name="connsiteY24" fmla="*/ 6502 h 10423"/>
                  <a:gd name="connsiteX25" fmla="*/ 8829 w 10000"/>
                  <a:gd name="connsiteY25" fmla="*/ 6843 h 10423"/>
                  <a:gd name="connsiteX26" fmla="*/ 8796 w 10000"/>
                  <a:gd name="connsiteY26" fmla="*/ 7320 h 10423"/>
                  <a:gd name="connsiteX27" fmla="*/ 8503 w 10000"/>
                  <a:gd name="connsiteY27" fmla="*/ 7437 h 10423"/>
                  <a:gd name="connsiteX28" fmla="*/ 8344 w 10000"/>
                  <a:gd name="connsiteY28" fmla="*/ 7777 h 10423"/>
                  <a:gd name="connsiteX29" fmla="*/ 8160 w 10000"/>
                  <a:gd name="connsiteY29" fmla="*/ 8088 h 10423"/>
                  <a:gd name="connsiteX30" fmla="*/ 8143 w 10000"/>
                  <a:gd name="connsiteY30" fmla="*/ 8545 h 10423"/>
                  <a:gd name="connsiteX31" fmla="*/ 8093 w 10000"/>
                  <a:gd name="connsiteY31" fmla="*/ 8788 h 10423"/>
                  <a:gd name="connsiteX32" fmla="*/ 7943 w 10000"/>
                  <a:gd name="connsiteY32" fmla="*/ 8740 h 10423"/>
                  <a:gd name="connsiteX33" fmla="*/ 7725 w 10000"/>
                  <a:gd name="connsiteY33" fmla="*/ 8983 h 10423"/>
                  <a:gd name="connsiteX34" fmla="*/ 7725 w 10000"/>
                  <a:gd name="connsiteY34" fmla="*/ 9344 h 10423"/>
                  <a:gd name="connsiteX35" fmla="*/ 7633 w 10000"/>
                  <a:gd name="connsiteY35" fmla="*/ 9693 h 10423"/>
                  <a:gd name="connsiteX36" fmla="*/ 7650 w 10000"/>
                  <a:gd name="connsiteY36" fmla="*/ 9898 h 10423"/>
                  <a:gd name="connsiteX37" fmla="*/ 7642 w 10000"/>
                  <a:gd name="connsiteY37" fmla="*/ 9898 h 10423"/>
                  <a:gd name="connsiteX38" fmla="*/ 7541 w 10000"/>
                  <a:gd name="connsiteY38" fmla="*/ 9878 h 10423"/>
                  <a:gd name="connsiteX39" fmla="*/ 7524 w 10000"/>
                  <a:gd name="connsiteY39" fmla="*/ 9781 h 10423"/>
                  <a:gd name="connsiteX40" fmla="*/ 7508 w 10000"/>
                  <a:gd name="connsiteY40" fmla="*/ 9664 h 10423"/>
                  <a:gd name="connsiteX41" fmla="*/ 7541 w 10000"/>
                  <a:gd name="connsiteY41" fmla="*/ 9430 h 10423"/>
                  <a:gd name="connsiteX42" fmla="*/ 7474 w 10000"/>
                  <a:gd name="connsiteY42" fmla="*/ 9430 h 10423"/>
                  <a:gd name="connsiteX43" fmla="*/ 7340 w 10000"/>
                  <a:gd name="connsiteY43" fmla="*/ 9120 h 10423"/>
                  <a:gd name="connsiteX44" fmla="*/ 7157 w 10000"/>
                  <a:gd name="connsiteY44" fmla="*/ 9022 h 10423"/>
                  <a:gd name="connsiteX45" fmla="*/ 7090 w 10000"/>
                  <a:gd name="connsiteY45" fmla="*/ 8419 h 10423"/>
                  <a:gd name="connsiteX46" fmla="*/ 7140 w 10000"/>
                  <a:gd name="connsiteY46" fmla="*/ 7933 h 10423"/>
                  <a:gd name="connsiteX47" fmla="*/ 6805 w 10000"/>
                  <a:gd name="connsiteY47" fmla="*/ 7933 h 10423"/>
                  <a:gd name="connsiteX48" fmla="*/ 6805 w 10000"/>
                  <a:gd name="connsiteY48" fmla="*/ 8108 h 10423"/>
                  <a:gd name="connsiteX49" fmla="*/ 6454 w 10000"/>
                  <a:gd name="connsiteY49" fmla="*/ 8146 h 10423"/>
                  <a:gd name="connsiteX50" fmla="*/ 6621 w 10000"/>
                  <a:gd name="connsiteY50" fmla="*/ 8341 h 10423"/>
                  <a:gd name="connsiteX51" fmla="*/ 6621 w 10000"/>
                  <a:gd name="connsiteY51" fmla="*/ 8614 h 10423"/>
                  <a:gd name="connsiteX52" fmla="*/ 6688 w 10000"/>
                  <a:gd name="connsiteY52" fmla="*/ 8750 h 10423"/>
                  <a:gd name="connsiteX53" fmla="*/ 6337 w 10000"/>
                  <a:gd name="connsiteY53" fmla="*/ 9081 h 10423"/>
                  <a:gd name="connsiteX54" fmla="*/ 6236 w 10000"/>
                  <a:gd name="connsiteY54" fmla="*/ 9314 h 10423"/>
                  <a:gd name="connsiteX55" fmla="*/ 5885 w 10000"/>
                  <a:gd name="connsiteY55" fmla="*/ 9723 h 10423"/>
                  <a:gd name="connsiteX56" fmla="*/ 5617 w 10000"/>
                  <a:gd name="connsiteY56" fmla="*/ 9703 h 10423"/>
                  <a:gd name="connsiteX57" fmla="*/ 5082 w 10000"/>
                  <a:gd name="connsiteY57" fmla="*/ 9314 h 10423"/>
                  <a:gd name="connsiteX58" fmla="*/ 4865 w 10000"/>
                  <a:gd name="connsiteY58" fmla="*/ 9547 h 10423"/>
                  <a:gd name="connsiteX59" fmla="*/ 4848 w 10000"/>
                  <a:gd name="connsiteY59" fmla="*/ 9723 h 10423"/>
                  <a:gd name="connsiteX60" fmla="*/ 4547 w 10000"/>
                  <a:gd name="connsiteY60" fmla="*/ 9762 h 10423"/>
                  <a:gd name="connsiteX61" fmla="*/ 4520 w 10000"/>
                  <a:gd name="connsiteY61" fmla="*/ 9996 h 10423"/>
                  <a:gd name="connsiteX62" fmla="*/ 3931 w 10000"/>
                  <a:gd name="connsiteY62" fmla="*/ 9999 h 10423"/>
                  <a:gd name="connsiteX63" fmla="*/ 3828 w 10000"/>
                  <a:gd name="connsiteY63" fmla="*/ 9859 h 10423"/>
                  <a:gd name="connsiteX64" fmla="*/ 3243 w 10000"/>
                  <a:gd name="connsiteY64" fmla="*/ 9800 h 10423"/>
                  <a:gd name="connsiteX65" fmla="*/ 3125 w 10000"/>
                  <a:gd name="connsiteY65" fmla="*/ 9917 h 10423"/>
                  <a:gd name="connsiteX66" fmla="*/ 2874 w 10000"/>
                  <a:gd name="connsiteY66" fmla="*/ 9859 h 10423"/>
                  <a:gd name="connsiteX67" fmla="*/ 2774 w 10000"/>
                  <a:gd name="connsiteY67" fmla="*/ 9567 h 10423"/>
                  <a:gd name="connsiteX68" fmla="*/ 2623 w 10000"/>
                  <a:gd name="connsiteY68" fmla="*/ 9411 h 10423"/>
                  <a:gd name="connsiteX69" fmla="*/ 2540 w 10000"/>
                  <a:gd name="connsiteY69" fmla="*/ 9236 h 10423"/>
                  <a:gd name="connsiteX70" fmla="*/ 2054 w 10000"/>
                  <a:gd name="connsiteY70" fmla="*/ 9353 h 10423"/>
                  <a:gd name="connsiteX71" fmla="*/ 1971 w 10000"/>
                  <a:gd name="connsiteY71" fmla="*/ 9625 h 10423"/>
                  <a:gd name="connsiteX72" fmla="*/ 1871 w 10000"/>
                  <a:gd name="connsiteY72" fmla="*/ 9664 h 10423"/>
                  <a:gd name="connsiteX73" fmla="*/ 1871 w 10000"/>
                  <a:gd name="connsiteY73" fmla="*/ 9917 h 10423"/>
                  <a:gd name="connsiteX74" fmla="*/ 1770 w 10000"/>
                  <a:gd name="connsiteY74" fmla="*/ 9956 h 10423"/>
                  <a:gd name="connsiteX75" fmla="*/ 1770 w 10000"/>
                  <a:gd name="connsiteY75" fmla="*/ 10112 h 10423"/>
                  <a:gd name="connsiteX76" fmla="*/ 1770 w 10000"/>
                  <a:gd name="connsiteY76" fmla="*/ 10287 h 10423"/>
                  <a:gd name="connsiteX77" fmla="*/ 1537 w 10000"/>
                  <a:gd name="connsiteY77" fmla="*/ 10423 h 10423"/>
                  <a:gd name="connsiteX78" fmla="*/ 1511 w 10000"/>
                  <a:gd name="connsiteY78" fmla="*/ 10423 h 10423"/>
                  <a:gd name="connsiteX79" fmla="*/ 1461 w 10000"/>
                  <a:gd name="connsiteY79" fmla="*/ 10423 h 10423"/>
                  <a:gd name="connsiteX80" fmla="*/ 1076 w 10000"/>
                  <a:gd name="connsiteY80" fmla="*/ 10384 h 10423"/>
                  <a:gd name="connsiteX81" fmla="*/ 1060 w 10000"/>
                  <a:gd name="connsiteY81" fmla="*/ 10228 h 10423"/>
                  <a:gd name="connsiteX82" fmla="*/ 1160 w 10000"/>
                  <a:gd name="connsiteY82" fmla="*/ 9898 h 10423"/>
                  <a:gd name="connsiteX83" fmla="*/ 1160 w 10000"/>
                  <a:gd name="connsiteY83" fmla="*/ 9567 h 10423"/>
                  <a:gd name="connsiteX84" fmla="*/ 934 w 10000"/>
                  <a:gd name="connsiteY84" fmla="*/ 9139 h 10423"/>
                  <a:gd name="connsiteX85" fmla="*/ 658 w 10000"/>
                  <a:gd name="connsiteY85" fmla="*/ 8788 h 10423"/>
                  <a:gd name="connsiteX86" fmla="*/ 616 w 10000"/>
                  <a:gd name="connsiteY86" fmla="*/ 8779 h 10423"/>
                  <a:gd name="connsiteX87" fmla="*/ 691 w 10000"/>
                  <a:gd name="connsiteY87" fmla="*/ 8672 h 10423"/>
                  <a:gd name="connsiteX88" fmla="*/ 599 w 10000"/>
                  <a:gd name="connsiteY88" fmla="*/ 8419 h 10423"/>
                  <a:gd name="connsiteX89" fmla="*/ 466 w 10000"/>
                  <a:gd name="connsiteY89" fmla="*/ 8117 h 10423"/>
                  <a:gd name="connsiteX90" fmla="*/ 407 w 10000"/>
                  <a:gd name="connsiteY90" fmla="*/ 7962 h 10423"/>
                  <a:gd name="connsiteX91" fmla="*/ 373 w 10000"/>
                  <a:gd name="connsiteY91" fmla="*/ 7573 h 10423"/>
                  <a:gd name="connsiteX92" fmla="*/ 148 w 10000"/>
                  <a:gd name="connsiteY92" fmla="*/ 7533 h 10423"/>
                  <a:gd name="connsiteX93" fmla="*/ 64 w 10000"/>
                  <a:gd name="connsiteY93" fmla="*/ 7213 h 10423"/>
                  <a:gd name="connsiteX94" fmla="*/ 223 w 10000"/>
                  <a:gd name="connsiteY94" fmla="*/ 6911 h 10423"/>
                  <a:gd name="connsiteX95" fmla="*/ 198 w 10000"/>
                  <a:gd name="connsiteY95" fmla="*/ 6600 h 10423"/>
                  <a:gd name="connsiteX96" fmla="*/ 415 w 10000"/>
                  <a:gd name="connsiteY96" fmla="*/ 6386 h 10423"/>
                  <a:gd name="connsiteX97" fmla="*/ 348 w 10000"/>
                  <a:gd name="connsiteY97" fmla="*/ 6239 h 10423"/>
                  <a:gd name="connsiteX98" fmla="*/ 382 w 10000"/>
                  <a:gd name="connsiteY98" fmla="*/ 6065 h 10423"/>
                  <a:gd name="connsiteX99" fmla="*/ 474 w 10000"/>
                  <a:gd name="connsiteY99" fmla="*/ 5929 h 10423"/>
                  <a:gd name="connsiteX100" fmla="*/ 666 w 10000"/>
                  <a:gd name="connsiteY100" fmla="*/ 5568 h 10423"/>
                  <a:gd name="connsiteX101" fmla="*/ 674 w 10000"/>
                  <a:gd name="connsiteY101" fmla="*/ 5354 h 10423"/>
                  <a:gd name="connsiteX102" fmla="*/ 1001 w 10000"/>
                  <a:gd name="connsiteY102" fmla="*/ 5258 h 10423"/>
                  <a:gd name="connsiteX103" fmla="*/ 1269 w 10000"/>
                  <a:gd name="connsiteY103" fmla="*/ 5248 h 10423"/>
                  <a:gd name="connsiteX104" fmla="*/ 1185 w 10000"/>
                  <a:gd name="connsiteY104" fmla="*/ 2514 h 10423"/>
                  <a:gd name="connsiteX105" fmla="*/ 1185 w 10000"/>
                  <a:gd name="connsiteY105" fmla="*/ 2514 h 10423"/>
                  <a:gd name="connsiteX106" fmla="*/ 1176 w 10000"/>
                  <a:gd name="connsiteY106" fmla="*/ 2153 h 10423"/>
                  <a:gd name="connsiteX107" fmla="*/ 1770 w 10000"/>
                  <a:gd name="connsiteY107" fmla="*/ 2144 h 10423"/>
                  <a:gd name="connsiteX108" fmla="*/ 1712 w 10000"/>
                  <a:gd name="connsiteY108" fmla="*/ 694 h 10423"/>
                  <a:gd name="connsiteX109" fmla="*/ 5434 w 10000"/>
                  <a:gd name="connsiteY109" fmla="*/ 587 h 10423"/>
                  <a:gd name="connsiteX110" fmla="*/ 5559 w 10000"/>
                  <a:gd name="connsiteY110" fmla="*/ 461 h 10423"/>
                  <a:gd name="connsiteX111" fmla="*/ 5626 w 10000"/>
                  <a:gd name="connsiteY111" fmla="*/ 587 h 10423"/>
                  <a:gd name="connsiteX112" fmla="*/ 6555 w 10000"/>
                  <a:gd name="connsiteY112" fmla="*/ 549 h 10423"/>
                  <a:gd name="connsiteX113" fmla="*/ 6555 w 10000"/>
                  <a:gd name="connsiteY113" fmla="*/ 549 h 10423"/>
                  <a:gd name="connsiteX114" fmla="*/ 7081 w 10000"/>
                  <a:gd name="connsiteY114" fmla="*/ 529 h 10423"/>
                  <a:gd name="connsiteX115" fmla="*/ 7657 w 10000"/>
                  <a:gd name="connsiteY115" fmla="*/ 253 h 10423"/>
                  <a:gd name="connsiteX116" fmla="*/ 8327 w 10000"/>
                  <a:gd name="connsiteY116" fmla="*/ 163 h 10423"/>
                  <a:gd name="connsiteX117" fmla="*/ 8695 w 10000"/>
                  <a:gd name="connsiteY117" fmla="*/ 461 h 10423"/>
                  <a:gd name="connsiteX118" fmla="*/ 8695 w 10000"/>
                  <a:gd name="connsiteY118" fmla="*/ 461 h 10423"/>
                  <a:gd name="connsiteX119" fmla="*/ 8728 w 10000"/>
                  <a:gd name="connsiteY119" fmla="*/ 568 h 10423"/>
                  <a:gd name="connsiteX120" fmla="*/ 8771 w 10000"/>
                  <a:gd name="connsiteY120" fmla="*/ 811 h 10423"/>
                  <a:gd name="connsiteX121" fmla="*/ 8954 w 10000"/>
                  <a:gd name="connsiteY121" fmla="*/ 1035 h 10423"/>
                  <a:gd name="connsiteX122" fmla="*/ 8954 w 10000"/>
                  <a:gd name="connsiteY122" fmla="*/ 1113 h 10423"/>
                  <a:gd name="connsiteX0" fmla="*/ 8954 w 10000"/>
                  <a:gd name="connsiteY0" fmla="*/ 1161 h 10471"/>
                  <a:gd name="connsiteX1" fmla="*/ 8996 w 10000"/>
                  <a:gd name="connsiteY1" fmla="*/ 1530 h 10471"/>
                  <a:gd name="connsiteX2" fmla="*/ 9072 w 10000"/>
                  <a:gd name="connsiteY2" fmla="*/ 2182 h 10471"/>
                  <a:gd name="connsiteX3" fmla="*/ 9189 w 10000"/>
                  <a:gd name="connsiteY3" fmla="*/ 2688 h 10471"/>
                  <a:gd name="connsiteX4" fmla="*/ 9272 w 10000"/>
                  <a:gd name="connsiteY4" fmla="*/ 2864 h 10471"/>
                  <a:gd name="connsiteX5" fmla="*/ 9465 w 10000"/>
                  <a:gd name="connsiteY5" fmla="*/ 2970 h 10471"/>
                  <a:gd name="connsiteX6" fmla="*/ 9624 w 10000"/>
                  <a:gd name="connsiteY6" fmla="*/ 3048 h 10471"/>
                  <a:gd name="connsiteX7" fmla="*/ 9699 w 10000"/>
                  <a:gd name="connsiteY7" fmla="*/ 3175 h 10471"/>
                  <a:gd name="connsiteX8" fmla="*/ 9774 w 10000"/>
                  <a:gd name="connsiteY8" fmla="*/ 3213 h 10471"/>
                  <a:gd name="connsiteX9" fmla="*/ 9875 w 10000"/>
                  <a:gd name="connsiteY9" fmla="*/ 3243 h 10471"/>
                  <a:gd name="connsiteX10" fmla="*/ 9917 w 10000"/>
                  <a:gd name="connsiteY10" fmla="*/ 3349 h 10471"/>
                  <a:gd name="connsiteX11" fmla="*/ 10000 w 10000"/>
                  <a:gd name="connsiteY11" fmla="*/ 3418 h 10471"/>
                  <a:gd name="connsiteX12" fmla="*/ 10000 w 10000"/>
                  <a:gd name="connsiteY12" fmla="*/ 3418 h 10471"/>
                  <a:gd name="connsiteX13" fmla="*/ 9849 w 10000"/>
                  <a:gd name="connsiteY13" fmla="*/ 3710 h 10471"/>
                  <a:gd name="connsiteX14" fmla="*/ 9749 w 10000"/>
                  <a:gd name="connsiteY14" fmla="*/ 3807 h 10471"/>
                  <a:gd name="connsiteX15" fmla="*/ 9556 w 10000"/>
                  <a:gd name="connsiteY15" fmla="*/ 3826 h 10471"/>
                  <a:gd name="connsiteX16" fmla="*/ 9406 w 10000"/>
                  <a:gd name="connsiteY16" fmla="*/ 3972 h 10471"/>
                  <a:gd name="connsiteX17" fmla="*/ 9189 w 10000"/>
                  <a:gd name="connsiteY17" fmla="*/ 4167 h 10471"/>
                  <a:gd name="connsiteX18" fmla="*/ 9122 w 10000"/>
                  <a:gd name="connsiteY18" fmla="*/ 4371 h 10471"/>
                  <a:gd name="connsiteX19" fmla="*/ 9097 w 10000"/>
                  <a:gd name="connsiteY19" fmla="*/ 4800 h 10471"/>
                  <a:gd name="connsiteX20" fmla="*/ 8971 w 10000"/>
                  <a:gd name="connsiteY20" fmla="*/ 5218 h 10471"/>
                  <a:gd name="connsiteX21" fmla="*/ 8863 w 10000"/>
                  <a:gd name="connsiteY21" fmla="*/ 5578 h 10471"/>
                  <a:gd name="connsiteX22" fmla="*/ 8946 w 10000"/>
                  <a:gd name="connsiteY22" fmla="*/ 6132 h 10471"/>
                  <a:gd name="connsiteX23" fmla="*/ 8963 w 10000"/>
                  <a:gd name="connsiteY23" fmla="*/ 6230 h 10471"/>
                  <a:gd name="connsiteX24" fmla="*/ 8946 w 10000"/>
                  <a:gd name="connsiteY24" fmla="*/ 6550 h 10471"/>
                  <a:gd name="connsiteX25" fmla="*/ 8829 w 10000"/>
                  <a:gd name="connsiteY25" fmla="*/ 6891 h 10471"/>
                  <a:gd name="connsiteX26" fmla="*/ 8796 w 10000"/>
                  <a:gd name="connsiteY26" fmla="*/ 7368 h 10471"/>
                  <a:gd name="connsiteX27" fmla="*/ 8503 w 10000"/>
                  <a:gd name="connsiteY27" fmla="*/ 7485 h 10471"/>
                  <a:gd name="connsiteX28" fmla="*/ 8344 w 10000"/>
                  <a:gd name="connsiteY28" fmla="*/ 7825 h 10471"/>
                  <a:gd name="connsiteX29" fmla="*/ 8160 w 10000"/>
                  <a:gd name="connsiteY29" fmla="*/ 8136 h 10471"/>
                  <a:gd name="connsiteX30" fmla="*/ 8143 w 10000"/>
                  <a:gd name="connsiteY30" fmla="*/ 8593 h 10471"/>
                  <a:gd name="connsiteX31" fmla="*/ 8093 w 10000"/>
                  <a:gd name="connsiteY31" fmla="*/ 8836 h 10471"/>
                  <a:gd name="connsiteX32" fmla="*/ 7943 w 10000"/>
                  <a:gd name="connsiteY32" fmla="*/ 8788 h 10471"/>
                  <a:gd name="connsiteX33" fmla="*/ 7725 w 10000"/>
                  <a:gd name="connsiteY33" fmla="*/ 9031 h 10471"/>
                  <a:gd name="connsiteX34" fmla="*/ 7725 w 10000"/>
                  <a:gd name="connsiteY34" fmla="*/ 9392 h 10471"/>
                  <a:gd name="connsiteX35" fmla="*/ 7633 w 10000"/>
                  <a:gd name="connsiteY35" fmla="*/ 9741 h 10471"/>
                  <a:gd name="connsiteX36" fmla="*/ 7650 w 10000"/>
                  <a:gd name="connsiteY36" fmla="*/ 9946 h 10471"/>
                  <a:gd name="connsiteX37" fmla="*/ 7642 w 10000"/>
                  <a:gd name="connsiteY37" fmla="*/ 9946 h 10471"/>
                  <a:gd name="connsiteX38" fmla="*/ 7541 w 10000"/>
                  <a:gd name="connsiteY38" fmla="*/ 9926 h 10471"/>
                  <a:gd name="connsiteX39" fmla="*/ 7524 w 10000"/>
                  <a:gd name="connsiteY39" fmla="*/ 9829 h 10471"/>
                  <a:gd name="connsiteX40" fmla="*/ 7508 w 10000"/>
                  <a:gd name="connsiteY40" fmla="*/ 9712 h 10471"/>
                  <a:gd name="connsiteX41" fmla="*/ 7541 w 10000"/>
                  <a:gd name="connsiteY41" fmla="*/ 9478 h 10471"/>
                  <a:gd name="connsiteX42" fmla="*/ 7474 w 10000"/>
                  <a:gd name="connsiteY42" fmla="*/ 9478 h 10471"/>
                  <a:gd name="connsiteX43" fmla="*/ 7340 w 10000"/>
                  <a:gd name="connsiteY43" fmla="*/ 9168 h 10471"/>
                  <a:gd name="connsiteX44" fmla="*/ 7157 w 10000"/>
                  <a:gd name="connsiteY44" fmla="*/ 9070 h 10471"/>
                  <a:gd name="connsiteX45" fmla="*/ 7090 w 10000"/>
                  <a:gd name="connsiteY45" fmla="*/ 8467 h 10471"/>
                  <a:gd name="connsiteX46" fmla="*/ 7140 w 10000"/>
                  <a:gd name="connsiteY46" fmla="*/ 7981 h 10471"/>
                  <a:gd name="connsiteX47" fmla="*/ 6805 w 10000"/>
                  <a:gd name="connsiteY47" fmla="*/ 7981 h 10471"/>
                  <a:gd name="connsiteX48" fmla="*/ 6805 w 10000"/>
                  <a:gd name="connsiteY48" fmla="*/ 8156 h 10471"/>
                  <a:gd name="connsiteX49" fmla="*/ 6454 w 10000"/>
                  <a:gd name="connsiteY49" fmla="*/ 8194 h 10471"/>
                  <a:gd name="connsiteX50" fmla="*/ 6621 w 10000"/>
                  <a:gd name="connsiteY50" fmla="*/ 8389 h 10471"/>
                  <a:gd name="connsiteX51" fmla="*/ 6621 w 10000"/>
                  <a:gd name="connsiteY51" fmla="*/ 8662 h 10471"/>
                  <a:gd name="connsiteX52" fmla="*/ 6688 w 10000"/>
                  <a:gd name="connsiteY52" fmla="*/ 8798 h 10471"/>
                  <a:gd name="connsiteX53" fmla="*/ 6337 w 10000"/>
                  <a:gd name="connsiteY53" fmla="*/ 9129 h 10471"/>
                  <a:gd name="connsiteX54" fmla="*/ 6236 w 10000"/>
                  <a:gd name="connsiteY54" fmla="*/ 9362 h 10471"/>
                  <a:gd name="connsiteX55" fmla="*/ 5885 w 10000"/>
                  <a:gd name="connsiteY55" fmla="*/ 9771 h 10471"/>
                  <a:gd name="connsiteX56" fmla="*/ 5617 w 10000"/>
                  <a:gd name="connsiteY56" fmla="*/ 9751 h 10471"/>
                  <a:gd name="connsiteX57" fmla="*/ 5082 w 10000"/>
                  <a:gd name="connsiteY57" fmla="*/ 9362 h 10471"/>
                  <a:gd name="connsiteX58" fmla="*/ 4865 w 10000"/>
                  <a:gd name="connsiteY58" fmla="*/ 9595 h 10471"/>
                  <a:gd name="connsiteX59" fmla="*/ 4848 w 10000"/>
                  <a:gd name="connsiteY59" fmla="*/ 9771 h 10471"/>
                  <a:gd name="connsiteX60" fmla="*/ 4547 w 10000"/>
                  <a:gd name="connsiteY60" fmla="*/ 9810 h 10471"/>
                  <a:gd name="connsiteX61" fmla="*/ 4520 w 10000"/>
                  <a:gd name="connsiteY61" fmla="*/ 10044 h 10471"/>
                  <a:gd name="connsiteX62" fmla="*/ 3931 w 10000"/>
                  <a:gd name="connsiteY62" fmla="*/ 10047 h 10471"/>
                  <a:gd name="connsiteX63" fmla="*/ 3828 w 10000"/>
                  <a:gd name="connsiteY63" fmla="*/ 9907 h 10471"/>
                  <a:gd name="connsiteX64" fmla="*/ 3243 w 10000"/>
                  <a:gd name="connsiteY64" fmla="*/ 9848 h 10471"/>
                  <a:gd name="connsiteX65" fmla="*/ 3125 w 10000"/>
                  <a:gd name="connsiteY65" fmla="*/ 9965 h 10471"/>
                  <a:gd name="connsiteX66" fmla="*/ 2874 w 10000"/>
                  <a:gd name="connsiteY66" fmla="*/ 9907 h 10471"/>
                  <a:gd name="connsiteX67" fmla="*/ 2774 w 10000"/>
                  <a:gd name="connsiteY67" fmla="*/ 9615 h 10471"/>
                  <a:gd name="connsiteX68" fmla="*/ 2623 w 10000"/>
                  <a:gd name="connsiteY68" fmla="*/ 9459 h 10471"/>
                  <a:gd name="connsiteX69" fmla="*/ 2540 w 10000"/>
                  <a:gd name="connsiteY69" fmla="*/ 9284 h 10471"/>
                  <a:gd name="connsiteX70" fmla="*/ 2054 w 10000"/>
                  <a:gd name="connsiteY70" fmla="*/ 9401 h 10471"/>
                  <a:gd name="connsiteX71" fmla="*/ 1971 w 10000"/>
                  <a:gd name="connsiteY71" fmla="*/ 9673 h 10471"/>
                  <a:gd name="connsiteX72" fmla="*/ 1871 w 10000"/>
                  <a:gd name="connsiteY72" fmla="*/ 9712 h 10471"/>
                  <a:gd name="connsiteX73" fmla="*/ 1871 w 10000"/>
                  <a:gd name="connsiteY73" fmla="*/ 9965 h 10471"/>
                  <a:gd name="connsiteX74" fmla="*/ 1770 w 10000"/>
                  <a:gd name="connsiteY74" fmla="*/ 10004 h 10471"/>
                  <a:gd name="connsiteX75" fmla="*/ 1770 w 10000"/>
                  <a:gd name="connsiteY75" fmla="*/ 10160 h 10471"/>
                  <a:gd name="connsiteX76" fmla="*/ 1770 w 10000"/>
                  <a:gd name="connsiteY76" fmla="*/ 10335 h 10471"/>
                  <a:gd name="connsiteX77" fmla="*/ 1537 w 10000"/>
                  <a:gd name="connsiteY77" fmla="*/ 10471 h 10471"/>
                  <a:gd name="connsiteX78" fmla="*/ 1511 w 10000"/>
                  <a:gd name="connsiteY78" fmla="*/ 10471 h 10471"/>
                  <a:gd name="connsiteX79" fmla="*/ 1461 w 10000"/>
                  <a:gd name="connsiteY79" fmla="*/ 10471 h 10471"/>
                  <a:gd name="connsiteX80" fmla="*/ 1076 w 10000"/>
                  <a:gd name="connsiteY80" fmla="*/ 10432 h 10471"/>
                  <a:gd name="connsiteX81" fmla="*/ 1060 w 10000"/>
                  <a:gd name="connsiteY81" fmla="*/ 10276 h 10471"/>
                  <a:gd name="connsiteX82" fmla="*/ 1160 w 10000"/>
                  <a:gd name="connsiteY82" fmla="*/ 9946 h 10471"/>
                  <a:gd name="connsiteX83" fmla="*/ 1160 w 10000"/>
                  <a:gd name="connsiteY83" fmla="*/ 9615 h 10471"/>
                  <a:gd name="connsiteX84" fmla="*/ 934 w 10000"/>
                  <a:gd name="connsiteY84" fmla="*/ 9187 h 10471"/>
                  <a:gd name="connsiteX85" fmla="*/ 658 w 10000"/>
                  <a:gd name="connsiteY85" fmla="*/ 8836 h 10471"/>
                  <a:gd name="connsiteX86" fmla="*/ 616 w 10000"/>
                  <a:gd name="connsiteY86" fmla="*/ 8827 h 10471"/>
                  <a:gd name="connsiteX87" fmla="*/ 691 w 10000"/>
                  <a:gd name="connsiteY87" fmla="*/ 8720 h 10471"/>
                  <a:gd name="connsiteX88" fmla="*/ 599 w 10000"/>
                  <a:gd name="connsiteY88" fmla="*/ 8467 h 10471"/>
                  <a:gd name="connsiteX89" fmla="*/ 466 w 10000"/>
                  <a:gd name="connsiteY89" fmla="*/ 8165 h 10471"/>
                  <a:gd name="connsiteX90" fmla="*/ 407 w 10000"/>
                  <a:gd name="connsiteY90" fmla="*/ 8010 h 10471"/>
                  <a:gd name="connsiteX91" fmla="*/ 373 w 10000"/>
                  <a:gd name="connsiteY91" fmla="*/ 7621 h 10471"/>
                  <a:gd name="connsiteX92" fmla="*/ 148 w 10000"/>
                  <a:gd name="connsiteY92" fmla="*/ 7581 h 10471"/>
                  <a:gd name="connsiteX93" fmla="*/ 64 w 10000"/>
                  <a:gd name="connsiteY93" fmla="*/ 7261 h 10471"/>
                  <a:gd name="connsiteX94" fmla="*/ 223 w 10000"/>
                  <a:gd name="connsiteY94" fmla="*/ 6959 h 10471"/>
                  <a:gd name="connsiteX95" fmla="*/ 198 w 10000"/>
                  <a:gd name="connsiteY95" fmla="*/ 6648 h 10471"/>
                  <a:gd name="connsiteX96" fmla="*/ 415 w 10000"/>
                  <a:gd name="connsiteY96" fmla="*/ 6434 h 10471"/>
                  <a:gd name="connsiteX97" fmla="*/ 348 w 10000"/>
                  <a:gd name="connsiteY97" fmla="*/ 6287 h 10471"/>
                  <a:gd name="connsiteX98" fmla="*/ 382 w 10000"/>
                  <a:gd name="connsiteY98" fmla="*/ 6113 h 10471"/>
                  <a:gd name="connsiteX99" fmla="*/ 474 w 10000"/>
                  <a:gd name="connsiteY99" fmla="*/ 5977 h 10471"/>
                  <a:gd name="connsiteX100" fmla="*/ 666 w 10000"/>
                  <a:gd name="connsiteY100" fmla="*/ 5616 h 10471"/>
                  <a:gd name="connsiteX101" fmla="*/ 674 w 10000"/>
                  <a:gd name="connsiteY101" fmla="*/ 5402 h 10471"/>
                  <a:gd name="connsiteX102" fmla="*/ 1001 w 10000"/>
                  <a:gd name="connsiteY102" fmla="*/ 5306 h 10471"/>
                  <a:gd name="connsiteX103" fmla="*/ 1269 w 10000"/>
                  <a:gd name="connsiteY103" fmla="*/ 5296 h 10471"/>
                  <a:gd name="connsiteX104" fmla="*/ 1185 w 10000"/>
                  <a:gd name="connsiteY104" fmla="*/ 2562 h 10471"/>
                  <a:gd name="connsiteX105" fmla="*/ 1185 w 10000"/>
                  <a:gd name="connsiteY105" fmla="*/ 2562 h 10471"/>
                  <a:gd name="connsiteX106" fmla="*/ 1176 w 10000"/>
                  <a:gd name="connsiteY106" fmla="*/ 2201 h 10471"/>
                  <a:gd name="connsiteX107" fmla="*/ 1770 w 10000"/>
                  <a:gd name="connsiteY107" fmla="*/ 2192 h 10471"/>
                  <a:gd name="connsiteX108" fmla="*/ 1712 w 10000"/>
                  <a:gd name="connsiteY108" fmla="*/ 742 h 10471"/>
                  <a:gd name="connsiteX109" fmla="*/ 5434 w 10000"/>
                  <a:gd name="connsiteY109" fmla="*/ 635 h 10471"/>
                  <a:gd name="connsiteX110" fmla="*/ 5559 w 10000"/>
                  <a:gd name="connsiteY110" fmla="*/ 509 h 10471"/>
                  <a:gd name="connsiteX111" fmla="*/ 5626 w 10000"/>
                  <a:gd name="connsiteY111" fmla="*/ 635 h 10471"/>
                  <a:gd name="connsiteX112" fmla="*/ 6555 w 10000"/>
                  <a:gd name="connsiteY112" fmla="*/ 597 h 10471"/>
                  <a:gd name="connsiteX113" fmla="*/ 6555 w 10000"/>
                  <a:gd name="connsiteY113" fmla="*/ 597 h 10471"/>
                  <a:gd name="connsiteX114" fmla="*/ 7081 w 10000"/>
                  <a:gd name="connsiteY114" fmla="*/ 577 h 10471"/>
                  <a:gd name="connsiteX115" fmla="*/ 7657 w 10000"/>
                  <a:gd name="connsiteY115" fmla="*/ 301 h 10471"/>
                  <a:gd name="connsiteX116" fmla="*/ 7837 w 10000"/>
                  <a:gd name="connsiteY116" fmla="*/ 1 h 10471"/>
                  <a:gd name="connsiteX117" fmla="*/ 8327 w 10000"/>
                  <a:gd name="connsiteY117" fmla="*/ 211 h 10471"/>
                  <a:gd name="connsiteX118" fmla="*/ 8695 w 10000"/>
                  <a:gd name="connsiteY118" fmla="*/ 509 h 10471"/>
                  <a:gd name="connsiteX119" fmla="*/ 8695 w 10000"/>
                  <a:gd name="connsiteY119" fmla="*/ 509 h 10471"/>
                  <a:gd name="connsiteX120" fmla="*/ 8728 w 10000"/>
                  <a:gd name="connsiteY120" fmla="*/ 616 h 10471"/>
                  <a:gd name="connsiteX121" fmla="*/ 8771 w 10000"/>
                  <a:gd name="connsiteY121" fmla="*/ 859 h 10471"/>
                  <a:gd name="connsiteX122" fmla="*/ 8954 w 10000"/>
                  <a:gd name="connsiteY122" fmla="*/ 1083 h 10471"/>
                  <a:gd name="connsiteX123" fmla="*/ 8954 w 10000"/>
                  <a:gd name="connsiteY123" fmla="*/ 1161 h 10471"/>
                  <a:gd name="connsiteX0" fmla="*/ 8954 w 10000"/>
                  <a:gd name="connsiteY0" fmla="*/ 1315 h 10625"/>
                  <a:gd name="connsiteX1" fmla="*/ 8996 w 10000"/>
                  <a:gd name="connsiteY1" fmla="*/ 1684 h 10625"/>
                  <a:gd name="connsiteX2" fmla="*/ 9072 w 10000"/>
                  <a:gd name="connsiteY2" fmla="*/ 2336 h 10625"/>
                  <a:gd name="connsiteX3" fmla="*/ 9189 w 10000"/>
                  <a:gd name="connsiteY3" fmla="*/ 2842 h 10625"/>
                  <a:gd name="connsiteX4" fmla="*/ 9272 w 10000"/>
                  <a:gd name="connsiteY4" fmla="*/ 3018 h 10625"/>
                  <a:gd name="connsiteX5" fmla="*/ 9465 w 10000"/>
                  <a:gd name="connsiteY5" fmla="*/ 3124 h 10625"/>
                  <a:gd name="connsiteX6" fmla="*/ 9624 w 10000"/>
                  <a:gd name="connsiteY6" fmla="*/ 3202 h 10625"/>
                  <a:gd name="connsiteX7" fmla="*/ 9699 w 10000"/>
                  <a:gd name="connsiteY7" fmla="*/ 3329 h 10625"/>
                  <a:gd name="connsiteX8" fmla="*/ 9774 w 10000"/>
                  <a:gd name="connsiteY8" fmla="*/ 3367 h 10625"/>
                  <a:gd name="connsiteX9" fmla="*/ 9875 w 10000"/>
                  <a:gd name="connsiteY9" fmla="*/ 3397 h 10625"/>
                  <a:gd name="connsiteX10" fmla="*/ 9917 w 10000"/>
                  <a:gd name="connsiteY10" fmla="*/ 3503 h 10625"/>
                  <a:gd name="connsiteX11" fmla="*/ 10000 w 10000"/>
                  <a:gd name="connsiteY11" fmla="*/ 3572 h 10625"/>
                  <a:gd name="connsiteX12" fmla="*/ 10000 w 10000"/>
                  <a:gd name="connsiteY12" fmla="*/ 3572 h 10625"/>
                  <a:gd name="connsiteX13" fmla="*/ 9849 w 10000"/>
                  <a:gd name="connsiteY13" fmla="*/ 3864 h 10625"/>
                  <a:gd name="connsiteX14" fmla="*/ 9749 w 10000"/>
                  <a:gd name="connsiteY14" fmla="*/ 3961 h 10625"/>
                  <a:gd name="connsiteX15" fmla="*/ 9556 w 10000"/>
                  <a:gd name="connsiteY15" fmla="*/ 3980 h 10625"/>
                  <a:gd name="connsiteX16" fmla="*/ 9406 w 10000"/>
                  <a:gd name="connsiteY16" fmla="*/ 4126 h 10625"/>
                  <a:gd name="connsiteX17" fmla="*/ 9189 w 10000"/>
                  <a:gd name="connsiteY17" fmla="*/ 4321 h 10625"/>
                  <a:gd name="connsiteX18" fmla="*/ 9122 w 10000"/>
                  <a:gd name="connsiteY18" fmla="*/ 4525 h 10625"/>
                  <a:gd name="connsiteX19" fmla="*/ 9097 w 10000"/>
                  <a:gd name="connsiteY19" fmla="*/ 4954 h 10625"/>
                  <a:gd name="connsiteX20" fmla="*/ 8971 w 10000"/>
                  <a:gd name="connsiteY20" fmla="*/ 5372 h 10625"/>
                  <a:gd name="connsiteX21" fmla="*/ 8863 w 10000"/>
                  <a:gd name="connsiteY21" fmla="*/ 5732 h 10625"/>
                  <a:gd name="connsiteX22" fmla="*/ 8946 w 10000"/>
                  <a:gd name="connsiteY22" fmla="*/ 6286 h 10625"/>
                  <a:gd name="connsiteX23" fmla="*/ 8963 w 10000"/>
                  <a:gd name="connsiteY23" fmla="*/ 6384 h 10625"/>
                  <a:gd name="connsiteX24" fmla="*/ 8946 w 10000"/>
                  <a:gd name="connsiteY24" fmla="*/ 6704 h 10625"/>
                  <a:gd name="connsiteX25" fmla="*/ 8829 w 10000"/>
                  <a:gd name="connsiteY25" fmla="*/ 7045 h 10625"/>
                  <a:gd name="connsiteX26" fmla="*/ 8796 w 10000"/>
                  <a:gd name="connsiteY26" fmla="*/ 7522 h 10625"/>
                  <a:gd name="connsiteX27" fmla="*/ 8503 w 10000"/>
                  <a:gd name="connsiteY27" fmla="*/ 7639 h 10625"/>
                  <a:gd name="connsiteX28" fmla="*/ 8344 w 10000"/>
                  <a:gd name="connsiteY28" fmla="*/ 7979 h 10625"/>
                  <a:gd name="connsiteX29" fmla="*/ 8160 w 10000"/>
                  <a:gd name="connsiteY29" fmla="*/ 8290 h 10625"/>
                  <a:gd name="connsiteX30" fmla="*/ 8143 w 10000"/>
                  <a:gd name="connsiteY30" fmla="*/ 8747 h 10625"/>
                  <a:gd name="connsiteX31" fmla="*/ 8093 w 10000"/>
                  <a:gd name="connsiteY31" fmla="*/ 8990 h 10625"/>
                  <a:gd name="connsiteX32" fmla="*/ 7943 w 10000"/>
                  <a:gd name="connsiteY32" fmla="*/ 8942 h 10625"/>
                  <a:gd name="connsiteX33" fmla="*/ 7725 w 10000"/>
                  <a:gd name="connsiteY33" fmla="*/ 9185 h 10625"/>
                  <a:gd name="connsiteX34" fmla="*/ 7725 w 10000"/>
                  <a:gd name="connsiteY34" fmla="*/ 9546 h 10625"/>
                  <a:gd name="connsiteX35" fmla="*/ 7633 w 10000"/>
                  <a:gd name="connsiteY35" fmla="*/ 9895 h 10625"/>
                  <a:gd name="connsiteX36" fmla="*/ 7650 w 10000"/>
                  <a:gd name="connsiteY36" fmla="*/ 10100 h 10625"/>
                  <a:gd name="connsiteX37" fmla="*/ 7642 w 10000"/>
                  <a:gd name="connsiteY37" fmla="*/ 10100 h 10625"/>
                  <a:gd name="connsiteX38" fmla="*/ 7541 w 10000"/>
                  <a:gd name="connsiteY38" fmla="*/ 10080 h 10625"/>
                  <a:gd name="connsiteX39" fmla="*/ 7524 w 10000"/>
                  <a:gd name="connsiteY39" fmla="*/ 9983 h 10625"/>
                  <a:gd name="connsiteX40" fmla="*/ 7508 w 10000"/>
                  <a:gd name="connsiteY40" fmla="*/ 9866 h 10625"/>
                  <a:gd name="connsiteX41" fmla="*/ 7541 w 10000"/>
                  <a:gd name="connsiteY41" fmla="*/ 9632 h 10625"/>
                  <a:gd name="connsiteX42" fmla="*/ 7474 w 10000"/>
                  <a:gd name="connsiteY42" fmla="*/ 9632 h 10625"/>
                  <a:gd name="connsiteX43" fmla="*/ 7340 w 10000"/>
                  <a:gd name="connsiteY43" fmla="*/ 9322 h 10625"/>
                  <a:gd name="connsiteX44" fmla="*/ 7157 w 10000"/>
                  <a:gd name="connsiteY44" fmla="*/ 9224 h 10625"/>
                  <a:gd name="connsiteX45" fmla="*/ 7090 w 10000"/>
                  <a:gd name="connsiteY45" fmla="*/ 8621 h 10625"/>
                  <a:gd name="connsiteX46" fmla="*/ 7140 w 10000"/>
                  <a:gd name="connsiteY46" fmla="*/ 8135 h 10625"/>
                  <a:gd name="connsiteX47" fmla="*/ 6805 w 10000"/>
                  <a:gd name="connsiteY47" fmla="*/ 8135 h 10625"/>
                  <a:gd name="connsiteX48" fmla="*/ 6805 w 10000"/>
                  <a:gd name="connsiteY48" fmla="*/ 8310 h 10625"/>
                  <a:gd name="connsiteX49" fmla="*/ 6454 w 10000"/>
                  <a:gd name="connsiteY49" fmla="*/ 8348 h 10625"/>
                  <a:gd name="connsiteX50" fmla="*/ 6621 w 10000"/>
                  <a:gd name="connsiteY50" fmla="*/ 8543 h 10625"/>
                  <a:gd name="connsiteX51" fmla="*/ 6621 w 10000"/>
                  <a:gd name="connsiteY51" fmla="*/ 8816 h 10625"/>
                  <a:gd name="connsiteX52" fmla="*/ 6688 w 10000"/>
                  <a:gd name="connsiteY52" fmla="*/ 8952 h 10625"/>
                  <a:gd name="connsiteX53" fmla="*/ 6337 w 10000"/>
                  <a:gd name="connsiteY53" fmla="*/ 9283 h 10625"/>
                  <a:gd name="connsiteX54" fmla="*/ 6236 w 10000"/>
                  <a:gd name="connsiteY54" fmla="*/ 9516 h 10625"/>
                  <a:gd name="connsiteX55" fmla="*/ 5885 w 10000"/>
                  <a:gd name="connsiteY55" fmla="*/ 9925 h 10625"/>
                  <a:gd name="connsiteX56" fmla="*/ 5617 w 10000"/>
                  <a:gd name="connsiteY56" fmla="*/ 9905 h 10625"/>
                  <a:gd name="connsiteX57" fmla="*/ 5082 w 10000"/>
                  <a:gd name="connsiteY57" fmla="*/ 9516 h 10625"/>
                  <a:gd name="connsiteX58" fmla="*/ 4865 w 10000"/>
                  <a:gd name="connsiteY58" fmla="*/ 9749 h 10625"/>
                  <a:gd name="connsiteX59" fmla="*/ 4848 w 10000"/>
                  <a:gd name="connsiteY59" fmla="*/ 9925 h 10625"/>
                  <a:gd name="connsiteX60" fmla="*/ 4547 w 10000"/>
                  <a:gd name="connsiteY60" fmla="*/ 9964 h 10625"/>
                  <a:gd name="connsiteX61" fmla="*/ 4520 w 10000"/>
                  <a:gd name="connsiteY61" fmla="*/ 10198 h 10625"/>
                  <a:gd name="connsiteX62" fmla="*/ 3931 w 10000"/>
                  <a:gd name="connsiteY62" fmla="*/ 10201 h 10625"/>
                  <a:gd name="connsiteX63" fmla="*/ 3828 w 10000"/>
                  <a:gd name="connsiteY63" fmla="*/ 10061 h 10625"/>
                  <a:gd name="connsiteX64" fmla="*/ 3243 w 10000"/>
                  <a:gd name="connsiteY64" fmla="*/ 10002 h 10625"/>
                  <a:gd name="connsiteX65" fmla="*/ 3125 w 10000"/>
                  <a:gd name="connsiteY65" fmla="*/ 10119 h 10625"/>
                  <a:gd name="connsiteX66" fmla="*/ 2874 w 10000"/>
                  <a:gd name="connsiteY66" fmla="*/ 10061 h 10625"/>
                  <a:gd name="connsiteX67" fmla="*/ 2774 w 10000"/>
                  <a:gd name="connsiteY67" fmla="*/ 9769 h 10625"/>
                  <a:gd name="connsiteX68" fmla="*/ 2623 w 10000"/>
                  <a:gd name="connsiteY68" fmla="*/ 9613 h 10625"/>
                  <a:gd name="connsiteX69" fmla="*/ 2540 w 10000"/>
                  <a:gd name="connsiteY69" fmla="*/ 9438 h 10625"/>
                  <a:gd name="connsiteX70" fmla="*/ 2054 w 10000"/>
                  <a:gd name="connsiteY70" fmla="*/ 9555 h 10625"/>
                  <a:gd name="connsiteX71" fmla="*/ 1971 w 10000"/>
                  <a:gd name="connsiteY71" fmla="*/ 9827 h 10625"/>
                  <a:gd name="connsiteX72" fmla="*/ 1871 w 10000"/>
                  <a:gd name="connsiteY72" fmla="*/ 9866 h 10625"/>
                  <a:gd name="connsiteX73" fmla="*/ 1871 w 10000"/>
                  <a:gd name="connsiteY73" fmla="*/ 10119 h 10625"/>
                  <a:gd name="connsiteX74" fmla="*/ 1770 w 10000"/>
                  <a:gd name="connsiteY74" fmla="*/ 10158 h 10625"/>
                  <a:gd name="connsiteX75" fmla="*/ 1770 w 10000"/>
                  <a:gd name="connsiteY75" fmla="*/ 10314 h 10625"/>
                  <a:gd name="connsiteX76" fmla="*/ 1770 w 10000"/>
                  <a:gd name="connsiteY76" fmla="*/ 10489 h 10625"/>
                  <a:gd name="connsiteX77" fmla="*/ 1537 w 10000"/>
                  <a:gd name="connsiteY77" fmla="*/ 10625 h 10625"/>
                  <a:gd name="connsiteX78" fmla="*/ 1511 w 10000"/>
                  <a:gd name="connsiteY78" fmla="*/ 10625 h 10625"/>
                  <a:gd name="connsiteX79" fmla="*/ 1461 w 10000"/>
                  <a:gd name="connsiteY79" fmla="*/ 10625 h 10625"/>
                  <a:gd name="connsiteX80" fmla="*/ 1076 w 10000"/>
                  <a:gd name="connsiteY80" fmla="*/ 10586 h 10625"/>
                  <a:gd name="connsiteX81" fmla="*/ 1060 w 10000"/>
                  <a:gd name="connsiteY81" fmla="*/ 10430 h 10625"/>
                  <a:gd name="connsiteX82" fmla="*/ 1160 w 10000"/>
                  <a:gd name="connsiteY82" fmla="*/ 10100 h 10625"/>
                  <a:gd name="connsiteX83" fmla="*/ 1160 w 10000"/>
                  <a:gd name="connsiteY83" fmla="*/ 9769 h 10625"/>
                  <a:gd name="connsiteX84" fmla="*/ 934 w 10000"/>
                  <a:gd name="connsiteY84" fmla="*/ 9341 h 10625"/>
                  <a:gd name="connsiteX85" fmla="*/ 658 w 10000"/>
                  <a:gd name="connsiteY85" fmla="*/ 8990 h 10625"/>
                  <a:gd name="connsiteX86" fmla="*/ 616 w 10000"/>
                  <a:gd name="connsiteY86" fmla="*/ 8981 h 10625"/>
                  <a:gd name="connsiteX87" fmla="*/ 691 w 10000"/>
                  <a:gd name="connsiteY87" fmla="*/ 8874 h 10625"/>
                  <a:gd name="connsiteX88" fmla="*/ 599 w 10000"/>
                  <a:gd name="connsiteY88" fmla="*/ 8621 h 10625"/>
                  <a:gd name="connsiteX89" fmla="*/ 466 w 10000"/>
                  <a:gd name="connsiteY89" fmla="*/ 8319 h 10625"/>
                  <a:gd name="connsiteX90" fmla="*/ 407 w 10000"/>
                  <a:gd name="connsiteY90" fmla="*/ 8164 h 10625"/>
                  <a:gd name="connsiteX91" fmla="*/ 373 w 10000"/>
                  <a:gd name="connsiteY91" fmla="*/ 7775 h 10625"/>
                  <a:gd name="connsiteX92" fmla="*/ 148 w 10000"/>
                  <a:gd name="connsiteY92" fmla="*/ 7735 h 10625"/>
                  <a:gd name="connsiteX93" fmla="*/ 64 w 10000"/>
                  <a:gd name="connsiteY93" fmla="*/ 7415 h 10625"/>
                  <a:gd name="connsiteX94" fmla="*/ 223 w 10000"/>
                  <a:gd name="connsiteY94" fmla="*/ 7113 h 10625"/>
                  <a:gd name="connsiteX95" fmla="*/ 198 w 10000"/>
                  <a:gd name="connsiteY95" fmla="*/ 6802 h 10625"/>
                  <a:gd name="connsiteX96" fmla="*/ 415 w 10000"/>
                  <a:gd name="connsiteY96" fmla="*/ 6588 h 10625"/>
                  <a:gd name="connsiteX97" fmla="*/ 348 w 10000"/>
                  <a:gd name="connsiteY97" fmla="*/ 6441 h 10625"/>
                  <a:gd name="connsiteX98" fmla="*/ 382 w 10000"/>
                  <a:gd name="connsiteY98" fmla="*/ 6267 h 10625"/>
                  <a:gd name="connsiteX99" fmla="*/ 474 w 10000"/>
                  <a:gd name="connsiteY99" fmla="*/ 6131 h 10625"/>
                  <a:gd name="connsiteX100" fmla="*/ 666 w 10000"/>
                  <a:gd name="connsiteY100" fmla="*/ 5770 h 10625"/>
                  <a:gd name="connsiteX101" fmla="*/ 674 w 10000"/>
                  <a:gd name="connsiteY101" fmla="*/ 5556 h 10625"/>
                  <a:gd name="connsiteX102" fmla="*/ 1001 w 10000"/>
                  <a:gd name="connsiteY102" fmla="*/ 5460 h 10625"/>
                  <a:gd name="connsiteX103" fmla="*/ 1269 w 10000"/>
                  <a:gd name="connsiteY103" fmla="*/ 5450 h 10625"/>
                  <a:gd name="connsiteX104" fmla="*/ 1185 w 10000"/>
                  <a:gd name="connsiteY104" fmla="*/ 2716 h 10625"/>
                  <a:gd name="connsiteX105" fmla="*/ 1185 w 10000"/>
                  <a:gd name="connsiteY105" fmla="*/ 2716 h 10625"/>
                  <a:gd name="connsiteX106" fmla="*/ 1176 w 10000"/>
                  <a:gd name="connsiteY106" fmla="*/ 2355 h 10625"/>
                  <a:gd name="connsiteX107" fmla="*/ 1770 w 10000"/>
                  <a:gd name="connsiteY107" fmla="*/ 2346 h 10625"/>
                  <a:gd name="connsiteX108" fmla="*/ 1712 w 10000"/>
                  <a:gd name="connsiteY108" fmla="*/ 896 h 10625"/>
                  <a:gd name="connsiteX109" fmla="*/ 5434 w 10000"/>
                  <a:gd name="connsiteY109" fmla="*/ 789 h 10625"/>
                  <a:gd name="connsiteX110" fmla="*/ 5559 w 10000"/>
                  <a:gd name="connsiteY110" fmla="*/ 663 h 10625"/>
                  <a:gd name="connsiteX111" fmla="*/ 5626 w 10000"/>
                  <a:gd name="connsiteY111" fmla="*/ 789 h 10625"/>
                  <a:gd name="connsiteX112" fmla="*/ 6555 w 10000"/>
                  <a:gd name="connsiteY112" fmla="*/ 751 h 10625"/>
                  <a:gd name="connsiteX113" fmla="*/ 6555 w 10000"/>
                  <a:gd name="connsiteY113" fmla="*/ 751 h 10625"/>
                  <a:gd name="connsiteX114" fmla="*/ 7081 w 10000"/>
                  <a:gd name="connsiteY114" fmla="*/ 731 h 10625"/>
                  <a:gd name="connsiteX115" fmla="*/ 7657 w 10000"/>
                  <a:gd name="connsiteY115" fmla="*/ 455 h 10625"/>
                  <a:gd name="connsiteX116" fmla="*/ 7837 w 10000"/>
                  <a:gd name="connsiteY116" fmla="*/ 155 h 10625"/>
                  <a:gd name="connsiteX117" fmla="*/ 8044 w 10000"/>
                  <a:gd name="connsiteY117" fmla="*/ 5 h 10625"/>
                  <a:gd name="connsiteX118" fmla="*/ 8327 w 10000"/>
                  <a:gd name="connsiteY118" fmla="*/ 365 h 10625"/>
                  <a:gd name="connsiteX119" fmla="*/ 8695 w 10000"/>
                  <a:gd name="connsiteY119" fmla="*/ 663 h 10625"/>
                  <a:gd name="connsiteX120" fmla="*/ 8695 w 10000"/>
                  <a:gd name="connsiteY120" fmla="*/ 663 h 10625"/>
                  <a:gd name="connsiteX121" fmla="*/ 8728 w 10000"/>
                  <a:gd name="connsiteY121" fmla="*/ 770 h 10625"/>
                  <a:gd name="connsiteX122" fmla="*/ 8771 w 10000"/>
                  <a:gd name="connsiteY122" fmla="*/ 1013 h 10625"/>
                  <a:gd name="connsiteX123" fmla="*/ 8954 w 10000"/>
                  <a:gd name="connsiteY123" fmla="*/ 1237 h 10625"/>
                  <a:gd name="connsiteX124" fmla="*/ 8954 w 10000"/>
                  <a:gd name="connsiteY124" fmla="*/ 1315 h 10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10000" h="10625">
                    <a:moveTo>
                      <a:pt x="8954" y="1315"/>
                    </a:moveTo>
                    <a:cubicBezTo>
                      <a:pt x="8963" y="1431"/>
                      <a:pt x="8979" y="1558"/>
                      <a:pt x="8996" y="1684"/>
                    </a:cubicBezTo>
                    <a:cubicBezTo>
                      <a:pt x="9039" y="1899"/>
                      <a:pt x="9030" y="2123"/>
                      <a:pt x="9072" y="2336"/>
                    </a:cubicBezTo>
                    <a:cubicBezTo>
                      <a:pt x="9097" y="2512"/>
                      <a:pt x="9139" y="2677"/>
                      <a:pt x="9189" y="2842"/>
                    </a:cubicBezTo>
                    <a:cubicBezTo>
                      <a:pt x="9197" y="2911"/>
                      <a:pt x="9239" y="2968"/>
                      <a:pt x="9272" y="3018"/>
                    </a:cubicBezTo>
                    <a:cubicBezTo>
                      <a:pt x="9331" y="3076"/>
                      <a:pt x="9406" y="3095"/>
                      <a:pt x="9465" y="3124"/>
                    </a:cubicBezTo>
                    <a:cubicBezTo>
                      <a:pt x="9515" y="3164"/>
                      <a:pt x="9591" y="3144"/>
                      <a:pt x="9624" y="3202"/>
                    </a:cubicBezTo>
                    <a:cubicBezTo>
                      <a:pt x="9674" y="3221"/>
                      <a:pt x="9682" y="3280"/>
                      <a:pt x="9699" y="3329"/>
                    </a:cubicBezTo>
                    <a:cubicBezTo>
                      <a:pt x="9707" y="3367"/>
                      <a:pt x="9732" y="3407"/>
                      <a:pt x="9774" y="3367"/>
                    </a:cubicBezTo>
                    <a:cubicBezTo>
                      <a:pt x="9807" y="3358"/>
                      <a:pt x="9824" y="3426"/>
                      <a:pt x="9875" y="3397"/>
                    </a:cubicBezTo>
                    <a:cubicBezTo>
                      <a:pt x="9892" y="3416"/>
                      <a:pt x="9892" y="3474"/>
                      <a:pt x="9917" y="3503"/>
                    </a:cubicBezTo>
                    <a:cubicBezTo>
                      <a:pt x="9950" y="3503"/>
                      <a:pt x="9983" y="3533"/>
                      <a:pt x="10000" y="3572"/>
                    </a:cubicBezTo>
                    <a:lnTo>
                      <a:pt x="10000" y="3572"/>
                    </a:lnTo>
                    <a:cubicBezTo>
                      <a:pt x="9908" y="3640"/>
                      <a:pt x="9925" y="3786"/>
                      <a:pt x="9849" y="3864"/>
                    </a:cubicBezTo>
                    <a:cubicBezTo>
                      <a:pt x="9841" y="3971"/>
                      <a:pt x="9749" y="3864"/>
                      <a:pt x="9749" y="3961"/>
                    </a:cubicBezTo>
                    <a:cubicBezTo>
                      <a:pt x="9691" y="3844"/>
                      <a:pt x="9641" y="4059"/>
                      <a:pt x="9556" y="3980"/>
                    </a:cubicBezTo>
                    <a:cubicBezTo>
                      <a:pt x="9548" y="4097"/>
                      <a:pt x="9406" y="4030"/>
                      <a:pt x="9406" y="4126"/>
                    </a:cubicBezTo>
                    <a:cubicBezTo>
                      <a:pt x="9440" y="4302"/>
                      <a:pt x="9289" y="4331"/>
                      <a:pt x="9189" y="4321"/>
                    </a:cubicBezTo>
                    <a:cubicBezTo>
                      <a:pt x="9047" y="4224"/>
                      <a:pt x="9139" y="4448"/>
                      <a:pt x="9122" y="4525"/>
                    </a:cubicBezTo>
                    <a:cubicBezTo>
                      <a:pt x="8988" y="4651"/>
                      <a:pt x="9189" y="4817"/>
                      <a:pt x="9097" y="4954"/>
                    </a:cubicBezTo>
                    <a:cubicBezTo>
                      <a:pt x="9072" y="5099"/>
                      <a:pt x="9004" y="5236"/>
                      <a:pt x="8971" y="5372"/>
                    </a:cubicBezTo>
                    <a:cubicBezTo>
                      <a:pt x="8963" y="5498"/>
                      <a:pt x="8954" y="5644"/>
                      <a:pt x="8863" y="5732"/>
                    </a:cubicBezTo>
                    <a:cubicBezTo>
                      <a:pt x="8896" y="5916"/>
                      <a:pt x="8913" y="6102"/>
                      <a:pt x="8946" y="6286"/>
                    </a:cubicBezTo>
                    <a:cubicBezTo>
                      <a:pt x="8963" y="6315"/>
                      <a:pt x="8963" y="6355"/>
                      <a:pt x="8963" y="6384"/>
                    </a:cubicBezTo>
                    <a:cubicBezTo>
                      <a:pt x="8954" y="6491"/>
                      <a:pt x="8904" y="6598"/>
                      <a:pt x="8946" y="6704"/>
                    </a:cubicBezTo>
                    <a:cubicBezTo>
                      <a:pt x="8921" y="6831"/>
                      <a:pt x="8904" y="6947"/>
                      <a:pt x="8829" y="7045"/>
                    </a:cubicBezTo>
                    <a:cubicBezTo>
                      <a:pt x="8796" y="7200"/>
                      <a:pt x="8771" y="7357"/>
                      <a:pt x="8796" y="7522"/>
                    </a:cubicBezTo>
                    <a:cubicBezTo>
                      <a:pt x="8720" y="7580"/>
                      <a:pt x="8553" y="7512"/>
                      <a:pt x="8503" y="7639"/>
                    </a:cubicBezTo>
                    <a:cubicBezTo>
                      <a:pt x="8427" y="7735"/>
                      <a:pt x="8402" y="7872"/>
                      <a:pt x="8344" y="7979"/>
                    </a:cubicBezTo>
                    <a:cubicBezTo>
                      <a:pt x="8344" y="8135"/>
                      <a:pt x="8176" y="8154"/>
                      <a:pt x="8160" y="8290"/>
                    </a:cubicBezTo>
                    <a:cubicBezTo>
                      <a:pt x="8236" y="8446"/>
                      <a:pt x="8085" y="8582"/>
                      <a:pt x="8143" y="8747"/>
                    </a:cubicBezTo>
                    <a:cubicBezTo>
                      <a:pt x="8085" y="8825"/>
                      <a:pt x="8176" y="8923"/>
                      <a:pt x="8093" y="8990"/>
                    </a:cubicBezTo>
                    <a:cubicBezTo>
                      <a:pt x="8035" y="9117"/>
                      <a:pt x="8010" y="8990"/>
                      <a:pt x="7943" y="8942"/>
                    </a:cubicBezTo>
                    <a:cubicBezTo>
                      <a:pt x="7825" y="8893"/>
                      <a:pt x="7784" y="9088"/>
                      <a:pt x="7725" y="9185"/>
                    </a:cubicBezTo>
                    <a:cubicBezTo>
                      <a:pt x="7750" y="9302"/>
                      <a:pt x="7809" y="9438"/>
                      <a:pt x="7725" y="9546"/>
                    </a:cubicBezTo>
                    <a:cubicBezTo>
                      <a:pt x="7684" y="9652"/>
                      <a:pt x="7659" y="9778"/>
                      <a:pt x="7633" y="9895"/>
                    </a:cubicBezTo>
                    <a:cubicBezTo>
                      <a:pt x="7633" y="9964"/>
                      <a:pt x="7642" y="10031"/>
                      <a:pt x="7650" y="10100"/>
                    </a:cubicBezTo>
                    <a:lnTo>
                      <a:pt x="7642" y="10100"/>
                    </a:lnTo>
                    <a:lnTo>
                      <a:pt x="7541" y="10080"/>
                    </a:lnTo>
                    <a:cubicBezTo>
                      <a:pt x="7535" y="10048"/>
                      <a:pt x="7530" y="10015"/>
                      <a:pt x="7524" y="9983"/>
                    </a:cubicBezTo>
                    <a:cubicBezTo>
                      <a:pt x="7519" y="9944"/>
                      <a:pt x="7513" y="9905"/>
                      <a:pt x="7508" y="9866"/>
                    </a:cubicBezTo>
                    <a:lnTo>
                      <a:pt x="7541" y="9632"/>
                    </a:lnTo>
                    <a:lnTo>
                      <a:pt x="7474" y="9632"/>
                    </a:lnTo>
                    <a:cubicBezTo>
                      <a:pt x="7429" y="9529"/>
                      <a:pt x="7385" y="9425"/>
                      <a:pt x="7340" y="9322"/>
                    </a:cubicBezTo>
                    <a:lnTo>
                      <a:pt x="7157" y="9224"/>
                    </a:lnTo>
                    <a:cubicBezTo>
                      <a:pt x="7135" y="9023"/>
                      <a:pt x="7112" y="8822"/>
                      <a:pt x="7090" y="8621"/>
                    </a:cubicBezTo>
                    <a:cubicBezTo>
                      <a:pt x="7107" y="8459"/>
                      <a:pt x="7123" y="8297"/>
                      <a:pt x="7140" y="8135"/>
                    </a:cubicBezTo>
                    <a:lnTo>
                      <a:pt x="6805" y="8135"/>
                    </a:lnTo>
                    <a:lnTo>
                      <a:pt x="6805" y="8310"/>
                    </a:lnTo>
                    <a:lnTo>
                      <a:pt x="6454" y="8348"/>
                    </a:lnTo>
                    <a:lnTo>
                      <a:pt x="6621" y="8543"/>
                    </a:lnTo>
                    <a:lnTo>
                      <a:pt x="6621" y="8816"/>
                    </a:lnTo>
                    <a:cubicBezTo>
                      <a:pt x="6643" y="8861"/>
                      <a:pt x="6666" y="8907"/>
                      <a:pt x="6688" y="8952"/>
                    </a:cubicBezTo>
                    <a:lnTo>
                      <a:pt x="6337" y="9283"/>
                    </a:lnTo>
                    <a:cubicBezTo>
                      <a:pt x="6303" y="9361"/>
                      <a:pt x="6270" y="9438"/>
                      <a:pt x="6236" y="9516"/>
                    </a:cubicBezTo>
                    <a:lnTo>
                      <a:pt x="5885" y="9925"/>
                    </a:lnTo>
                    <a:lnTo>
                      <a:pt x="5617" y="9905"/>
                    </a:lnTo>
                    <a:lnTo>
                      <a:pt x="5082" y="9516"/>
                    </a:lnTo>
                    <a:lnTo>
                      <a:pt x="4865" y="9749"/>
                    </a:lnTo>
                    <a:cubicBezTo>
                      <a:pt x="4859" y="9808"/>
                      <a:pt x="4854" y="9866"/>
                      <a:pt x="4848" y="9925"/>
                    </a:cubicBezTo>
                    <a:cubicBezTo>
                      <a:pt x="4748" y="9938"/>
                      <a:pt x="4602" y="9919"/>
                      <a:pt x="4547" y="9964"/>
                    </a:cubicBezTo>
                    <a:cubicBezTo>
                      <a:pt x="4492" y="10009"/>
                      <a:pt x="4623" y="10159"/>
                      <a:pt x="4520" y="10198"/>
                    </a:cubicBezTo>
                    <a:cubicBezTo>
                      <a:pt x="4417" y="10237"/>
                      <a:pt x="4046" y="10224"/>
                      <a:pt x="3931" y="10201"/>
                    </a:cubicBezTo>
                    <a:cubicBezTo>
                      <a:pt x="3816" y="10178"/>
                      <a:pt x="3943" y="10094"/>
                      <a:pt x="3828" y="10061"/>
                    </a:cubicBezTo>
                    <a:cubicBezTo>
                      <a:pt x="3713" y="10028"/>
                      <a:pt x="3438" y="10022"/>
                      <a:pt x="3243" y="10002"/>
                    </a:cubicBezTo>
                    <a:lnTo>
                      <a:pt x="3125" y="10119"/>
                    </a:lnTo>
                    <a:lnTo>
                      <a:pt x="2874" y="10061"/>
                    </a:lnTo>
                    <a:cubicBezTo>
                      <a:pt x="2841" y="9964"/>
                      <a:pt x="2807" y="9866"/>
                      <a:pt x="2774" y="9769"/>
                    </a:cubicBezTo>
                    <a:lnTo>
                      <a:pt x="2623" y="9613"/>
                    </a:lnTo>
                    <a:cubicBezTo>
                      <a:pt x="2595" y="9555"/>
                      <a:pt x="2568" y="9496"/>
                      <a:pt x="2540" y="9438"/>
                    </a:cubicBezTo>
                    <a:lnTo>
                      <a:pt x="2054" y="9555"/>
                    </a:lnTo>
                    <a:cubicBezTo>
                      <a:pt x="2026" y="9646"/>
                      <a:pt x="1999" y="9736"/>
                      <a:pt x="1971" y="9827"/>
                    </a:cubicBezTo>
                    <a:lnTo>
                      <a:pt x="1871" y="9866"/>
                    </a:lnTo>
                    <a:lnTo>
                      <a:pt x="1871" y="10119"/>
                    </a:lnTo>
                    <a:lnTo>
                      <a:pt x="1770" y="10158"/>
                    </a:lnTo>
                    <a:lnTo>
                      <a:pt x="1770" y="10314"/>
                    </a:lnTo>
                    <a:lnTo>
                      <a:pt x="1770" y="10489"/>
                    </a:lnTo>
                    <a:lnTo>
                      <a:pt x="1537" y="10625"/>
                    </a:lnTo>
                    <a:lnTo>
                      <a:pt x="1511" y="10625"/>
                    </a:lnTo>
                    <a:lnTo>
                      <a:pt x="1461" y="10625"/>
                    </a:lnTo>
                    <a:cubicBezTo>
                      <a:pt x="1336" y="10596"/>
                      <a:pt x="1176" y="10625"/>
                      <a:pt x="1076" y="10586"/>
                    </a:cubicBezTo>
                    <a:cubicBezTo>
                      <a:pt x="1035" y="10625"/>
                      <a:pt x="1201" y="10382"/>
                      <a:pt x="1060" y="10430"/>
                    </a:cubicBezTo>
                    <a:cubicBezTo>
                      <a:pt x="967" y="10284"/>
                      <a:pt x="1210" y="10255"/>
                      <a:pt x="1160" y="10100"/>
                    </a:cubicBezTo>
                    <a:cubicBezTo>
                      <a:pt x="1126" y="9983"/>
                      <a:pt x="1210" y="9885"/>
                      <a:pt x="1160" y="9769"/>
                    </a:cubicBezTo>
                    <a:cubicBezTo>
                      <a:pt x="1085" y="9623"/>
                      <a:pt x="1018" y="9477"/>
                      <a:pt x="934" y="9341"/>
                    </a:cubicBezTo>
                    <a:cubicBezTo>
                      <a:pt x="842" y="9224"/>
                      <a:pt x="709" y="9146"/>
                      <a:pt x="658" y="8990"/>
                    </a:cubicBezTo>
                    <a:lnTo>
                      <a:pt x="616" y="8981"/>
                    </a:lnTo>
                    <a:cubicBezTo>
                      <a:pt x="658" y="8981"/>
                      <a:pt x="691" y="8961"/>
                      <a:pt x="691" y="8874"/>
                    </a:cubicBezTo>
                    <a:cubicBezTo>
                      <a:pt x="734" y="8767"/>
                      <a:pt x="717" y="8611"/>
                      <a:pt x="599" y="8621"/>
                    </a:cubicBezTo>
                    <a:cubicBezTo>
                      <a:pt x="499" y="8563"/>
                      <a:pt x="415" y="8465"/>
                      <a:pt x="466" y="8319"/>
                    </a:cubicBezTo>
                    <a:cubicBezTo>
                      <a:pt x="466" y="8241"/>
                      <a:pt x="533" y="8095"/>
                      <a:pt x="407" y="8164"/>
                    </a:cubicBezTo>
                    <a:cubicBezTo>
                      <a:pt x="433" y="8047"/>
                      <a:pt x="298" y="7901"/>
                      <a:pt x="373" y="7775"/>
                    </a:cubicBezTo>
                    <a:cubicBezTo>
                      <a:pt x="323" y="7687"/>
                      <a:pt x="215" y="7648"/>
                      <a:pt x="148" y="7735"/>
                    </a:cubicBezTo>
                    <a:cubicBezTo>
                      <a:pt x="-36" y="7784"/>
                      <a:pt x="-28" y="7522"/>
                      <a:pt x="64" y="7415"/>
                    </a:cubicBezTo>
                    <a:cubicBezTo>
                      <a:pt x="148" y="7346"/>
                      <a:pt x="323" y="7250"/>
                      <a:pt x="223" y="7113"/>
                    </a:cubicBezTo>
                    <a:cubicBezTo>
                      <a:pt x="198" y="7006"/>
                      <a:pt x="81" y="6889"/>
                      <a:pt x="198" y="6802"/>
                    </a:cubicBezTo>
                    <a:cubicBezTo>
                      <a:pt x="257" y="6704"/>
                      <a:pt x="407" y="6714"/>
                      <a:pt x="415" y="6588"/>
                    </a:cubicBezTo>
                    <a:cubicBezTo>
                      <a:pt x="365" y="6568"/>
                      <a:pt x="323" y="6520"/>
                      <a:pt x="348" y="6441"/>
                    </a:cubicBezTo>
                    <a:cubicBezTo>
                      <a:pt x="315" y="6374"/>
                      <a:pt x="273" y="6286"/>
                      <a:pt x="382" y="6267"/>
                    </a:cubicBezTo>
                    <a:cubicBezTo>
                      <a:pt x="458" y="6267"/>
                      <a:pt x="508" y="6218"/>
                      <a:pt x="474" y="6131"/>
                    </a:cubicBezTo>
                    <a:cubicBezTo>
                      <a:pt x="508" y="5985"/>
                      <a:pt x="674" y="5935"/>
                      <a:pt x="666" y="5770"/>
                    </a:cubicBezTo>
                    <a:cubicBezTo>
                      <a:pt x="666" y="5693"/>
                      <a:pt x="566" y="5605"/>
                      <a:pt x="674" y="5556"/>
                    </a:cubicBezTo>
                    <a:cubicBezTo>
                      <a:pt x="759" y="5420"/>
                      <a:pt x="900" y="5556"/>
                      <a:pt x="1001" y="5460"/>
                    </a:cubicBezTo>
                    <a:cubicBezTo>
                      <a:pt x="1093" y="5401"/>
                      <a:pt x="1218" y="5517"/>
                      <a:pt x="1269" y="5450"/>
                    </a:cubicBezTo>
                    <a:cubicBezTo>
                      <a:pt x="1252" y="4730"/>
                      <a:pt x="1210" y="3445"/>
                      <a:pt x="1185" y="2716"/>
                    </a:cubicBezTo>
                    <a:lnTo>
                      <a:pt x="1185" y="2716"/>
                    </a:lnTo>
                    <a:cubicBezTo>
                      <a:pt x="1185" y="2667"/>
                      <a:pt x="1176" y="2443"/>
                      <a:pt x="1176" y="2355"/>
                    </a:cubicBezTo>
                    <a:cubicBezTo>
                      <a:pt x="1369" y="2346"/>
                      <a:pt x="1578" y="2346"/>
                      <a:pt x="1770" y="2346"/>
                    </a:cubicBezTo>
                    <a:cubicBezTo>
                      <a:pt x="1753" y="1860"/>
                      <a:pt x="1737" y="1373"/>
                      <a:pt x="1712" y="896"/>
                    </a:cubicBezTo>
                    <a:lnTo>
                      <a:pt x="5434" y="789"/>
                    </a:lnTo>
                    <a:cubicBezTo>
                      <a:pt x="5442" y="731"/>
                      <a:pt x="5509" y="546"/>
                      <a:pt x="5559" y="663"/>
                    </a:cubicBezTo>
                    <a:cubicBezTo>
                      <a:pt x="5534" y="741"/>
                      <a:pt x="5542" y="829"/>
                      <a:pt x="5626" y="789"/>
                    </a:cubicBezTo>
                    <a:cubicBezTo>
                      <a:pt x="6111" y="770"/>
                      <a:pt x="6069" y="780"/>
                      <a:pt x="6555" y="751"/>
                    </a:cubicBezTo>
                    <a:lnTo>
                      <a:pt x="6555" y="751"/>
                    </a:lnTo>
                    <a:lnTo>
                      <a:pt x="7081" y="731"/>
                    </a:lnTo>
                    <a:cubicBezTo>
                      <a:pt x="7273" y="709"/>
                      <a:pt x="7465" y="477"/>
                      <a:pt x="7657" y="455"/>
                    </a:cubicBezTo>
                    <a:cubicBezTo>
                      <a:pt x="7809" y="374"/>
                      <a:pt x="7725" y="170"/>
                      <a:pt x="7837" y="155"/>
                    </a:cubicBezTo>
                    <a:cubicBezTo>
                      <a:pt x="7914" y="125"/>
                      <a:pt x="7962" y="-30"/>
                      <a:pt x="8044" y="5"/>
                    </a:cubicBezTo>
                    <a:cubicBezTo>
                      <a:pt x="8126" y="40"/>
                      <a:pt x="8231" y="300"/>
                      <a:pt x="8327" y="365"/>
                    </a:cubicBezTo>
                    <a:lnTo>
                      <a:pt x="8695" y="663"/>
                    </a:lnTo>
                    <a:lnTo>
                      <a:pt x="8695" y="663"/>
                    </a:lnTo>
                    <a:cubicBezTo>
                      <a:pt x="8712" y="693"/>
                      <a:pt x="8720" y="731"/>
                      <a:pt x="8728" y="770"/>
                    </a:cubicBezTo>
                    <a:cubicBezTo>
                      <a:pt x="8728" y="858"/>
                      <a:pt x="8754" y="935"/>
                      <a:pt x="8771" y="1013"/>
                    </a:cubicBezTo>
                    <a:cubicBezTo>
                      <a:pt x="8829" y="1101"/>
                      <a:pt x="8888" y="1169"/>
                      <a:pt x="8954" y="1237"/>
                    </a:cubicBezTo>
                    <a:cubicBezTo>
                      <a:pt x="8954" y="1266"/>
                      <a:pt x="9013" y="1335"/>
                      <a:pt x="8954" y="1315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39" name="South Korea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7356996" y="3306929"/>
              <a:ext cx="94308" cy="139336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2" y="5"/>
                </a:cxn>
                <a:cxn ang="0">
                  <a:pos x="5" y="0"/>
                </a:cxn>
                <a:cxn ang="0">
                  <a:pos x="11" y="7"/>
                </a:cxn>
                <a:cxn ang="0">
                  <a:pos x="17" y="16"/>
                </a:cxn>
                <a:cxn ang="0">
                  <a:pos x="17" y="21"/>
                </a:cxn>
                <a:cxn ang="0">
                  <a:pos x="9" y="25"/>
                </a:cxn>
                <a:cxn ang="0">
                  <a:pos x="2" y="21"/>
                </a:cxn>
                <a:cxn ang="0">
                  <a:pos x="5" y="16"/>
                </a:cxn>
                <a:cxn ang="0">
                  <a:pos x="0" y="9"/>
                </a:cxn>
                <a:cxn ang="0">
                  <a:pos x="2" y="9"/>
                </a:cxn>
                <a:cxn ang="0">
                  <a:pos x="0" y="7"/>
                </a:cxn>
                <a:cxn ang="0">
                  <a:pos x="0" y="5"/>
                </a:cxn>
              </a:cxnLst>
              <a:rect l="0" t="0" r="r" b="b"/>
              <a:pathLst>
                <a:path w="17" h="25">
                  <a:moveTo>
                    <a:pt x="0" y="5"/>
                  </a:moveTo>
                  <a:lnTo>
                    <a:pt x="2" y="5"/>
                  </a:lnTo>
                  <a:lnTo>
                    <a:pt x="5" y="0"/>
                  </a:lnTo>
                  <a:lnTo>
                    <a:pt x="11" y="7"/>
                  </a:lnTo>
                  <a:lnTo>
                    <a:pt x="17" y="16"/>
                  </a:lnTo>
                  <a:lnTo>
                    <a:pt x="17" y="21"/>
                  </a:lnTo>
                  <a:lnTo>
                    <a:pt x="9" y="25"/>
                  </a:lnTo>
                  <a:lnTo>
                    <a:pt x="2" y="21"/>
                  </a:lnTo>
                  <a:lnTo>
                    <a:pt x="5" y="16"/>
                  </a:lnTo>
                  <a:lnTo>
                    <a:pt x="0" y="9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40" name="Sri Lanka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319615" y="4237694"/>
              <a:ext cx="66570" cy="111468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20"/>
                </a:cxn>
                <a:cxn ang="0">
                  <a:pos x="8" y="20"/>
                </a:cxn>
                <a:cxn ang="0">
                  <a:pos x="12" y="20"/>
                </a:cxn>
                <a:cxn ang="0">
                  <a:pos x="12" y="11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2" y="7"/>
                </a:cxn>
                <a:cxn ang="0">
                  <a:pos x="0" y="11"/>
                </a:cxn>
              </a:cxnLst>
              <a:rect l="0" t="0" r="r" b="b"/>
              <a:pathLst>
                <a:path w="12" h="20">
                  <a:moveTo>
                    <a:pt x="0" y="11"/>
                  </a:move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11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2"/>
                  </a:lnTo>
                  <a:lnTo>
                    <a:pt x="2" y="7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41" name="Spain"/>
            <p:cNvGrpSpPr/>
            <p:nvPr/>
          </p:nvGrpSpPr>
          <p:grpSpPr>
            <a:xfrm>
              <a:off x="4034044" y="3145300"/>
              <a:ext cx="305113" cy="250804"/>
              <a:chOff x="4034044" y="3145300"/>
              <a:chExt cx="305113" cy="250804"/>
            </a:xfrm>
            <a:grpFill/>
          </p:grpSpPr>
          <p:sp>
            <p:nvSpPr>
              <p:cNvPr id="370" name="Palma"/>
              <p:cNvSpPr>
                <a:spLocks/>
              </p:cNvSpPr>
              <p:nvPr>
                <p:custDataLst>
                  <p:tags r:id="rId267"/>
                </p:custDataLst>
              </p:nvPr>
            </p:nvSpPr>
            <p:spPr bwMode="auto">
              <a:xfrm>
                <a:off x="4316967" y="3256768"/>
                <a:ext cx="22190" cy="39014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4" y="7"/>
                  </a:cxn>
                  <a:cxn ang="0">
                    <a:pos x="4" y="5"/>
                  </a:cxn>
                  <a:cxn ang="0">
                    <a:pos x="2" y="0"/>
                  </a:cxn>
                  <a:cxn ang="0">
                    <a:pos x="0" y="3"/>
                  </a:cxn>
                  <a:cxn ang="0">
                    <a:pos x="0" y="5"/>
                  </a:cxn>
                </a:cxnLst>
                <a:rect l="0" t="0" r="r" b="b"/>
                <a:pathLst>
                  <a:path w="4" h="7">
                    <a:moveTo>
                      <a:pt x="0" y="5"/>
                    </a:moveTo>
                    <a:lnTo>
                      <a:pt x="4" y="7"/>
                    </a:lnTo>
                    <a:lnTo>
                      <a:pt x="4" y="5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71" name="Spain"/>
              <p:cNvSpPr>
                <a:spLocks/>
              </p:cNvSpPr>
              <p:nvPr>
                <p:custDataLst>
                  <p:tags r:id="rId268"/>
                </p:custDataLst>
              </p:nvPr>
            </p:nvSpPr>
            <p:spPr bwMode="auto">
              <a:xfrm>
                <a:off x="4034044" y="3145300"/>
                <a:ext cx="305112" cy="250804"/>
              </a:xfrm>
              <a:custGeom>
                <a:avLst/>
                <a:gdLst/>
                <a:ahLst/>
                <a:cxnLst>
                  <a:cxn ang="0">
                    <a:pos x="40" y="7"/>
                  </a:cxn>
                  <a:cxn ang="0">
                    <a:pos x="55" y="7"/>
                  </a:cxn>
                  <a:cxn ang="0">
                    <a:pos x="55" y="11"/>
                  </a:cxn>
                  <a:cxn ang="0">
                    <a:pos x="46" y="16"/>
                  </a:cxn>
                  <a:cxn ang="0">
                    <a:pos x="38" y="25"/>
                  </a:cxn>
                  <a:cxn ang="0">
                    <a:pos x="40" y="29"/>
                  </a:cxn>
                  <a:cxn ang="0">
                    <a:pos x="30" y="38"/>
                  </a:cxn>
                  <a:cxn ang="0">
                    <a:pos x="21" y="38"/>
                  </a:cxn>
                  <a:cxn ang="0">
                    <a:pos x="15" y="45"/>
                  </a:cxn>
                  <a:cxn ang="0">
                    <a:pos x="11" y="36"/>
                  </a:cxn>
                  <a:cxn ang="0">
                    <a:pos x="11" y="29"/>
                  </a:cxn>
                  <a:cxn ang="0">
                    <a:pos x="11" y="25"/>
                  </a:cxn>
                  <a:cxn ang="0">
                    <a:pos x="13" y="20"/>
                  </a:cxn>
                  <a:cxn ang="0">
                    <a:pos x="13" y="18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5" y="11"/>
                  </a:cxn>
                  <a:cxn ang="0">
                    <a:pos x="0" y="7"/>
                  </a:cxn>
                  <a:cxn ang="0">
                    <a:pos x="5" y="2"/>
                  </a:cxn>
                  <a:cxn ang="0">
                    <a:pos x="7" y="0"/>
                  </a:cxn>
                  <a:cxn ang="0">
                    <a:pos x="23" y="2"/>
                  </a:cxn>
                  <a:cxn ang="0">
                    <a:pos x="32" y="2"/>
                  </a:cxn>
                  <a:cxn ang="0">
                    <a:pos x="36" y="2"/>
                  </a:cxn>
                  <a:cxn ang="0">
                    <a:pos x="38" y="5"/>
                  </a:cxn>
                  <a:cxn ang="0">
                    <a:pos x="40" y="7"/>
                  </a:cxn>
                </a:cxnLst>
                <a:rect l="0" t="0" r="r" b="b"/>
                <a:pathLst>
                  <a:path w="55" h="45">
                    <a:moveTo>
                      <a:pt x="40" y="7"/>
                    </a:moveTo>
                    <a:lnTo>
                      <a:pt x="55" y="7"/>
                    </a:lnTo>
                    <a:lnTo>
                      <a:pt x="55" y="11"/>
                    </a:lnTo>
                    <a:lnTo>
                      <a:pt x="46" y="16"/>
                    </a:lnTo>
                    <a:lnTo>
                      <a:pt x="38" y="25"/>
                    </a:lnTo>
                    <a:lnTo>
                      <a:pt x="40" y="29"/>
                    </a:lnTo>
                    <a:lnTo>
                      <a:pt x="30" y="38"/>
                    </a:lnTo>
                    <a:lnTo>
                      <a:pt x="21" y="38"/>
                    </a:lnTo>
                    <a:lnTo>
                      <a:pt x="15" y="45"/>
                    </a:lnTo>
                    <a:lnTo>
                      <a:pt x="11" y="36"/>
                    </a:lnTo>
                    <a:lnTo>
                      <a:pt x="11" y="29"/>
                    </a:lnTo>
                    <a:lnTo>
                      <a:pt x="11" y="25"/>
                    </a:lnTo>
                    <a:lnTo>
                      <a:pt x="13" y="20"/>
                    </a:lnTo>
                    <a:lnTo>
                      <a:pt x="13" y="18"/>
                    </a:lnTo>
                    <a:lnTo>
                      <a:pt x="15" y="11"/>
                    </a:lnTo>
                    <a:lnTo>
                      <a:pt x="13" y="11"/>
                    </a:lnTo>
                    <a:lnTo>
                      <a:pt x="5" y="11"/>
                    </a:lnTo>
                    <a:lnTo>
                      <a:pt x="0" y="7"/>
                    </a:lnTo>
                    <a:lnTo>
                      <a:pt x="5" y="2"/>
                    </a:lnTo>
                    <a:lnTo>
                      <a:pt x="7" y="0"/>
                    </a:lnTo>
                    <a:lnTo>
                      <a:pt x="23" y="2"/>
                    </a:lnTo>
                    <a:lnTo>
                      <a:pt x="32" y="2"/>
                    </a:lnTo>
                    <a:lnTo>
                      <a:pt x="36" y="2"/>
                    </a:lnTo>
                    <a:lnTo>
                      <a:pt x="38" y="5"/>
                    </a:lnTo>
                    <a:lnTo>
                      <a:pt x="40" y="7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42" name="South Africa"/>
            <p:cNvSpPr>
              <a:spLocks noEditPoints="1"/>
            </p:cNvSpPr>
            <p:nvPr/>
          </p:nvSpPr>
          <p:spPr bwMode="auto">
            <a:xfrm>
              <a:off x="4662540" y="5278237"/>
              <a:ext cx="412823" cy="393888"/>
            </a:xfrm>
            <a:custGeom>
              <a:avLst/>
              <a:gdLst>
                <a:gd name="T0" fmla="*/ 0 w 1134"/>
                <a:gd name="T1" fmla="*/ 466 h 913"/>
                <a:gd name="T2" fmla="*/ 42 w 1134"/>
                <a:gd name="T3" fmla="*/ 423 h 913"/>
                <a:gd name="T4" fmla="*/ 84 w 1134"/>
                <a:gd name="T5" fmla="*/ 476 h 913"/>
                <a:gd name="T6" fmla="*/ 196 w 1134"/>
                <a:gd name="T7" fmla="*/ 487 h 913"/>
                <a:gd name="T8" fmla="*/ 255 w 1134"/>
                <a:gd name="T9" fmla="*/ 200 h 913"/>
                <a:gd name="T10" fmla="*/ 257 w 1134"/>
                <a:gd name="T11" fmla="*/ 182 h 913"/>
                <a:gd name="T12" fmla="*/ 302 w 1134"/>
                <a:gd name="T13" fmla="*/ 252 h 913"/>
                <a:gd name="T14" fmla="*/ 317 w 1134"/>
                <a:gd name="T15" fmla="*/ 335 h 913"/>
                <a:gd name="T16" fmla="*/ 410 w 1134"/>
                <a:gd name="T17" fmla="*/ 302 h 913"/>
                <a:gd name="T18" fmla="*/ 464 w 1134"/>
                <a:gd name="T19" fmla="*/ 226 h 913"/>
                <a:gd name="T20" fmla="*/ 569 w 1134"/>
                <a:gd name="T21" fmla="*/ 261 h 913"/>
                <a:gd name="T22" fmla="*/ 667 w 1134"/>
                <a:gd name="T23" fmla="*/ 189 h 913"/>
                <a:gd name="T24" fmla="*/ 750 w 1134"/>
                <a:gd name="T25" fmla="*/ 110 h 913"/>
                <a:gd name="T26" fmla="*/ 809 w 1134"/>
                <a:gd name="T27" fmla="*/ 72 h 913"/>
                <a:gd name="T28" fmla="*/ 894 w 1134"/>
                <a:gd name="T29" fmla="*/ 20 h 913"/>
                <a:gd name="T30" fmla="*/ 947 w 1134"/>
                <a:gd name="T31" fmla="*/ 0 h 913"/>
                <a:gd name="T32" fmla="*/ 1061 w 1134"/>
                <a:gd name="T33" fmla="*/ 21 h 913"/>
                <a:gd name="T34" fmla="*/ 1079 w 1134"/>
                <a:gd name="T35" fmla="*/ 113 h 913"/>
                <a:gd name="T36" fmla="*/ 1088 w 1134"/>
                <a:gd name="T37" fmla="*/ 250 h 913"/>
                <a:gd name="T38" fmla="*/ 1055 w 1134"/>
                <a:gd name="T39" fmla="*/ 277 h 913"/>
                <a:gd name="T40" fmla="*/ 996 w 1134"/>
                <a:gd name="T41" fmla="*/ 348 h 913"/>
                <a:gd name="T42" fmla="*/ 1071 w 1134"/>
                <a:gd name="T43" fmla="*/ 390 h 913"/>
                <a:gd name="T44" fmla="*/ 1083 w 1134"/>
                <a:gd name="T45" fmla="*/ 355 h 913"/>
                <a:gd name="T46" fmla="*/ 1134 w 1134"/>
                <a:gd name="T47" fmla="*/ 358 h 913"/>
                <a:gd name="T48" fmla="*/ 1114 w 1134"/>
                <a:gd name="T49" fmla="*/ 415 h 913"/>
                <a:gd name="T50" fmla="*/ 1071 w 1134"/>
                <a:gd name="T51" fmla="*/ 496 h 913"/>
                <a:gd name="T52" fmla="*/ 1008 w 1134"/>
                <a:gd name="T53" fmla="*/ 542 h 913"/>
                <a:gd name="T54" fmla="*/ 958 w 1134"/>
                <a:gd name="T55" fmla="*/ 616 h 913"/>
                <a:gd name="T56" fmla="*/ 871 w 1134"/>
                <a:gd name="T57" fmla="*/ 702 h 913"/>
                <a:gd name="T58" fmla="*/ 774 w 1134"/>
                <a:gd name="T59" fmla="*/ 789 h 913"/>
                <a:gd name="T60" fmla="*/ 638 w 1134"/>
                <a:gd name="T61" fmla="*/ 850 h 913"/>
                <a:gd name="T62" fmla="*/ 603 w 1134"/>
                <a:gd name="T63" fmla="*/ 875 h 913"/>
                <a:gd name="T64" fmla="*/ 545 w 1134"/>
                <a:gd name="T65" fmla="*/ 882 h 913"/>
                <a:gd name="T66" fmla="*/ 460 w 1134"/>
                <a:gd name="T67" fmla="*/ 866 h 913"/>
                <a:gd name="T68" fmla="*/ 412 w 1134"/>
                <a:gd name="T69" fmla="*/ 868 h 913"/>
                <a:gd name="T70" fmla="*/ 348 w 1134"/>
                <a:gd name="T71" fmla="*/ 890 h 913"/>
                <a:gd name="T72" fmla="*/ 286 w 1134"/>
                <a:gd name="T73" fmla="*/ 891 h 913"/>
                <a:gd name="T74" fmla="*/ 243 w 1134"/>
                <a:gd name="T75" fmla="*/ 907 h 913"/>
                <a:gd name="T76" fmla="*/ 193 w 1134"/>
                <a:gd name="T77" fmla="*/ 908 h 913"/>
                <a:gd name="T78" fmla="*/ 163 w 1134"/>
                <a:gd name="T79" fmla="*/ 889 h 913"/>
                <a:gd name="T80" fmla="*/ 137 w 1134"/>
                <a:gd name="T81" fmla="*/ 867 h 913"/>
                <a:gd name="T82" fmla="*/ 122 w 1134"/>
                <a:gd name="T83" fmla="*/ 878 h 913"/>
                <a:gd name="T84" fmla="*/ 113 w 1134"/>
                <a:gd name="T85" fmla="*/ 820 h 913"/>
                <a:gd name="T86" fmla="*/ 98 w 1134"/>
                <a:gd name="T87" fmla="*/ 790 h 913"/>
                <a:gd name="T88" fmla="*/ 108 w 1134"/>
                <a:gd name="T89" fmla="*/ 772 h 913"/>
                <a:gd name="T90" fmla="*/ 118 w 1134"/>
                <a:gd name="T91" fmla="*/ 707 h 913"/>
                <a:gd name="T92" fmla="*/ 71 w 1134"/>
                <a:gd name="T93" fmla="*/ 624 h 913"/>
                <a:gd name="T94" fmla="*/ 22 w 1134"/>
                <a:gd name="T95" fmla="*/ 505 h 913"/>
                <a:gd name="T96" fmla="*/ 876 w 1134"/>
                <a:gd name="T97" fmla="*/ 544 h 913"/>
                <a:gd name="T98" fmla="*/ 836 w 1134"/>
                <a:gd name="T99" fmla="*/ 477 h 913"/>
                <a:gd name="T100" fmla="*/ 739 w 1134"/>
                <a:gd name="T101" fmla="*/ 542 h 913"/>
                <a:gd name="T102" fmla="*/ 756 w 1134"/>
                <a:gd name="T103" fmla="*/ 617 h 913"/>
                <a:gd name="T104" fmla="*/ 841 w 1134"/>
                <a:gd name="T105" fmla="*/ 586 h 913"/>
                <a:gd name="T106" fmla="*/ 876 w 1134"/>
                <a:gd name="T107" fmla="*/ 544 h 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34" h="913">
                  <a:moveTo>
                    <a:pt x="5" y="473"/>
                  </a:moveTo>
                  <a:cubicBezTo>
                    <a:pt x="4" y="471"/>
                    <a:pt x="3" y="469"/>
                    <a:pt x="0" y="467"/>
                  </a:cubicBezTo>
                  <a:cubicBezTo>
                    <a:pt x="0" y="466"/>
                    <a:pt x="0" y="466"/>
                    <a:pt x="0" y="466"/>
                  </a:cubicBezTo>
                  <a:cubicBezTo>
                    <a:pt x="8" y="461"/>
                    <a:pt x="8" y="461"/>
                    <a:pt x="8" y="461"/>
                  </a:cubicBezTo>
                  <a:cubicBezTo>
                    <a:pt x="14" y="453"/>
                    <a:pt x="30" y="456"/>
                    <a:pt x="27" y="444"/>
                  </a:cubicBezTo>
                  <a:cubicBezTo>
                    <a:pt x="29" y="437"/>
                    <a:pt x="33" y="425"/>
                    <a:pt x="42" y="423"/>
                  </a:cubicBezTo>
                  <a:cubicBezTo>
                    <a:pt x="57" y="418"/>
                    <a:pt x="51" y="442"/>
                    <a:pt x="64" y="437"/>
                  </a:cubicBezTo>
                  <a:cubicBezTo>
                    <a:pt x="76" y="445"/>
                    <a:pt x="58" y="455"/>
                    <a:pt x="69" y="463"/>
                  </a:cubicBezTo>
                  <a:cubicBezTo>
                    <a:pt x="64" y="477"/>
                    <a:pt x="82" y="466"/>
                    <a:pt x="84" y="476"/>
                  </a:cubicBezTo>
                  <a:cubicBezTo>
                    <a:pt x="97" y="473"/>
                    <a:pt x="108" y="481"/>
                    <a:pt x="120" y="486"/>
                  </a:cubicBezTo>
                  <a:cubicBezTo>
                    <a:pt x="132" y="486"/>
                    <a:pt x="144" y="486"/>
                    <a:pt x="155" y="482"/>
                  </a:cubicBezTo>
                  <a:cubicBezTo>
                    <a:pt x="171" y="478"/>
                    <a:pt x="182" y="498"/>
                    <a:pt x="196" y="487"/>
                  </a:cubicBezTo>
                  <a:cubicBezTo>
                    <a:pt x="191" y="478"/>
                    <a:pt x="199" y="473"/>
                    <a:pt x="208" y="473"/>
                  </a:cubicBezTo>
                  <a:cubicBezTo>
                    <a:pt x="214" y="457"/>
                    <a:pt x="233" y="458"/>
                    <a:pt x="247" y="451"/>
                  </a:cubicBezTo>
                  <a:cubicBezTo>
                    <a:pt x="250" y="368"/>
                    <a:pt x="252" y="284"/>
                    <a:pt x="255" y="200"/>
                  </a:cubicBezTo>
                  <a:cubicBezTo>
                    <a:pt x="255" y="200"/>
                    <a:pt x="255" y="200"/>
                    <a:pt x="255" y="200"/>
                  </a:cubicBezTo>
                  <a:cubicBezTo>
                    <a:pt x="255" y="195"/>
                    <a:pt x="255" y="189"/>
                    <a:pt x="255" y="183"/>
                  </a:cubicBezTo>
                  <a:cubicBezTo>
                    <a:pt x="257" y="182"/>
                    <a:pt x="257" y="182"/>
                    <a:pt x="257" y="182"/>
                  </a:cubicBezTo>
                  <a:cubicBezTo>
                    <a:pt x="259" y="188"/>
                    <a:pt x="263" y="193"/>
                    <a:pt x="272" y="195"/>
                  </a:cubicBezTo>
                  <a:cubicBezTo>
                    <a:pt x="282" y="201"/>
                    <a:pt x="286" y="213"/>
                    <a:pt x="291" y="222"/>
                  </a:cubicBezTo>
                  <a:cubicBezTo>
                    <a:pt x="299" y="233"/>
                    <a:pt x="300" y="239"/>
                    <a:pt x="302" y="252"/>
                  </a:cubicBezTo>
                  <a:cubicBezTo>
                    <a:pt x="310" y="265"/>
                    <a:pt x="316" y="284"/>
                    <a:pt x="305" y="297"/>
                  </a:cubicBezTo>
                  <a:cubicBezTo>
                    <a:pt x="292" y="305"/>
                    <a:pt x="294" y="318"/>
                    <a:pt x="294" y="331"/>
                  </a:cubicBezTo>
                  <a:cubicBezTo>
                    <a:pt x="296" y="347"/>
                    <a:pt x="309" y="331"/>
                    <a:pt x="317" y="335"/>
                  </a:cubicBezTo>
                  <a:cubicBezTo>
                    <a:pt x="331" y="344"/>
                    <a:pt x="347" y="332"/>
                    <a:pt x="362" y="339"/>
                  </a:cubicBezTo>
                  <a:cubicBezTo>
                    <a:pt x="375" y="342"/>
                    <a:pt x="371" y="328"/>
                    <a:pt x="378" y="325"/>
                  </a:cubicBezTo>
                  <a:cubicBezTo>
                    <a:pt x="396" y="330"/>
                    <a:pt x="399" y="308"/>
                    <a:pt x="410" y="302"/>
                  </a:cubicBezTo>
                  <a:cubicBezTo>
                    <a:pt x="419" y="294"/>
                    <a:pt x="430" y="293"/>
                    <a:pt x="437" y="282"/>
                  </a:cubicBezTo>
                  <a:cubicBezTo>
                    <a:pt x="445" y="273"/>
                    <a:pt x="442" y="264"/>
                    <a:pt x="448" y="254"/>
                  </a:cubicBezTo>
                  <a:cubicBezTo>
                    <a:pt x="450" y="244"/>
                    <a:pt x="455" y="233"/>
                    <a:pt x="464" y="226"/>
                  </a:cubicBezTo>
                  <a:cubicBezTo>
                    <a:pt x="478" y="223"/>
                    <a:pt x="493" y="220"/>
                    <a:pt x="505" y="232"/>
                  </a:cubicBezTo>
                  <a:cubicBezTo>
                    <a:pt x="518" y="240"/>
                    <a:pt x="527" y="258"/>
                    <a:pt x="545" y="251"/>
                  </a:cubicBezTo>
                  <a:cubicBezTo>
                    <a:pt x="551" y="258"/>
                    <a:pt x="558" y="262"/>
                    <a:pt x="569" y="261"/>
                  </a:cubicBezTo>
                  <a:cubicBezTo>
                    <a:pt x="581" y="272"/>
                    <a:pt x="596" y="262"/>
                    <a:pt x="608" y="261"/>
                  </a:cubicBezTo>
                  <a:cubicBezTo>
                    <a:pt x="625" y="267"/>
                    <a:pt x="645" y="256"/>
                    <a:pt x="651" y="238"/>
                  </a:cubicBezTo>
                  <a:cubicBezTo>
                    <a:pt x="656" y="222"/>
                    <a:pt x="666" y="206"/>
                    <a:pt x="667" y="189"/>
                  </a:cubicBezTo>
                  <a:cubicBezTo>
                    <a:pt x="680" y="185"/>
                    <a:pt x="693" y="181"/>
                    <a:pt x="706" y="178"/>
                  </a:cubicBezTo>
                  <a:cubicBezTo>
                    <a:pt x="714" y="168"/>
                    <a:pt x="725" y="159"/>
                    <a:pt x="737" y="153"/>
                  </a:cubicBezTo>
                  <a:cubicBezTo>
                    <a:pt x="742" y="139"/>
                    <a:pt x="744" y="124"/>
                    <a:pt x="750" y="110"/>
                  </a:cubicBezTo>
                  <a:cubicBezTo>
                    <a:pt x="757" y="111"/>
                    <a:pt x="758" y="100"/>
                    <a:pt x="765" y="99"/>
                  </a:cubicBezTo>
                  <a:cubicBezTo>
                    <a:pt x="772" y="90"/>
                    <a:pt x="784" y="93"/>
                    <a:pt x="792" y="86"/>
                  </a:cubicBezTo>
                  <a:cubicBezTo>
                    <a:pt x="791" y="73"/>
                    <a:pt x="807" y="81"/>
                    <a:pt x="809" y="72"/>
                  </a:cubicBezTo>
                  <a:cubicBezTo>
                    <a:pt x="818" y="68"/>
                    <a:pt x="821" y="59"/>
                    <a:pt x="828" y="53"/>
                  </a:cubicBezTo>
                  <a:cubicBezTo>
                    <a:pt x="837" y="44"/>
                    <a:pt x="844" y="30"/>
                    <a:pt x="859" y="31"/>
                  </a:cubicBezTo>
                  <a:cubicBezTo>
                    <a:pt x="871" y="31"/>
                    <a:pt x="883" y="25"/>
                    <a:pt x="894" y="20"/>
                  </a:cubicBezTo>
                  <a:cubicBezTo>
                    <a:pt x="896" y="5"/>
                    <a:pt x="913" y="2"/>
                    <a:pt x="926" y="4"/>
                  </a:cubicBezTo>
                  <a:cubicBezTo>
                    <a:pt x="927" y="2"/>
                    <a:pt x="927" y="2"/>
                    <a:pt x="927" y="2"/>
                  </a:cubicBezTo>
                  <a:cubicBezTo>
                    <a:pt x="933" y="3"/>
                    <a:pt x="940" y="2"/>
                    <a:pt x="947" y="0"/>
                  </a:cubicBezTo>
                  <a:cubicBezTo>
                    <a:pt x="963" y="1"/>
                    <a:pt x="975" y="12"/>
                    <a:pt x="990" y="16"/>
                  </a:cubicBezTo>
                  <a:cubicBezTo>
                    <a:pt x="1004" y="17"/>
                    <a:pt x="1018" y="14"/>
                    <a:pt x="1032" y="14"/>
                  </a:cubicBezTo>
                  <a:cubicBezTo>
                    <a:pt x="1042" y="15"/>
                    <a:pt x="1051" y="19"/>
                    <a:pt x="1061" y="21"/>
                  </a:cubicBezTo>
                  <a:cubicBezTo>
                    <a:pt x="1061" y="24"/>
                    <a:pt x="1061" y="24"/>
                    <a:pt x="1061" y="24"/>
                  </a:cubicBezTo>
                  <a:cubicBezTo>
                    <a:pt x="1065" y="42"/>
                    <a:pt x="1069" y="61"/>
                    <a:pt x="1073" y="79"/>
                  </a:cubicBezTo>
                  <a:cubicBezTo>
                    <a:pt x="1073" y="91"/>
                    <a:pt x="1068" y="104"/>
                    <a:pt x="1079" y="113"/>
                  </a:cubicBezTo>
                  <a:cubicBezTo>
                    <a:pt x="1078" y="126"/>
                    <a:pt x="1089" y="134"/>
                    <a:pt x="1091" y="146"/>
                  </a:cubicBezTo>
                  <a:cubicBezTo>
                    <a:pt x="1087" y="159"/>
                    <a:pt x="1100" y="170"/>
                    <a:pt x="1096" y="183"/>
                  </a:cubicBezTo>
                  <a:cubicBezTo>
                    <a:pt x="1091" y="205"/>
                    <a:pt x="1095" y="229"/>
                    <a:pt x="1088" y="250"/>
                  </a:cubicBezTo>
                  <a:cubicBezTo>
                    <a:pt x="1093" y="264"/>
                    <a:pt x="1077" y="273"/>
                    <a:pt x="1082" y="286"/>
                  </a:cubicBezTo>
                  <a:cubicBezTo>
                    <a:pt x="1081" y="288"/>
                    <a:pt x="1080" y="289"/>
                    <a:pt x="1080" y="290"/>
                  </a:cubicBezTo>
                  <a:cubicBezTo>
                    <a:pt x="1073" y="295"/>
                    <a:pt x="1062" y="281"/>
                    <a:pt x="1055" y="277"/>
                  </a:cubicBezTo>
                  <a:cubicBezTo>
                    <a:pt x="1047" y="268"/>
                    <a:pt x="1035" y="274"/>
                    <a:pt x="1029" y="282"/>
                  </a:cubicBezTo>
                  <a:cubicBezTo>
                    <a:pt x="1020" y="291"/>
                    <a:pt x="1017" y="305"/>
                    <a:pt x="1007" y="313"/>
                  </a:cubicBezTo>
                  <a:cubicBezTo>
                    <a:pt x="995" y="321"/>
                    <a:pt x="998" y="336"/>
                    <a:pt x="996" y="348"/>
                  </a:cubicBezTo>
                  <a:cubicBezTo>
                    <a:pt x="1007" y="347"/>
                    <a:pt x="1005" y="361"/>
                    <a:pt x="1009" y="369"/>
                  </a:cubicBezTo>
                  <a:cubicBezTo>
                    <a:pt x="1015" y="377"/>
                    <a:pt x="1023" y="384"/>
                    <a:pt x="1034" y="387"/>
                  </a:cubicBezTo>
                  <a:cubicBezTo>
                    <a:pt x="1045" y="391"/>
                    <a:pt x="1059" y="390"/>
                    <a:pt x="1071" y="390"/>
                  </a:cubicBezTo>
                  <a:cubicBezTo>
                    <a:pt x="1074" y="379"/>
                    <a:pt x="1073" y="365"/>
                    <a:pt x="1080" y="354"/>
                  </a:cubicBezTo>
                  <a:cubicBezTo>
                    <a:pt x="1081" y="355"/>
                    <a:pt x="1082" y="355"/>
                    <a:pt x="1083" y="355"/>
                  </a:cubicBezTo>
                  <a:cubicBezTo>
                    <a:pt x="1083" y="355"/>
                    <a:pt x="1083" y="355"/>
                    <a:pt x="1083" y="355"/>
                  </a:cubicBezTo>
                  <a:cubicBezTo>
                    <a:pt x="1096" y="356"/>
                    <a:pt x="1109" y="359"/>
                    <a:pt x="1122" y="358"/>
                  </a:cubicBezTo>
                  <a:cubicBezTo>
                    <a:pt x="1126" y="358"/>
                    <a:pt x="1130" y="358"/>
                    <a:pt x="1133" y="358"/>
                  </a:cubicBezTo>
                  <a:cubicBezTo>
                    <a:pt x="1134" y="358"/>
                    <a:pt x="1134" y="358"/>
                    <a:pt x="1134" y="358"/>
                  </a:cubicBezTo>
                  <a:cubicBezTo>
                    <a:pt x="1133" y="362"/>
                    <a:pt x="1132" y="365"/>
                    <a:pt x="1131" y="368"/>
                  </a:cubicBezTo>
                  <a:cubicBezTo>
                    <a:pt x="1129" y="377"/>
                    <a:pt x="1124" y="385"/>
                    <a:pt x="1119" y="392"/>
                  </a:cubicBezTo>
                  <a:cubicBezTo>
                    <a:pt x="1116" y="399"/>
                    <a:pt x="1117" y="408"/>
                    <a:pt x="1114" y="415"/>
                  </a:cubicBezTo>
                  <a:cubicBezTo>
                    <a:pt x="1112" y="423"/>
                    <a:pt x="1108" y="431"/>
                    <a:pt x="1104" y="438"/>
                  </a:cubicBezTo>
                  <a:cubicBezTo>
                    <a:pt x="1098" y="450"/>
                    <a:pt x="1095" y="463"/>
                    <a:pt x="1091" y="476"/>
                  </a:cubicBezTo>
                  <a:cubicBezTo>
                    <a:pt x="1085" y="483"/>
                    <a:pt x="1080" y="492"/>
                    <a:pt x="1071" y="496"/>
                  </a:cubicBezTo>
                  <a:cubicBezTo>
                    <a:pt x="1064" y="501"/>
                    <a:pt x="1057" y="507"/>
                    <a:pt x="1050" y="510"/>
                  </a:cubicBezTo>
                  <a:cubicBezTo>
                    <a:pt x="1043" y="512"/>
                    <a:pt x="1037" y="515"/>
                    <a:pt x="1031" y="519"/>
                  </a:cubicBezTo>
                  <a:cubicBezTo>
                    <a:pt x="1022" y="525"/>
                    <a:pt x="1016" y="534"/>
                    <a:pt x="1008" y="542"/>
                  </a:cubicBezTo>
                  <a:cubicBezTo>
                    <a:pt x="1005" y="548"/>
                    <a:pt x="1000" y="552"/>
                    <a:pt x="998" y="558"/>
                  </a:cubicBezTo>
                  <a:cubicBezTo>
                    <a:pt x="995" y="566"/>
                    <a:pt x="987" y="570"/>
                    <a:pt x="984" y="578"/>
                  </a:cubicBezTo>
                  <a:cubicBezTo>
                    <a:pt x="976" y="591"/>
                    <a:pt x="967" y="603"/>
                    <a:pt x="958" y="616"/>
                  </a:cubicBezTo>
                  <a:cubicBezTo>
                    <a:pt x="953" y="625"/>
                    <a:pt x="946" y="632"/>
                    <a:pt x="939" y="639"/>
                  </a:cubicBezTo>
                  <a:cubicBezTo>
                    <a:pt x="931" y="650"/>
                    <a:pt x="922" y="661"/>
                    <a:pt x="913" y="672"/>
                  </a:cubicBezTo>
                  <a:cubicBezTo>
                    <a:pt x="899" y="682"/>
                    <a:pt x="886" y="693"/>
                    <a:pt x="871" y="702"/>
                  </a:cubicBezTo>
                  <a:cubicBezTo>
                    <a:pt x="858" y="713"/>
                    <a:pt x="847" y="726"/>
                    <a:pt x="836" y="739"/>
                  </a:cubicBezTo>
                  <a:cubicBezTo>
                    <a:pt x="827" y="748"/>
                    <a:pt x="816" y="756"/>
                    <a:pt x="807" y="765"/>
                  </a:cubicBezTo>
                  <a:cubicBezTo>
                    <a:pt x="798" y="775"/>
                    <a:pt x="784" y="780"/>
                    <a:pt x="774" y="789"/>
                  </a:cubicBezTo>
                  <a:cubicBezTo>
                    <a:pt x="764" y="798"/>
                    <a:pt x="755" y="808"/>
                    <a:pt x="743" y="814"/>
                  </a:cubicBezTo>
                  <a:cubicBezTo>
                    <a:pt x="719" y="827"/>
                    <a:pt x="698" y="844"/>
                    <a:pt x="671" y="851"/>
                  </a:cubicBezTo>
                  <a:cubicBezTo>
                    <a:pt x="660" y="853"/>
                    <a:pt x="649" y="851"/>
                    <a:pt x="638" y="850"/>
                  </a:cubicBezTo>
                  <a:cubicBezTo>
                    <a:pt x="628" y="850"/>
                    <a:pt x="617" y="849"/>
                    <a:pt x="608" y="853"/>
                  </a:cubicBezTo>
                  <a:cubicBezTo>
                    <a:pt x="604" y="854"/>
                    <a:pt x="599" y="857"/>
                    <a:pt x="602" y="861"/>
                  </a:cubicBezTo>
                  <a:cubicBezTo>
                    <a:pt x="605" y="866"/>
                    <a:pt x="604" y="870"/>
                    <a:pt x="603" y="875"/>
                  </a:cubicBezTo>
                  <a:cubicBezTo>
                    <a:pt x="594" y="873"/>
                    <a:pt x="585" y="873"/>
                    <a:pt x="577" y="870"/>
                  </a:cubicBezTo>
                  <a:cubicBezTo>
                    <a:pt x="570" y="866"/>
                    <a:pt x="563" y="868"/>
                    <a:pt x="556" y="868"/>
                  </a:cubicBezTo>
                  <a:cubicBezTo>
                    <a:pt x="552" y="872"/>
                    <a:pt x="549" y="878"/>
                    <a:pt x="545" y="882"/>
                  </a:cubicBezTo>
                  <a:cubicBezTo>
                    <a:pt x="540" y="882"/>
                    <a:pt x="535" y="882"/>
                    <a:pt x="530" y="882"/>
                  </a:cubicBezTo>
                  <a:cubicBezTo>
                    <a:pt x="517" y="878"/>
                    <a:pt x="504" y="873"/>
                    <a:pt x="491" y="870"/>
                  </a:cubicBezTo>
                  <a:cubicBezTo>
                    <a:pt x="481" y="868"/>
                    <a:pt x="470" y="865"/>
                    <a:pt x="460" y="866"/>
                  </a:cubicBezTo>
                  <a:cubicBezTo>
                    <a:pt x="455" y="866"/>
                    <a:pt x="451" y="868"/>
                    <a:pt x="447" y="871"/>
                  </a:cubicBezTo>
                  <a:cubicBezTo>
                    <a:pt x="444" y="875"/>
                    <a:pt x="439" y="875"/>
                    <a:pt x="434" y="875"/>
                  </a:cubicBezTo>
                  <a:cubicBezTo>
                    <a:pt x="427" y="873"/>
                    <a:pt x="419" y="870"/>
                    <a:pt x="412" y="868"/>
                  </a:cubicBezTo>
                  <a:cubicBezTo>
                    <a:pt x="400" y="863"/>
                    <a:pt x="387" y="867"/>
                    <a:pt x="375" y="868"/>
                  </a:cubicBezTo>
                  <a:cubicBezTo>
                    <a:pt x="370" y="874"/>
                    <a:pt x="363" y="878"/>
                    <a:pt x="355" y="880"/>
                  </a:cubicBezTo>
                  <a:cubicBezTo>
                    <a:pt x="349" y="880"/>
                    <a:pt x="350" y="886"/>
                    <a:pt x="348" y="890"/>
                  </a:cubicBezTo>
                  <a:cubicBezTo>
                    <a:pt x="340" y="894"/>
                    <a:pt x="331" y="891"/>
                    <a:pt x="323" y="890"/>
                  </a:cubicBezTo>
                  <a:cubicBezTo>
                    <a:pt x="318" y="889"/>
                    <a:pt x="314" y="890"/>
                    <a:pt x="311" y="893"/>
                  </a:cubicBezTo>
                  <a:cubicBezTo>
                    <a:pt x="303" y="892"/>
                    <a:pt x="294" y="889"/>
                    <a:pt x="286" y="891"/>
                  </a:cubicBezTo>
                  <a:cubicBezTo>
                    <a:pt x="281" y="891"/>
                    <a:pt x="277" y="892"/>
                    <a:pt x="274" y="896"/>
                  </a:cubicBezTo>
                  <a:cubicBezTo>
                    <a:pt x="267" y="895"/>
                    <a:pt x="260" y="896"/>
                    <a:pt x="253" y="897"/>
                  </a:cubicBezTo>
                  <a:cubicBezTo>
                    <a:pt x="250" y="899"/>
                    <a:pt x="247" y="904"/>
                    <a:pt x="243" y="907"/>
                  </a:cubicBezTo>
                  <a:cubicBezTo>
                    <a:pt x="241" y="911"/>
                    <a:pt x="236" y="911"/>
                    <a:pt x="231" y="912"/>
                  </a:cubicBezTo>
                  <a:cubicBezTo>
                    <a:pt x="224" y="913"/>
                    <a:pt x="216" y="913"/>
                    <a:pt x="209" y="911"/>
                  </a:cubicBezTo>
                  <a:cubicBezTo>
                    <a:pt x="205" y="907"/>
                    <a:pt x="198" y="912"/>
                    <a:pt x="193" y="908"/>
                  </a:cubicBezTo>
                  <a:cubicBezTo>
                    <a:pt x="190" y="905"/>
                    <a:pt x="184" y="906"/>
                    <a:pt x="182" y="902"/>
                  </a:cubicBezTo>
                  <a:cubicBezTo>
                    <a:pt x="183" y="897"/>
                    <a:pt x="183" y="893"/>
                    <a:pt x="179" y="890"/>
                  </a:cubicBezTo>
                  <a:cubicBezTo>
                    <a:pt x="174" y="888"/>
                    <a:pt x="168" y="889"/>
                    <a:pt x="163" y="889"/>
                  </a:cubicBezTo>
                  <a:cubicBezTo>
                    <a:pt x="158" y="890"/>
                    <a:pt x="154" y="890"/>
                    <a:pt x="150" y="887"/>
                  </a:cubicBezTo>
                  <a:cubicBezTo>
                    <a:pt x="152" y="881"/>
                    <a:pt x="152" y="874"/>
                    <a:pt x="151" y="867"/>
                  </a:cubicBezTo>
                  <a:cubicBezTo>
                    <a:pt x="147" y="867"/>
                    <a:pt x="142" y="866"/>
                    <a:pt x="137" y="867"/>
                  </a:cubicBezTo>
                  <a:cubicBezTo>
                    <a:pt x="132" y="866"/>
                    <a:pt x="128" y="870"/>
                    <a:pt x="129" y="875"/>
                  </a:cubicBezTo>
                  <a:cubicBezTo>
                    <a:pt x="128" y="879"/>
                    <a:pt x="131" y="884"/>
                    <a:pt x="129" y="887"/>
                  </a:cubicBezTo>
                  <a:cubicBezTo>
                    <a:pt x="126" y="888"/>
                    <a:pt x="124" y="880"/>
                    <a:pt x="122" y="878"/>
                  </a:cubicBezTo>
                  <a:cubicBezTo>
                    <a:pt x="122" y="869"/>
                    <a:pt x="120" y="860"/>
                    <a:pt x="125" y="853"/>
                  </a:cubicBezTo>
                  <a:cubicBezTo>
                    <a:pt x="129" y="849"/>
                    <a:pt x="127" y="845"/>
                    <a:pt x="127" y="840"/>
                  </a:cubicBezTo>
                  <a:cubicBezTo>
                    <a:pt x="121" y="834"/>
                    <a:pt x="116" y="828"/>
                    <a:pt x="113" y="820"/>
                  </a:cubicBezTo>
                  <a:cubicBezTo>
                    <a:pt x="112" y="815"/>
                    <a:pt x="107" y="815"/>
                    <a:pt x="105" y="811"/>
                  </a:cubicBezTo>
                  <a:cubicBezTo>
                    <a:pt x="104" y="807"/>
                    <a:pt x="96" y="802"/>
                    <a:pt x="101" y="800"/>
                  </a:cubicBezTo>
                  <a:cubicBezTo>
                    <a:pt x="105" y="800"/>
                    <a:pt x="101" y="792"/>
                    <a:pt x="98" y="790"/>
                  </a:cubicBezTo>
                  <a:cubicBezTo>
                    <a:pt x="95" y="787"/>
                    <a:pt x="88" y="788"/>
                    <a:pt x="90" y="782"/>
                  </a:cubicBezTo>
                  <a:cubicBezTo>
                    <a:pt x="90" y="777"/>
                    <a:pt x="92" y="772"/>
                    <a:pt x="95" y="767"/>
                  </a:cubicBezTo>
                  <a:cubicBezTo>
                    <a:pt x="99" y="769"/>
                    <a:pt x="104" y="770"/>
                    <a:pt x="108" y="772"/>
                  </a:cubicBezTo>
                  <a:cubicBezTo>
                    <a:pt x="113" y="767"/>
                    <a:pt x="117" y="761"/>
                    <a:pt x="120" y="755"/>
                  </a:cubicBezTo>
                  <a:cubicBezTo>
                    <a:pt x="121" y="746"/>
                    <a:pt x="120" y="737"/>
                    <a:pt x="120" y="728"/>
                  </a:cubicBezTo>
                  <a:cubicBezTo>
                    <a:pt x="119" y="721"/>
                    <a:pt x="120" y="714"/>
                    <a:pt x="118" y="707"/>
                  </a:cubicBezTo>
                  <a:cubicBezTo>
                    <a:pt x="113" y="695"/>
                    <a:pt x="105" y="685"/>
                    <a:pt x="99" y="675"/>
                  </a:cubicBezTo>
                  <a:cubicBezTo>
                    <a:pt x="94" y="666"/>
                    <a:pt x="87" y="659"/>
                    <a:pt x="82" y="650"/>
                  </a:cubicBezTo>
                  <a:cubicBezTo>
                    <a:pt x="77" y="642"/>
                    <a:pt x="77" y="632"/>
                    <a:pt x="71" y="624"/>
                  </a:cubicBezTo>
                  <a:cubicBezTo>
                    <a:pt x="65" y="617"/>
                    <a:pt x="62" y="608"/>
                    <a:pt x="58" y="600"/>
                  </a:cubicBezTo>
                  <a:cubicBezTo>
                    <a:pt x="48" y="583"/>
                    <a:pt x="43" y="563"/>
                    <a:pt x="38" y="545"/>
                  </a:cubicBezTo>
                  <a:cubicBezTo>
                    <a:pt x="33" y="531"/>
                    <a:pt x="27" y="518"/>
                    <a:pt x="22" y="505"/>
                  </a:cubicBezTo>
                  <a:cubicBezTo>
                    <a:pt x="20" y="497"/>
                    <a:pt x="12" y="492"/>
                    <a:pt x="8" y="486"/>
                  </a:cubicBezTo>
                  <a:cubicBezTo>
                    <a:pt x="4" y="483"/>
                    <a:pt x="6" y="478"/>
                    <a:pt x="5" y="473"/>
                  </a:cubicBezTo>
                  <a:close/>
                  <a:moveTo>
                    <a:pt x="876" y="544"/>
                  </a:moveTo>
                  <a:cubicBezTo>
                    <a:pt x="891" y="539"/>
                    <a:pt x="882" y="525"/>
                    <a:pt x="878" y="515"/>
                  </a:cubicBezTo>
                  <a:cubicBezTo>
                    <a:pt x="868" y="512"/>
                    <a:pt x="860" y="503"/>
                    <a:pt x="853" y="495"/>
                  </a:cubicBezTo>
                  <a:cubicBezTo>
                    <a:pt x="847" y="488"/>
                    <a:pt x="840" y="483"/>
                    <a:pt x="836" y="477"/>
                  </a:cubicBezTo>
                  <a:cubicBezTo>
                    <a:pt x="823" y="477"/>
                    <a:pt x="813" y="486"/>
                    <a:pt x="800" y="486"/>
                  </a:cubicBezTo>
                  <a:cubicBezTo>
                    <a:pt x="793" y="502"/>
                    <a:pt x="775" y="493"/>
                    <a:pt x="767" y="507"/>
                  </a:cubicBezTo>
                  <a:cubicBezTo>
                    <a:pt x="759" y="520"/>
                    <a:pt x="749" y="531"/>
                    <a:pt x="739" y="542"/>
                  </a:cubicBezTo>
                  <a:cubicBezTo>
                    <a:pt x="731" y="547"/>
                    <a:pt x="712" y="548"/>
                    <a:pt x="724" y="559"/>
                  </a:cubicBezTo>
                  <a:cubicBezTo>
                    <a:pt x="726" y="572"/>
                    <a:pt x="738" y="583"/>
                    <a:pt x="740" y="593"/>
                  </a:cubicBezTo>
                  <a:cubicBezTo>
                    <a:pt x="735" y="604"/>
                    <a:pt x="754" y="605"/>
                    <a:pt x="756" y="617"/>
                  </a:cubicBezTo>
                  <a:cubicBezTo>
                    <a:pt x="765" y="627"/>
                    <a:pt x="789" y="633"/>
                    <a:pt x="791" y="614"/>
                  </a:cubicBezTo>
                  <a:cubicBezTo>
                    <a:pt x="795" y="609"/>
                    <a:pt x="798" y="593"/>
                    <a:pt x="797" y="599"/>
                  </a:cubicBezTo>
                  <a:cubicBezTo>
                    <a:pt x="810" y="587"/>
                    <a:pt x="827" y="592"/>
                    <a:pt x="841" y="586"/>
                  </a:cubicBezTo>
                  <a:cubicBezTo>
                    <a:pt x="844" y="585"/>
                    <a:pt x="847" y="583"/>
                    <a:pt x="850" y="582"/>
                  </a:cubicBezTo>
                  <a:cubicBezTo>
                    <a:pt x="861" y="580"/>
                    <a:pt x="861" y="570"/>
                    <a:pt x="861" y="562"/>
                  </a:cubicBezTo>
                  <a:cubicBezTo>
                    <a:pt x="867" y="555"/>
                    <a:pt x="874" y="553"/>
                    <a:pt x="876" y="544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43" name="Somalia"/>
            <p:cNvGrpSpPr/>
            <p:nvPr/>
          </p:nvGrpSpPr>
          <p:grpSpPr>
            <a:xfrm>
              <a:off x="5334169" y="4144139"/>
              <a:ext cx="261619" cy="469828"/>
              <a:chOff x="5334169" y="4144139"/>
              <a:chExt cx="261619" cy="469828"/>
            </a:xfrm>
            <a:grpFill/>
          </p:grpSpPr>
          <p:sp>
            <p:nvSpPr>
              <p:cNvPr id="368" name="Somalia"/>
              <p:cNvSpPr>
                <a:spLocks/>
              </p:cNvSpPr>
              <p:nvPr/>
            </p:nvSpPr>
            <p:spPr bwMode="auto">
              <a:xfrm>
                <a:off x="5368629" y="4167505"/>
                <a:ext cx="166677" cy="115997"/>
              </a:xfrm>
              <a:custGeom>
                <a:avLst/>
                <a:gdLst>
                  <a:gd name="T0" fmla="*/ 48 w 457"/>
                  <a:gd name="T1" fmla="*/ 10 h 269"/>
                  <a:gd name="T2" fmla="*/ 67 w 457"/>
                  <a:gd name="T3" fmla="*/ 28 h 269"/>
                  <a:gd name="T4" fmla="*/ 101 w 457"/>
                  <a:gd name="T5" fmla="*/ 70 h 269"/>
                  <a:gd name="T6" fmla="*/ 118 w 457"/>
                  <a:gd name="T7" fmla="*/ 81 h 269"/>
                  <a:gd name="T8" fmla="*/ 147 w 457"/>
                  <a:gd name="T9" fmla="*/ 90 h 269"/>
                  <a:gd name="T10" fmla="*/ 172 w 457"/>
                  <a:gd name="T11" fmla="*/ 89 h 269"/>
                  <a:gd name="T12" fmla="*/ 190 w 457"/>
                  <a:gd name="T13" fmla="*/ 77 h 269"/>
                  <a:gd name="T14" fmla="*/ 229 w 457"/>
                  <a:gd name="T15" fmla="*/ 49 h 269"/>
                  <a:gd name="T16" fmla="*/ 266 w 457"/>
                  <a:gd name="T17" fmla="*/ 60 h 269"/>
                  <a:gd name="T18" fmla="*/ 297 w 457"/>
                  <a:gd name="T19" fmla="*/ 60 h 269"/>
                  <a:gd name="T20" fmla="*/ 326 w 457"/>
                  <a:gd name="T21" fmla="*/ 30 h 269"/>
                  <a:gd name="T22" fmla="*/ 345 w 457"/>
                  <a:gd name="T23" fmla="*/ 14 h 269"/>
                  <a:gd name="T24" fmla="*/ 367 w 457"/>
                  <a:gd name="T25" fmla="*/ 21 h 269"/>
                  <a:gd name="T26" fmla="*/ 402 w 457"/>
                  <a:gd name="T27" fmla="*/ 22 h 269"/>
                  <a:gd name="T28" fmla="*/ 404 w 457"/>
                  <a:gd name="T29" fmla="*/ 49 h 269"/>
                  <a:gd name="T30" fmla="*/ 425 w 457"/>
                  <a:gd name="T31" fmla="*/ 11 h 269"/>
                  <a:gd name="T32" fmla="*/ 438 w 457"/>
                  <a:gd name="T33" fmla="*/ 12 h 269"/>
                  <a:gd name="T34" fmla="*/ 457 w 457"/>
                  <a:gd name="T35" fmla="*/ 11 h 269"/>
                  <a:gd name="T36" fmla="*/ 457 w 457"/>
                  <a:gd name="T37" fmla="*/ 180 h 269"/>
                  <a:gd name="T38" fmla="*/ 399 w 457"/>
                  <a:gd name="T39" fmla="*/ 265 h 269"/>
                  <a:gd name="T40" fmla="*/ 399 w 457"/>
                  <a:gd name="T41" fmla="*/ 268 h 269"/>
                  <a:gd name="T42" fmla="*/ 332 w 457"/>
                  <a:gd name="T43" fmla="*/ 269 h 269"/>
                  <a:gd name="T44" fmla="*/ 110 w 457"/>
                  <a:gd name="T45" fmla="*/ 195 h 269"/>
                  <a:gd name="T46" fmla="*/ 75 w 457"/>
                  <a:gd name="T47" fmla="*/ 169 h 269"/>
                  <a:gd name="T48" fmla="*/ 52 w 457"/>
                  <a:gd name="T49" fmla="*/ 142 h 269"/>
                  <a:gd name="T50" fmla="*/ 32 w 457"/>
                  <a:gd name="T51" fmla="*/ 112 h 269"/>
                  <a:gd name="T52" fmla="*/ 14 w 457"/>
                  <a:gd name="T53" fmla="*/ 85 h 269"/>
                  <a:gd name="T54" fmla="*/ 17 w 457"/>
                  <a:gd name="T55" fmla="*/ 53 h 269"/>
                  <a:gd name="T56" fmla="*/ 23 w 457"/>
                  <a:gd name="T57" fmla="*/ 42 h 269"/>
                  <a:gd name="T58" fmla="*/ 22 w 457"/>
                  <a:gd name="T59" fmla="*/ 41 h 269"/>
                  <a:gd name="T60" fmla="*/ 40 w 457"/>
                  <a:gd name="T61" fmla="*/ 11 h 269"/>
                  <a:gd name="T62" fmla="*/ 42 w 457"/>
                  <a:gd name="T63" fmla="*/ 7 h 269"/>
                  <a:gd name="T64" fmla="*/ 42 w 457"/>
                  <a:gd name="T65" fmla="*/ 7 h 269"/>
                  <a:gd name="T66" fmla="*/ 48 w 457"/>
                  <a:gd name="T67" fmla="*/ 10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57" h="269">
                    <a:moveTo>
                      <a:pt x="48" y="10"/>
                    </a:moveTo>
                    <a:cubicBezTo>
                      <a:pt x="56" y="14"/>
                      <a:pt x="61" y="21"/>
                      <a:pt x="67" y="28"/>
                    </a:cubicBezTo>
                    <a:cubicBezTo>
                      <a:pt x="77" y="43"/>
                      <a:pt x="88" y="57"/>
                      <a:pt x="101" y="70"/>
                    </a:cubicBezTo>
                    <a:cubicBezTo>
                      <a:pt x="105" y="76"/>
                      <a:pt x="111" y="78"/>
                      <a:pt x="118" y="81"/>
                    </a:cubicBezTo>
                    <a:cubicBezTo>
                      <a:pt x="126" y="87"/>
                      <a:pt x="137" y="87"/>
                      <a:pt x="147" y="90"/>
                    </a:cubicBezTo>
                    <a:cubicBezTo>
                      <a:pt x="155" y="93"/>
                      <a:pt x="164" y="89"/>
                      <a:pt x="172" y="89"/>
                    </a:cubicBezTo>
                    <a:cubicBezTo>
                      <a:pt x="178" y="86"/>
                      <a:pt x="184" y="81"/>
                      <a:pt x="190" y="77"/>
                    </a:cubicBezTo>
                    <a:cubicBezTo>
                      <a:pt x="203" y="68"/>
                      <a:pt x="215" y="58"/>
                      <a:pt x="229" y="49"/>
                    </a:cubicBezTo>
                    <a:cubicBezTo>
                      <a:pt x="241" y="52"/>
                      <a:pt x="254" y="56"/>
                      <a:pt x="266" y="60"/>
                    </a:cubicBezTo>
                    <a:cubicBezTo>
                      <a:pt x="276" y="61"/>
                      <a:pt x="287" y="60"/>
                      <a:pt x="297" y="60"/>
                    </a:cubicBezTo>
                    <a:cubicBezTo>
                      <a:pt x="307" y="51"/>
                      <a:pt x="317" y="41"/>
                      <a:pt x="326" y="30"/>
                    </a:cubicBezTo>
                    <a:cubicBezTo>
                      <a:pt x="331" y="23"/>
                      <a:pt x="338" y="19"/>
                      <a:pt x="345" y="14"/>
                    </a:cubicBezTo>
                    <a:cubicBezTo>
                      <a:pt x="352" y="17"/>
                      <a:pt x="360" y="19"/>
                      <a:pt x="367" y="21"/>
                    </a:cubicBezTo>
                    <a:cubicBezTo>
                      <a:pt x="379" y="22"/>
                      <a:pt x="391" y="24"/>
                      <a:pt x="402" y="22"/>
                    </a:cubicBezTo>
                    <a:cubicBezTo>
                      <a:pt x="403" y="31"/>
                      <a:pt x="404" y="40"/>
                      <a:pt x="404" y="49"/>
                    </a:cubicBezTo>
                    <a:cubicBezTo>
                      <a:pt x="411" y="37"/>
                      <a:pt x="418" y="24"/>
                      <a:pt x="425" y="11"/>
                    </a:cubicBezTo>
                    <a:cubicBezTo>
                      <a:pt x="428" y="9"/>
                      <a:pt x="434" y="12"/>
                      <a:pt x="438" y="12"/>
                    </a:cubicBezTo>
                    <a:cubicBezTo>
                      <a:pt x="444" y="12"/>
                      <a:pt x="451" y="12"/>
                      <a:pt x="457" y="11"/>
                    </a:cubicBezTo>
                    <a:cubicBezTo>
                      <a:pt x="457" y="180"/>
                      <a:pt x="457" y="180"/>
                      <a:pt x="457" y="180"/>
                    </a:cubicBezTo>
                    <a:cubicBezTo>
                      <a:pt x="399" y="265"/>
                      <a:pt x="399" y="265"/>
                      <a:pt x="399" y="265"/>
                    </a:cubicBezTo>
                    <a:cubicBezTo>
                      <a:pt x="399" y="268"/>
                      <a:pt x="399" y="268"/>
                      <a:pt x="399" y="268"/>
                    </a:cubicBezTo>
                    <a:cubicBezTo>
                      <a:pt x="377" y="268"/>
                      <a:pt x="354" y="269"/>
                      <a:pt x="332" y="269"/>
                    </a:cubicBezTo>
                    <a:cubicBezTo>
                      <a:pt x="258" y="244"/>
                      <a:pt x="185" y="219"/>
                      <a:pt x="110" y="195"/>
                    </a:cubicBezTo>
                    <a:cubicBezTo>
                      <a:pt x="98" y="187"/>
                      <a:pt x="90" y="170"/>
                      <a:pt x="75" y="169"/>
                    </a:cubicBezTo>
                    <a:cubicBezTo>
                      <a:pt x="65" y="163"/>
                      <a:pt x="61" y="150"/>
                      <a:pt x="52" y="142"/>
                    </a:cubicBezTo>
                    <a:cubicBezTo>
                      <a:pt x="54" y="125"/>
                      <a:pt x="34" y="127"/>
                      <a:pt x="32" y="112"/>
                    </a:cubicBezTo>
                    <a:cubicBezTo>
                      <a:pt x="21" y="107"/>
                      <a:pt x="17" y="96"/>
                      <a:pt x="14" y="85"/>
                    </a:cubicBezTo>
                    <a:cubicBezTo>
                      <a:pt x="0" y="76"/>
                      <a:pt x="11" y="63"/>
                      <a:pt x="17" y="53"/>
                    </a:cubicBezTo>
                    <a:cubicBezTo>
                      <a:pt x="21" y="49"/>
                      <a:pt x="22" y="47"/>
                      <a:pt x="23" y="42"/>
                    </a:cubicBezTo>
                    <a:cubicBezTo>
                      <a:pt x="22" y="41"/>
                      <a:pt x="22" y="41"/>
                      <a:pt x="22" y="41"/>
                    </a:cubicBezTo>
                    <a:cubicBezTo>
                      <a:pt x="31" y="33"/>
                      <a:pt x="34" y="20"/>
                      <a:pt x="40" y="11"/>
                    </a:cubicBezTo>
                    <a:cubicBezTo>
                      <a:pt x="41" y="9"/>
                      <a:pt x="41" y="8"/>
                      <a:pt x="42" y="7"/>
                    </a:cubicBezTo>
                    <a:cubicBezTo>
                      <a:pt x="42" y="7"/>
                      <a:pt x="42" y="7"/>
                      <a:pt x="42" y="7"/>
                    </a:cubicBezTo>
                    <a:cubicBezTo>
                      <a:pt x="39" y="0"/>
                      <a:pt x="44" y="9"/>
                      <a:pt x="48" y="10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69" name="Somalia"/>
              <p:cNvSpPr>
                <a:spLocks/>
              </p:cNvSpPr>
              <p:nvPr/>
            </p:nvSpPr>
            <p:spPr bwMode="auto">
              <a:xfrm>
                <a:off x="5334169" y="4144139"/>
                <a:ext cx="261619" cy="469828"/>
              </a:xfrm>
              <a:custGeom>
                <a:avLst/>
                <a:gdLst>
                  <a:gd name="T0" fmla="*/ 494 w 719"/>
                  <a:gd name="T1" fmla="*/ 322 h 1088"/>
                  <a:gd name="T2" fmla="*/ 552 w 719"/>
                  <a:gd name="T3" fmla="*/ 234 h 1088"/>
                  <a:gd name="T4" fmla="*/ 569 w 719"/>
                  <a:gd name="T5" fmla="*/ 61 h 1088"/>
                  <a:gd name="T6" fmla="*/ 626 w 719"/>
                  <a:gd name="T7" fmla="*/ 41 h 1088"/>
                  <a:gd name="T8" fmla="*/ 650 w 719"/>
                  <a:gd name="T9" fmla="*/ 13 h 1088"/>
                  <a:gd name="T10" fmla="*/ 669 w 719"/>
                  <a:gd name="T11" fmla="*/ 6 h 1088"/>
                  <a:gd name="T12" fmla="*/ 699 w 719"/>
                  <a:gd name="T13" fmla="*/ 20 h 1088"/>
                  <a:gd name="T14" fmla="*/ 695 w 719"/>
                  <a:gd name="T15" fmla="*/ 48 h 1088"/>
                  <a:gd name="T16" fmla="*/ 705 w 719"/>
                  <a:gd name="T17" fmla="*/ 111 h 1088"/>
                  <a:gd name="T18" fmla="*/ 719 w 719"/>
                  <a:gd name="T19" fmla="*/ 126 h 1088"/>
                  <a:gd name="T20" fmla="*/ 691 w 719"/>
                  <a:gd name="T21" fmla="*/ 145 h 1088"/>
                  <a:gd name="T22" fmla="*/ 687 w 719"/>
                  <a:gd name="T23" fmla="*/ 205 h 1088"/>
                  <a:gd name="T24" fmla="*/ 671 w 719"/>
                  <a:gd name="T25" fmla="*/ 246 h 1088"/>
                  <a:gd name="T26" fmla="*/ 658 w 719"/>
                  <a:gd name="T27" fmla="*/ 276 h 1088"/>
                  <a:gd name="T28" fmla="*/ 642 w 719"/>
                  <a:gd name="T29" fmla="*/ 305 h 1088"/>
                  <a:gd name="T30" fmla="*/ 626 w 719"/>
                  <a:gd name="T31" fmla="*/ 350 h 1088"/>
                  <a:gd name="T32" fmla="*/ 586 w 719"/>
                  <a:gd name="T33" fmla="*/ 441 h 1088"/>
                  <a:gd name="T34" fmla="*/ 579 w 719"/>
                  <a:gd name="T35" fmla="*/ 481 h 1088"/>
                  <a:gd name="T36" fmla="*/ 552 w 719"/>
                  <a:gd name="T37" fmla="*/ 523 h 1088"/>
                  <a:gd name="T38" fmla="*/ 510 w 719"/>
                  <a:gd name="T39" fmla="*/ 596 h 1088"/>
                  <a:gd name="T40" fmla="*/ 461 w 719"/>
                  <a:gd name="T41" fmla="*/ 661 h 1088"/>
                  <a:gd name="T42" fmla="*/ 421 w 719"/>
                  <a:gd name="T43" fmla="*/ 708 h 1088"/>
                  <a:gd name="T44" fmla="*/ 393 w 719"/>
                  <a:gd name="T45" fmla="*/ 739 h 1088"/>
                  <a:gd name="T46" fmla="*/ 322 w 719"/>
                  <a:gd name="T47" fmla="*/ 801 h 1088"/>
                  <a:gd name="T48" fmla="*/ 257 w 719"/>
                  <a:gd name="T49" fmla="*/ 842 h 1088"/>
                  <a:gd name="T50" fmla="*/ 215 w 719"/>
                  <a:gd name="T51" fmla="*/ 881 h 1088"/>
                  <a:gd name="T52" fmla="*/ 147 w 719"/>
                  <a:gd name="T53" fmla="*/ 959 h 1088"/>
                  <a:gd name="T54" fmla="*/ 126 w 719"/>
                  <a:gd name="T55" fmla="*/ 969 h 1088"/>
                  <a:gd name="T56" fmla="*/ 126 w 719"/>
                  <a:gd name="T57" fmla="*/ 974 h 1088"/>
                  <a:gd name="T58" fmla="*/ 116 w 719"/>
                  <a:gd name="T59" fmla="*/ 996 h 1088"/>
                  <a:gd name="T60" fmla="*/ 63 w 719"/>
                  <a:gd name="T61" fmla="*/ 1059 h 1088"/>
                  <a:gd name="T62" fmla="*/ 49 w 719"/>
                  <a:gd name="T63" fmla="*/ 1088 h 1088"/>
                  <a:gd name="T64" fmla="*/ 48 w 719"/>
                  <a:gd name="T65" fmla="*/ 1081 h 1088"/>
                  <a:gd name="T66" fmla="*/ 5 w 719"/>
                  <a:gd name="T67" fmla="*/ 1016 h 1088"/>
                  <a:gd name="T68" fmla="*/ 25 w 719"/>
                  <a:gd name="T69" fmla="*/ 708 h 1088"/>
                  <a:gd name="T70" fmla="*/ 68 w 719"/>
                  <a:gd name="T71" fmla="*/ 642 h 1088"/>
                  <a:gd name="T72" fmla="*/ 100 w 719"/>
                  <a:gd name="T73" fmla="*/ 625 h 1088"/>
                  <a:gd name="T74" fmla="*/ 159 w 719"/>
                  <a:gd name="T75" fmla="*/ 588 h 1088"/>
                  <a:gd name="T76" fmla="*/ 243 w 719"/>
                  <a:gd name="T77" fmla="*/ 566 h 1088"/>
                  <a:gd name="T78" fmla="*/ 401 w 719"/>
                  <a:gd name="T79" fmla="*/ 431 h 10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19" h="1088">
                    <a:moveTo>
                      <a:pt x="497" y="322"/>
                    </a:moveTo>
                    <a:cubicBezTo>
                      <a:pt x="496" y="322"/>
                      <a:pt x="495" y="322"/>
                      <a:pt x="494" y="322"/>
                    </a:cubicBezTo>
                    <a:cubicBezTo>
                      <a:pt x="494" y="319"/>
                      <a:pt x="494" y="319"/>
                      <a:pt x="494" y="319"/>
                    </a:cubicBezTo>
                    <a:cubicBezTo>
                      <a:pt x="552" y="234"/>
                      <a:pt x="552" y="234"/>
                      <a:pt x="552" y="234"/>
                    </a:cubicBezTo>
                    <a:cubicBezTo>
                      <a:pt x="552" y="65"/>
                      <a:pt x="552" y="65"/>
                      <a:pt x="552" y="65"/>
                    </a:cubicBezTo>
                    <a:cubicBezTo>
                      <a:pt x="558" y="64"/>
                      <a:pt x="564" y="63"/>
                      <a:pt x="569" y="61"/>
                    </a:cubicBezTo>
                    <a:cubicBezTo>
                      <a:pt x="577" y="59"/>
                      <a:pt x="582" y="53"/>
                      <a:pt x="590" y="51"/>
                    </a:cubicBezTo>
                    <a:cubicBezTo>
                      <a:pt x="601" y="45"/>
                      <a:pt x="614" y="44"/>
                      <a:pt x="626" y="41"/>
                    </a:cubicBezTo>
                    <a:cubicBezTo>
                      <a:pt x="631" y="40"/>
                      <a:pt x="635" y="36"/>
                      <a:pt x="638" y="32"/>
                    </a:cubicBezTo>
                    <a:cubicBezTo>
                      <a:pt x="645" y="28"/>
                      <a:pt x="647" y="20"/>
                      <a:pt x="650" y="13"/>
                    </a:cubicBezTo>
                    <a:cubicBezTo>
                      <a:pt x="651" y="7"/>
                      <a:pt x="656" y="7"/>
                      <a:pt x="660" y="9"/>
                    </a:cubicBezTo>
                    <a:cubicBezTo>
                      <a:pt x="665" y="12"/>
                      <a:pt x="663" y="0"/>
                      <a:pt x="669" y="6"/>
                    </a:cubicBezTo>
                    <a:cubicBezTo>
                      <a:pt x="676" y="10"/>
                      <a:pt x="684" y="7"/>
                      <a:pt x="690" y="11"/>
                    </a:cubicBezTo>
                    <a:cubicBezTo>
                      <a:pt x="694" y="13"/>
                      <a:pt x="699" y="14"/>
                      <a:pt x="699" y="20"/>
                    </a:cubicBezTo>
                    <a:cubicBezTo>
                      <a:pt x="701" y="24"/>
                      <a:pt x="704" y="28"/>
                      <a:pt x="700" y="32"/>
                    </a:cubicBezTo>
                    <a:cubicBezTo>
                      <a:pt x="696" y="37"/>
                      <a:pt x="696" y="43"/>
                      <a:pt x="695" y="48"/>
                    </a:cubicBezTo>
                    <a:cubicBezTo>
                      <a:pt x="693" y="58"/>
                      <a:pt x="699" y="67"/>
                      <a:pt x="702" y="77"/>
                    </a:cubicBezTo>
                    <a:cubicBezTo>
                      <a:pt x="704" y="88"/>
                      <a:pt x="704" y="99"/>
                      <a:pt x="705" y="111"/>
                    </a:cubicBezTo>
                    <a:cubicBezTo>
                      <a:pt x="706" y="115"/>
                      <a:pt x="702" y="122"/>
                      <a:pt x="709" y="120"/>
                    </a:cubicBezTo>
                    <a:cubicBezTo>
                      <a:pt x="714" y="117"/>
                      <a:pt x="716" y="124"/>
                      <a:pt x="719" y="126"/>
                    </a:cubicBezTo>
                    <a:cubicBezTo>
                      <a:pt x="711" y="127"/>
                      <a:pt x="704" y="129"/>
                      <a:pt x="697" y="132"/>
                    </a:cubicBezTo>
                    <a:cubicBezTo>
                      <a:pt x="694" y="136"/>
                      <a:pt x="693" y="141"/>
                      <a:pt x="691" y="145"/>
                    </a:cubicBezTo>
                    <a:cubicBezTo>
                      <a:pt x="688" y="155"/>
                      <a:pt x="686" y="166"/>
                      <a:pt x="686" y="177"/>
                    </a:cubicBezTo>
                    <a:cubicBezTo>
                      <a:pt x="684" y="186"/>
                      <a:pt x="685" y="195"/>
                      <a:pt x="687" y="205"/>
                    </a:cubicBezTo>
                    <a:cubicBezTo>
                      <a:pt x="686" y="215"/>
                      <a:pt x="683" y="224"/>
                      <a:pt x="680" y="233"/>
                    </a:cubicBezTo>
                    <a:cubicBezTo>
                      <a:pt x="679" y="239"/>
                      <a:pt x="675" y="242"/>
                      <a:pt x="671" y="246"/>
                    </a:cubicBezTo>
                    <a:cubicBezTo>
                      <a:pt x="666" y="250"/>
                      <a:pt x="666" y="256"/>
                      <a:pt x="665" y="261"/>
                    </a:cubicBezTo>
                    <a:cubicBezTo>
                      <a:pt x="664" y="267"/>
                      <a:pt x="661" y="272"/>
                      <a:pt x="658" y="276"/>
                    </a:cubicBezTo>
                    <a:cubicBezTo>
                      <a:pt x="653" y="281"/>
                      <a:pt x="651" y="288"/>
                      <a:pt x="649" y="294"/>
                    </a:cubicBezTo>
                    <a:cubicBezTo>
                      <a:pt x="648" y="299"/>
                      <a:pt x="647" y="303"/>
                      <a:pt x="642" y="305"/>
                    </a:cubicBezTo>
                    <a:cubicBezTo>
                      <a:pt x="638" y="310"/>
                      <a:pt x="633" y="316"/>
                      <a:pt x="632" y="323"/>
                    </a:cubicBezTo>
                    <a:cubicBezTo>
                      <a:pt x="628" y="332"/>
                      <a:pt x="630" y="342"/>
                      <a:pt x="626" y="350"/>
                    </a:cubicBezTo>
                    <a:cubicBezTo>
                      <a:pt x="619" y="364"/>
                      <a:pt x="615" y="379"/>
                      <a:pt x="608" y="393"/>
                    </a:cubicBezTo>
                    <a:cubicBezTo>
                      <a:pt x="601" y="409"/>
                      <a:pt x="591" y="424"/>
                      <a:pt x="586" y="441"/>
                    </a:cubicBezTo>
                    <a:cubicBezTo>
                      <a:pt x="584" y="449"/>
                      <a:pt x="585" y="432"/>
                      <a:pt x="584" y="442"/>
                    </a:cubicBezTo>
                    <a:cubicBezTo>
                      <a:pt x="583" y="455"/>
                      <a:pt x="583" y="468"/>
                      <a:pt x="579" y="481"/>
                    </a:cubicBezTo>
                    <a:cubicBezTo>
                      <a:pt x="578" y="491"/>
                      <a:pt x="572" y="499"/>
                      <a:pt x="568" y="507"/>
                    </a:cubicBezTo>
                    <a:cubicBezTo>
                      <a:pt x="564" y="513"/>
                      <a:pt x="557" y="517"/>
                      <a:pt x="552" y="523"/>
                    </a:cubicBezTo>
                    <a:cubicBezTo>
                      <a:pt x="541" y="534"/>
                      <a:pt x="531" y="547"/>
                      <a:pt x="521" y="559"/>
                    </a:cubicBezTo>
                    <a:cubicBezTo>
                      <a:pt x="518" y="572"/>
                      <a:pt x="515" y="584"/>
                      <a:pt x="510" y="596"/>
                    </a:cubicBezTo>
                    <a:cubicBezTo>
                      <a:pt x="503" y="607"/>
                      <a:pt x="495" y="616"/>
                      <a:pt x="489" y="628"/>
                    </a:cubicBezTo>
                    <a:cubicBezTo>
                      <a:pt x="481" y="639"/>
                      <a:pt x="471" y="651"/>
                      <a:pt x="461" y="661"/>
                    </a:cubicBezTo>
                    <a:cubicBezTo>
                      <a:pt x="454" y="666"/>
                      <a:pt x="452" y="676"/>
                      <a:pt x="447" y="683"/>
                    </a:cubicBezTo>
                    <a:cubicBezTo>
                      <a:pt x="438" y="690"/>
                      <a:pt x="430" y="700"/>
                      <a:pt x="421" y="708"/>
                    </a:cubicBezTo>
                    <a:cubicBezTo>
                      <a:pt x="415" y="712"/>
                      <a:pt x="408" y="717"/>
                      <a:pt x="402" y="722"/>
                    </a:cubicBezTo>
                    <a:cubicBezTo>
                      <a:pt x="398" y="727"/>
                      <a:pt x="396" y="734"/>
                      <a:pt x="393" y="739"/>
                    </a:cubicBezTo>
                    <a:cubicBezTo>
                      <a:pt x="385" y="750"/>
                      <a:pt x="375" y="758"/>
                      <a:pt x="367" y="768"/>
                    </a:cubicBezTo>
                    <a:cubicBezTo>
                      <a:pt x="353" y="780"/>
                      <a:pt x="339" y="792"/>
                      <a:pt x="322" y="801"/>
                    </a:cubicBezTo>
                    <a:cubicBezTo>
                      <a:pt x="314" y="803"/>
                      <a:pt x="306" y="803"/>
                      <a:pt x="300" y="808"/>
                    </a:cubicBezTo>
                    <a:cubicBezTo>
                      <a:pt x="283" y="817"/>
                      <a:pt x="271" y="830"/>
                      <a:pt x="257" y="842"/>
                    </a:cubicBezTo>
                    <a:cubicBezTo>
                      <a:pt x="248" y="845"/>
                      <a:pt x="245" y="855"/>
                      <a:pt x="238" y="860"/>
                    </a:cubicBezTo>
                    <a:cubicBezTo>
                      <a:pt x="230" y="866"/>
                      <a:pt x="222" y="873"/>
                      <a:pt x="215" y="881"/>
                    </a:cubicBezTo>
                    <a:cubicBezTo>
                      <a:pt x="206" y="891"/>
                      <a:pt x="196" y="901"/>
                      <a:pt x="186" y="911"/>
                    </a:cubicBezTo>
                    <a:cubicBezTo>
                      <a:pt x="171" y="925"/>
                      <a:pt x="160" y="943"/>
                      <a:pt x="147" y="959"/>
                    </a:cubicBezTo>
                    <a:cubicBezTo>
                      <a:pt x="145" y="964"/>
                      <a:pt x="142" y="965"/>
                      <a:pt x="137" y="965"/>
                    </a:cubicBezTo>
                    <a:cubicBezTo>
                      <a:pt x="134" y="966"/>
                      <a:pt x="128" y="971"/>
                      <a:pt x="126" y="969"/>
                    </a:cubicBezTo>
                    <a:cubicBezTo>
                      <a:pt x="125" y="961"/>
                      <a:pt x="122" y="969"/>
                      <a:pt x="120" y="972"/>
                    </a:cubicBezTo>
                    <a:cubicBezTo>
                      <a:pt x="118" y="975"/>
                      <a:pt x="129" y="966"/>
                      <a:pt x="126" y="974"/>
                    </a:cubicBezTo>
                    <a:cubicBezTo>
                      <a:pt x="129" y="980"/>
                      <a:pt x="125" y="982"/>
                      <a:pt x="120" y="982"/>
                    </a:cubicBezTo>
                    <a:cubicBezTo>
                      <a:pt x="118" y="987"/>
                      <a:pt x="117" y="991"/>
                      <a:pt x="116" y="996"/>
                    </a:cubicBezTo>
                    <a:cubicBezTo>
                      <a:pt x="100" y="1013"/>
                      <a:pt x="86" y="1031"/>
                      <a:pt x="73" y="1050"/>
                    </a:cubicBezTo>
                    <a:cubicBezTo>
                      <a:pt x="71" y="1055"/>
                      <a:pt x="64" y="1055"/>
                      <a:pt x="63" y="1059"/>
                    </a:cubicBezTo>
                    <a:cubicBezTo>
                      <a:pt x="60" y="1067"/>
                      <a:pt x="59" y="1075"/>
                      <a:pt x="54" y="1082"/>
                    </a:cubicBezTo>
                    <a:cubicBezTo>
                      <a:pt x="52" y="1084"/>
                      <a:pt x="51" y="1086"/>
                      <a:pt x="49" y="1088"/>
                    </a:cubicBezTo>
                    <a:cubicBezTo>
                      <a:pt x="49" y="1088"/>
                      <a:pt x="49" y="1088"/>
                      <a:pt x="49" y="1088"/>
                    </a:cubicBezTo>
                    <a:cubicBezTo>
                      <a:pt x="48" y="1085"/>
                      <a:pt x="49" y="1083"/>
                      <a:pt x="48" y="1081"/>
                    </a:cubicBezTo>
                    <a:cubicBezTo>
                      <a:pt x="42" y="1072"/>
                      <a:pt x="33" y="1057"/>
                      <a:pt x="26" y="1049"/>
                    </a:cubicBezTo>
                    <a:cubicBezTo>
                      <a:pt x="19" y="1038"/>
                      <a:pt x="10" y="1028"/>
                      <a:pt x="5" y="1016"/>
                    </a:cubicBezTo>
                    <a:cubicBezTo>
                      <a:pt x="4" y="925"/>
                      <a:pt x="4" y="833"/>
                      <a:pt x="2" y="741"/>
                    </a:cubicBezTo>
                    <a:cubicBezTo>
                      <a:pt x="0" y="726"/>
                      <a:pt x="18" y="719"/>
                      <a:pt x="25" y="708"/>
                    </a:cubicBezTo>
                    <a:cubicBezTo>
                      <a:pt x="41" y="687"/>
                      <a:pt x="54" y="664"/>
                      <a:pt x="68" y="642"/>
                    </a:cubicBezTo>
                    <a:cubicBezTo>
                      <a:pt x="68" y="642"/>
                      <a:pt x="68" y="642"/>
                      <a:pt x="68" y="642"/>
                    </a:cubicBezTo>
                    <a:cubicBezTo>
                      <a:pt x="70" y="641"/>
                      <a:pt x="71" y="639"/>
                      <a:pt x="72" y="635"/>
                    </a:cubicBezTo>
                    <a:cubicBezTo>
                      <a:pt x="78" y="626"/>
                      <a:pt x="89" y="623"/>
                      <a:pt x="100" y="625"/>
                    </a:cubicBezTo>
                    <a:cubicBezTo>
                      <a:pt x="111" y="623"/>
                      <a:pt x="123" y="619"/>
                      <a:pt x="134" y="618"/>
                    </a:cubicBezTo>
                    <a:cubicBezTo>
                      <a:pt x="146" y="611"/>
                      <a:pt x="144" y="593"/>
                      <a:pt x="159" y="588"/>
                    </a:cubicBezTo>
                    <a:cubicBezTo>
                      <a:pt x="174" y="579"/>
                      <a:pt x="191" y="570"/>
                      <a:pt x="208" y="568"/>
                    </a:cubicBezTo>
                    <a:cubicBezTo>
                      <a:pt x="219" y="563"/>
                      <a:pt x="231" y="565"/>
                      <a:pt x="243" y="566"/>
                    </a:cubicBezTo>
                    <a:cubicBezTo>
                      <a:pt x="258" y="566"/>
                      <a:pt x="273" y="567"/>
                      <a:pt x="288" y="568"/>
                    </a:cubicBezTo>
                    <a:cubicBezTo>
                      <a:pt x="326" y="522"/>
                      <a:pt x="362" y="475"/>
                      <a:pt x="401" y="431"/>
                    </a:cubicBezTo>
                    <a:cubicBezTo>
                      <a:pt x="432" y="393"/>
                      <a:pt x="465" y="358"/>
                      <a:pt x="497" y="322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44" name="Slowenia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594342" y="3044978"/>
              <a:ext cx="55475" cy="50161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8" y="0"/>
                </a:cxn>
                <a:cxn ang="0">
                  <a:pos x="10" y="2"/>
                </a:cxn>
                <a:cxn ang="0">
                  <a:pos x="6" y="5"/>
                </a:cxn>
                <a:cxn ang="0">
                  <a:pos x="6" y="9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0" y="9"/>
                </a:cxn>
              </a:cxnLst>
              <a:rect l="0" t="0" r="r" b="b"/>
              <a:pathLst>
                <a:path w="10" h="9">
                  <a:moveTo>
                    <a:pt x="0" y="9"/>
                  </a:moveTo>
                  <a:lnTo>
                    <a:pt x="0" y="5"/>
                  </a:lnTo>
                  <a:lnTo>
                    <a:pt x="0" y="2"/>
                  </a:lnTo>
                  <a:lnTo>
                    <a:pt x="8" y="0"/>
                  </a:lnTo>
                  <a:lnTo>
                    <a:pt x="10" y="2"/>
                  </a:lnTo>
                  <a:lnTo>
                    <a:pt x="6" y="5"/>
                  </a:lnTo>
                  <a:lnTo>
                    <a:pt x="6" y="9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45" name="Slovakia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4649817" y="2955803"/>
              <a:ext cx="127592" cy="66881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4" y="9"/>
                </a:cxn>
                <a:cxn ang="0">
                  <a:pos x="8" y="12"/>
                </a:cxn>
                <a:cxn ang="0">
                  <a:pos x="19" y="7"/>
                </a:cxn>
                <a:cxn ang="0">
                  <a:pos x="23" y="7"/>
                </a:cxn>
                <a:cxn ang="0">
                  <a:pos x="23" y="3"/>
                </a:cxn>
                <a:cxn ang="0">
                  <a:pos x="21" y="3"/>
                </a:cxn>
                <a:cxn ang="0">
                  <a:pos x="15" y="3"/>
                </a:cxn>
                <a:cxn ang="0">
                  <a:pos x="8" y="0"/>
                </a:cxn>
                <a:cxn ang="0">
                  <a:pos x="4" y="5"/>
                </a:cxn>
                <a:cxn ang="0">
                  <a:pos x="0" y="5"/>
                </a:cxn>
                <a:cxn ang="0">
                  <a:pos x="0" y="7"/>
                </a:cxn>
              </a:cxnLst>
              <a:rect l="0" t="0" r="r" b="b"/>
              <a:pathLst>
                <a:path w="23" h="12">
                  <a:moveTo>
                    <a:pt x="0" y="7"/>
                  </a:moveTo>
                  <a:lnTo>
                    <a:pt x="4" y="9"/>
                  </a:lnTo>
                  <a:lnTo>
                    <a:pt x="8" y="12"/>
                  </a:lnTo>
                  <a:lnTo>
                    <a:pt x="19" y="7"/>
                  </a:lnTo>
                  <a:lnTo>
                    <a:pt x="23" y="7"/>
                  </a:lnTo>
                  <a:lnTo>
                    <a:pt x="23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8" y="0"/>
                  </a:lnTo>
                  <a:lnTo>
                    <a:pt x="4" y="5"/>
                  </a:lnTo>
                  <a:lnTo>
                    <a:pt x="0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46" name="Singapore"/>
            <p:cNvSpPr>
              <a:spLocks/>
            </p:cNvSpPr>
            <p:nvPr/>
          </p:nvSpPr>
          <p:spPr bwMode="auto">
            <a:xfrm>
              <a:off x="6963590" y="4476411"/>
              <a:ext cx="16176" cy="18359"/>
            </a:xfrm>
            <a:custGeom>
              <a:avLst/>
              <a:gdLst>
                <a:gd name="T0" fmla="*/ 37 w 43"/>
                <a:gd name="T1" fmla="*/ 22 h 43"/>
                <a:gd name="T2" fmla="*/ 41 w 43"/>
                <a:gd name="T3" fmla="*/ 28 h 43"/>
                <a:gd name="T4" fmla="*/ 37 w 43"/>
                <a:gd name="T5" fmla="*/ 35 h 43"/>
                <a:gd name="T6" fmla="*/ 34 w 43"/>
                <a:gd name="T7" fmla="*/ 42 h 43"/>
                <a:gd name="T8" fmla="*/ 23 w 43"/>
                <a:gd name="T9" fmla="*/ 43 h 43"/>
                <a:gd name="T10" fmla="*/ 16 w 43"/>
                <a:gd name="T11" fmla="*/ 40 h 43"/>
                <a:gd name="T12" fmla="*/ 10 w 43"/>
                <a:gd name="T13" fmla="*/ 36 h 43"/>
                <a:gd name="T14" fmla="*/ 5 w 43"/>
                <a:gd name="T15" fmla="*/ 31 h 43"/>
                <a:gd name="T16" fmla="*/ 4 w 43"/>
                <a:gd name="T17" fmla="*/ 24 h 43"/>
                <a:gd name="T18" fmla="*/ 1 w 43"/>
                <a:gd name="T19" fmla="*/ 17 h 43"/>
                <a:gd name="T20" fmla="*/ 4 w 43"/>
                <a:gd name="T21" fmla="*/ 11 h 43"/>
                <a:gd name="T22" fmla="*/ 8 w 43"/>
                <a:gd name="T23" fmla="*/ 5 h 43"/>
                <a:gd name="T24" fmla="*/ 13 w 43"/>
                <a:gd name="T25" fmla="*/ 3 h 43"/>
                <a:gd name="T26" fmla="*/ 21 w 43"/>
                <a:gd name="T27" fmla="*/ 3 h 43"/>
                <a:gd name="T28" fmla="*/ 27 w 43"/>
                <a:gd name="T29" fmla="*/ 4 h 43"/>
                <a:gd name="T30" fmla="*/ 33 w 43"/>
                <a:gd name="T31" fmla="*/ 7 h 43"/>
                <a:gd name="T32" fmla="*/ 34 w 43"/>
                <a:gd name="T33" fmla="*/ 14 h 43"/>
                <a:gd name="T34" fmla="*/ 35 w 43"/>
                <a:gd name="T35" fmla="*/ 15 h 43"/>
                <a:gd name="T36" fmla="*/ 37 w 43"/>
                <a:gd name="T37" fmla="*/ 2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" h="43">
                  <a:moveTo>
                    <a:pt x="37" y="22"/>
                  </a:moveTo>
                  <a:cubicBezTo>
                    <a:pt x="38" y="24"/>
                    <a:pt x="43" y="24"/>
                    <a:pt x="41" y="28"/>
                  </a:cubicBezTo>
                  <a:cubicBezTo>
                    <a:pt x="40" y="30"/>
                    <a:pt x="38" y="33"/>
                    <a:pt x="37" y="35"/>
                  </a:cubicBezTo>
                  <a:cubicBezTo>
                    <a:pt x="37" y="37"/>
                    <a:pt x="38" y="41"/>
                    <a:pt x="34" y="42"/>
                  </a:cubicBezTo>
                  <a:cubicBezTo>
                    <a:pt x="31" y="42"/>
                    <a:pt x="27" y="43"/>
                    <a:pt x="23" y="43"/>
                  </a:cubicBezTo>
                  <a:cubicBezTo>
                    <a:pt x="21" y="42"/>
                    <a:pt x="18" y="43"/>
                    <a:pt x="16" y="40"/>
                  </a:cubicBezTo>
                  <a:cubicBezTo>
                    <a:pt x="14" y="38"/>
                    <a:pt x="11" y="38"/>
                    <a:pt x="10" y="36"/>
                  </a:cubicBezTo>
                  <a:cubicBezTo>
                    <a:pt x="8" y="34"/>
                    <a:pt x="5" y="34"/>
                    <a:pt x="5" y="31"/>
                  </a:cubicBezTo>
                  <a:cubicBezTo>
                    <a:pt x="3" y="29"/>
                    <a:pt x="3" y="27"/>
                    <a:pt x="4" y="24"/>
                  </a:cubicBezTo>
                  <a:cubicBezTo>
                    <a:pt x="4" y="22"/>
                    <a:pt x="2" y="19"/>
                    <a:pt x="1" y="17"/>
                  </a:cubicBezTo>
                  <a:cubicBezTo>
                    <a:pt x="0" y="15"/>
                    <a:pt x="1" y="12"/>
                    <a:pt x="4" y="11"/>
                  </a:cubicBezTo>
                  <a:cubicBezTo>
                    <a:pt x="7" y="10"/>
                    <a:pt x="6" y="6"/>
                    <a:pt x="8" y="5"/>
                  </a:cubicBezTo>
                  <a:cubicBezTo>
                    <a:pt x="10" y="5"/>
                    <a:pt x="12" y="4"/>
                    <a:pt x="13" y="3"/>
                  </a:cubicBezTo>
                  <a:cubicBezTo>
                    <a:pt x="16" y="2"/>
                    <a:pt x="19" y="0"/>
                    <a:pt x="21" y="3"/>
                  </a:cubicBezTo>
                  <a:cubicBezTo>
                    <a:pt x="23" y="4"/>
                    <a:pt x="25" y="3"/>
                    <a:pt x="27" y="4"/>
                  </a:cubicBezTo>
                  <a:cubicBezTo>
                    <a:pt x="29" y="5"/>
                    <a:pt x="31" y="6"/>
                    <a:pt x="33" y="7"/>
                  </a:cubicBezTo>
                  <a:cubicBezTo>
                    <a:pt x="35" y="9"/>
                    <a:pt x="34" y="12"/>
                    <a:pt x="34" y="14"/>
                  </a:cubicBezTo>
                  <a:cubicBezTo>
                    <a:pt x="34" y="14"/>
                    <a:pt x="35" y="14"/>
                    <a:pt x="35" y="15"/>
                  </a:cubicBezTo>
                  <a:cubicBezTo>
                    <a:pt x="35" y="17"/>
                    <a:pt x="36" y="20"/>
                    <a:pt x="37" y="22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47" name="Seychelles"/>
            <p:cNvSpPr>
              <a:spLocks/>
            </p:cNvSpPr>
            <p:nvPr/>
          </p:nvSpPr>
          <p:spPr bwMode="auto">
            <a:xfrm>
              <a:off x="5565154" y="4885541"/>
              <a:ext cx="16176" cy="18359"/>
            </a:xfrm>
            <a:custGeom>
              <a:avLst/>
              <a:gdLst>
                <a:gd name="T0" fmla="*/ 37 w 43"/>
                <a:gd name="T1" fmla="*/ 22 h 43"/>
                <a:gd name="T2" fmla="*/ 41 w 43"/>
                <a:gd name="T3" fmla="*/ 28 h 43"/>
                <a:gd name="T4" fmla="*/ 37 w 43"/>
                <a:gd name="T5" fmla="*/ 35 h 43"/>
                <a:gd name="T6" fmla="*/ 34 w 43"/>
                <a:gd name="T7" fmla="*/ 42 h 43"/>
                <a:gd name="T8" fmla="*/ 23 w 43"/>
                <a:gd name="T9" fmla="*/ 43 h 43"/>
                <a:gd name="T10" fmla="*/ 16 w 43"/>
                <a:gd name="T11" fmla="*/ 40 h 43"/>
                <a:gd name="T12" fmla="*/ 10 w 43"/>
                <a:gd name="T13" fmla="*/ 36 h 43"/>
                <a:gd name="T14" fmla="*/ 5 w 43"/>
                <a:gd name="T15" fmla="*/ 31 h 43"/>
                <a:gd name="T16" fmla="*/ 4 w 43"/>
                <a:gd name="T17" fmla="*/ 24 h 43"/>
                <a:gd name="T18" fmla="*/ 1 w 43"/>
                <a:gd name="T19" fmla="*/ 17 h 43"/>
                <a:gd name="T20" fmla="*/ 4 w 43"/>
                <a:gd name="T21" fmla="*/ 11 h 43"/>
                <a:gd name="T22" fmla="*/ 8 w 43"/>
                <a:gd name="T23" fmla="*/ 5 h 43"/>
                <a:gd name="T24" fmla="*/ 13 w 43"/>
                <a:gd name="T25" fmla="*/ 3 h 43"/>
                <a:gd name="T26" fmla="*/ 21 w 43"/>
                <a:gd name="T27" fmla="*/ 3 h 43"/>
                <a:gd name="T28" fmla="*/ 27 w 43"/>
                <a:gd name="T29" fmla="*/ 4 h 43"/>
                <a:gd name="T30" fmla="*/ 33 w 43"/>
                <a:gd name="T31" fmla="*/ 7 h 43"/>
                <a:gd name="T32" fmla="*/ 34 w 43"/>
                <a:gd name="T33" fmla="*/ 14 h 43"/>
                <a:gd name="T34" fmla="*/ 35 w 43"/>
                <a:gd name="T35" fmla="*/ 15 h 43"/>
                <a:gd name="T36" fmla="*/ 37 w 43"/>
                <a:gd name="T37" fmla="*/ 2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" h="43">
                  <a:moveTo>
                    <a:pt x="37" y="22"/>
                  </a:moveTo>
                  <a:cubicBezTo>
                    <a:pt x="38" y="24"/>
                    <a:pt x="43" y="24"/>
                    <a:pt x="41" y="28"/>
                  </a:cubicBezTo>
                  <a:cubicBezTo>
                    <a:pt x="40" y="30"/>
                    <a:pt x="38" y="33"/>
                    <a:pt x="37" y="35"/>
                  </a:cubicBezTo>
                  <a:cubicBezTo>
                    <a:pt x="37" y="37"/>
                    <a:pt x="38" y="41"/>
                    <a:pt x="34" y="42"/>
                  </a:cubicBezTo>
                  <a:cubicBezTo>
                    <a:pt x="31" y="42"/>
                    <a:pt x="27" y="43"/>
                    <a:pt x="23" y="43"/>
                  </a:cubicBezTo>
                  <a:cubicBezTo>
                    <a:pt x="21" y="42"/>
                    <a:pt x="18" y="43"/>
                    <a:pt x="16" y="40"/>
                  </a:cubicBezTo>
                  <a:cubicBezTo>
                    <a:pt x="14" y="38"/>
                    <a:pt x="11" y="38"/>
                    <a:pt x="10" y="36"/>
                  </a:cubicBezTo>
                  <a:cubicBezTo>
                    <a:pt x="8" y="34"/>
                    <a:pt x="5" y="34"/>
                    <a:pt x="5" y="31"/>
                  </a:cubicBezTo>
                  <a:cubicBezTo>
                    <a:pt x="3" y="29"/>
                    <a:pt x="3" y="27"/>
                    <a:pt x="4" y="24"/>
                  </a:cubicBezTo>
                  <a:cubicBezTo>
                    <a:pt x="4" y="22"/>
                    <a:pt x="2" y="19"/>
                    <a:pt x="1" y="17"/>
                  </a:cubicBezTo>
                  <a:cubicBezTo>
                    <a:pt x="0" y="15"/>
                    <a:pt x="1" y="12"/>
                    <a:pt x="4" y="11"/>
                  </a:cubicBezTo>
                  <a:cubicBezTo>
                    <a:pt x="7" y="10"/>
                    <a:pt x="6" y="6"/>
                    <a:pt x="8" y="5"/>
                  </a:cubicBezTo>
                  <a:cubicBezTo>
                    <a:pt x="10" y="5"/>
                    <a:pt x="12" y="4"/>
                    <a:pt x="13" y="3"/>
                  </a:cubicBezTo>
                  <a:cubicBezTo>
                    <a:pt x="16" y="2"/>
                    <a:pt x="19" y="0"/>
                    <a:pt x="21" y="3"/>
                  </a:cubicBezTo>
                  <a:cubicBezTo>
                    <a:pt x="23" y="4"/>
                    <a:pt x="25" y="3"/>
                    <a:pt x="27" y="4"/>
                  </a:cubicBezTo>
                  <a:cubicBezTo>
                    <a:pt x="29" y="5"/>
                    <a:pt x="31" y="6"/>
                    <a:pt x="33" y="7"/>
                  </a:cubicBezTo>
                  <a:cubicBezTo>
                    <a:pt x="35" y="9"/>
                    <a:pt x="34" y="12"/>
                    <a:pt x="34" y="14"/>
                  </a:cubicBezTo>
                  <a:cubicBezTo>
                    <a:pt x="34" y="14"/>
                    <a:pt x="35" y="14"/>
                    <a:pt x="35" y="15"/>
                  </a:cubicBezTo>
                  <a:cubicBezTo>
                    <a:pt x="35" y="17"/>
                    <a:pt x="36" y="20"/>
                    <a:pt x="37" y="22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48" name="Serbia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4694197" y="3072845"/>
              <a:ext cx="116498" cy="133762"/>
            </a:xfrm>
            <a:custGeom>
              <a:avLst/>
              <a:gdLst/>
              <a:ahLst/>
              <a:cxnLst>
                <a:cxn ang="0">
                  <a:pos x="11" y="24"/>
                </a:cxn>
                <a:cxn ang="0">
                  <a:pos x="11" y="20"/>
                </a:cxn>
                <a:cxn ang="0">
                  <a:pos x="7" y="20"/>
                </a:cxn>
                <a:cxn ang="0">
                  <a:pos x="11" y="20"/>
                </a:cxn>
                <a:cxn ang="0">
                  <a:pos x="5" y="13"/>
                </a:cxn>
                <a:cxn ang="0">
                  <a:pos x="7" y="13"/>
                </a:cxn>
                <a:cxn ang="0">
                  <a:pos x="5" y="9"/>
                </a:cxn>
                <a:cxn ang="0">
                  <a:pos x="5" y="6"/>
                </a:cxn>
                <a:cxn ang="0">
                  <a:pos x="5" y="4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5" y="6"/>
                </a:cxn>
                <a:cxn ang="0">
                  <a:pos x="19" y="6"/>
                </a:cxn>
                <a:cxn ang="0">
                  <a:pos x="21" y="9"/>
                </a:cxn>
                <a:cxn ang="0">
                  <a:pos x="19" y="13"/>
                </a:cxn>
                <a:cxn ang="0">
                  <a:pos x="19" y="20"/>
                </a:cxn>
                <a:cxn ang="0">
                  <a:pos x="19" y="22"/>
                </a:cxn>
                <a:cxn ang="0">
                  <a:pos x="15" y="22"/>
                </a:cxn>
                <a:cxn ang="0">
                  <a:pos x="13" y="24"/>
                </a:cxn>
                <a:cxn ang="0">
                  <a:pos x="11" y="24"/>
                </a:cxn>
              </a:cxnLst>
              <a:rect l="0" t="0" r="r" b="b"/>
              <a:pathLst>
                <a:path w="21" h="24">
                  <a:moveTo>
                    <a:pt x="11" y="24"/>
                  </a:moveTo>
                  <a:lnTo>
                    <a:pt x="11" y="20"/>
                  </a:lnTo>
                  <a:lnTo>
                    <a:pt x="7" y="20"/>
                  </a:lnTo>
                  <a:lnTo>
                    <a:pt x="11" y="20"/>
                  </a:lnTo>
                  <a:lnTo>
                    <a:pt x="5" y="13"/>
                  </a:lnTo>
                  <a:lnTo>
                    <a:pt x="7" y="13"/>
                  </a:lnTo>
                  <a:lnTo>
                    <a:pt x="5" y="9"/>
                  </a:lnTo>
                  <a:lnTo>
                    <a:pt x="5" y="6"/>
                  </a:lnTo>
                  <a:lnTo>
                    <a:pt x="5" y="4"/>
                  </a:lnTo>
                  <a:lnTo>
                    <a:pt x="0" y="0"/>
                  </a:lnTo>
                  <a:lnTo>
                    <a:pt x="7" y="0"/>
                  </a:lnTo>
                  <a:lnTo>
                    <a:pt x="15" y="6"/>
                  </a:lnTo>
                  <a:lnTo>
                    <a:pt x="19" y="6"/>
                  </a:lnTo>
                  <a:lnTo>
                    <a:pt x="21" y="9"/>
                  </a:lnTo>
                  <a:lnTo>
                    <a:pt x="19" y="13"/>
                  </a:lnTo>
                  <a:lnTo>
                    <a:pt x="19" y="20"/>
                  </a:lnTo>
                  <a:lnTo>
                    <a:pt x="19" y="22"/>
                  </a:lnTo>
                  <a:lnTo>
                    <a:pt x="15" y="22"/>
                  </a:lnTo>
                  <a:lnTo>
                    <a:pt x="13" y="24"/>
                  </a:lnTo>
                  <a:lnTo>
                    <a:pt x="11" y="2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49" name="Senegal"/>
            <p:cNvSpPr>
              <a:spLocks/>
            </p:cNvSpPr>
            <p:nvPr/>
          </p:nvSpPr>
          <p:spPr bwMode="auto">
            <a:xfrm>
              <a:off x="3775708" y="3993927"/>
              <a:ext cx="148392" cy="150212"/>
            </a:xfrm>
            <a:custGeom>
              <a:avLst/>
              <a:gdLst>
                <a:gd name="T0" fmla="*/ 233 w 408"/>
                <a:gd name="T1" fmla="*/ 315 h 349"/>
                <a:gd name="T2" fmla="*/ 92 w 408"/>
                <a:gd name="T3" fmla="*/ 329 h 349"/>
                <a:gd name="T4" fmla="*/ 22 w 408"/>
                <a:gd name="T5" fmla="*/ 340 h 349"/>
                <a:gd name="T6" fmla="*/ 18 w 408"/>
                <a:gd name="T7" fmla="*/ 333 h 349"/>
                <a:gd name="T8" fmla="*/ 26 w 408"/>
                <a:gd name="T9" fmla="*/ 278 h 349"/>
                <a:gd name="T10" fmla="*/ 30 w 408"/>
                <a:gd name="T11" fmla="*/ 272 h 349"/>
                <a:gd name="T12" fmla="*/ 90 w 408"/>
                <a:gd name="T13" fmla="*/ 270 h 349"/>
                <a:gd name="T14" fmla="*/ 140 w 408"/>
                <a:gd name="T15" fmla="*/ 241 h 349"/>
                <a:gd name="T16" fmla="*/ 208 w 408"/>
                <a:gd name="T17" fmla="*/ 270 h 349"/>
                <a:gd name="T18" fmla="*/ 190 w 408"/>
                <a:gd name="T19" fmla="*/ 248 h 349"/>
                <a:gd name="T20" fmla="*/ 137 w 408"/>
                <a:gd name="T21" fmla="*/ 227 h 349"/>
                <a:gd name="T22" fmla="*/ 46 w 408"/>
                <a:gd name="T23" fmla="*/ 237 h 349"/>
                <a:gd name="T24" fmla="*/ 44 w 408"/>
                <a:gd name="T25" fmla="*/ 226 h 349"/>
                <a:gd name="T26" fmla="*/ 22 w 408"/>
                <a:gd name="T27" fmla="*/ 173 h 349"/>
                <a:gd name="T28" fmla="*/ 7 w 408"/>
                <a:gd name="T29" fmla="*/ 139 h 349"/>
                <a:gd name="T30" fmla="*/ 49 w 408"/>
                <a:gd name="T31" fmla="*/ 89 h 349"/>
                <a:gd name="T32" fmla="*/ 71 w 408"/>
                <a:gd name="T33" fmla="*/ 43 h 349"/>
                <a:gd name="T34" fmla="*/ 97 w 408"/>
                <a:gd name="T35" fmla="*/ 8 h 349"/>
                <a:gd name="T36" fmla="*/ 167 w 408"/>
                <a:gd name="T37" fmla="*/ 8 h 349"/>
                <a:gd name="T38" fmla="*/ 210 w 408"/>
                <a:gd name="T39" fmla="*/ 7 h 349"/>
                <a:gd name="T40" fmla="*/ 260 w 408"/>
                <a:gd name="T41" fmla="*/ 45 h 349"/>
                <a:gd name="T42" fmla="*/ 283 w 408"/>
                <a:gd name="T43" fmla="*/ 55 h 349"/>
                <a:gd name="T44" fmla="*/ 303 w 408"/>
                <a:gd name="T45" fmla="*/ 99 h 349"/>
                <a:gd name="T46" fmla="*/ 317 w 408"/>
                <a:gd name="T47" fmla="*/ 120 h 349"/>
                <a:gd name="T48" fmla="*/ 356 w 408"/>
                <a:gd name="T49" fmla="*/ 156 h 349"/>
                <a:gd name="T50" fmla="*/ 361 w 408"/>
                <a:gd name="T51" fmla="*/ 188 h 349"/>
                <a:gd name="T52" fmla="*/ 364 w 408"/>
                <a:gd name="T53" fmla="*/ 237 h 349"/>
                <a:gd name="T54" fmla="*/ 392 w 408"/>
                <a:gd name="T55" fmla="*/ 266 h 349"/>
                <a:gd name="T56" fmla="*/ 403 w 408"/>
                <a:gd name="T57" fmla="*/ 305 h 349"/>
                <a:gd name="T58" fmla="*/ 398 w 408"/>
                <a:gd name="T59" fmla="*/ 339 h 349"/>
                <a:gd name="T60" fmla="*/ 341 w 408"/>
                <a:gd name="T61" fmla="*/ 344 h 349"/>
                <a:gd name="T62" fmla="*/ 293 w 408"/>
                <a:gd name="T63" fmla="*/ 327 h 349"/>
                <a:gd name="T64" fmla="*/ 237 w 408"/>
                <a:gd name="T65" fmla="*/ 315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8" h="349">
                  <a:moveTo>
                    <a:pt x="237" y="315"/>
                  </a:moveTo>
                  <a:cubicBezTo>
                    <a:pt x="235" y="315"/>
                    <a:pt x="234" y="315"/>
                    <a:pt x="233" y="315"/>
                  </a:cubicBezTo>
                  <a:cubicBezTo>
                    <a:pt x="198" y="314"/>
                    <a:pt x="164" y="312"/>
                    <a:pt x="129" y="311"/>
                  </a:cubicBezTo>
                  <a:cubicBezTo>
                    <a:pt x="118" y="318"/>
                    <a:pt x="106" y="326"/>
                    <a:pt x="92" y="329"/>
                  </a:cubicBezTo>
                  <a:cubicBezTo>
                    <a:pt x="77" y="329"/>
                    <a:pt x="61" y="321"/>
                    <a:pt x="47" y="330"/>
                  </a:cubicBezTo>
                  <a:cubicBezTo>
                    <a:pt x="40" y="338"/>
                    <a:pt x="29" y="333"/>
                    <a:pt x="22" y="340"/>
                  </a:cubicBezTo>
                  <a:cubicBezTo>
                    <a:pt x="22" y="340"/>
                    <a:pt x="22" y="340"/>
                    <a:pt x="22" y="340"/>
                  </a:cubicBezTo>
                  <a:cubicBezTo>
                    <a:pt x="21" y="338"/>
                    <a:pt x="20" y="335"/>
                    <a:pt x="18" y="333"/>
                  </a:cubicBezTo>
                  <a:cubicBezTo>
                    <a:pt x="15" y="329"/>
                    <a:pt x="19" y="324"/>
                    <a:pt x="20" y="319"/>
                  </a:cubicBezTo>
                  <a:cubicBezTo>
                    <a:pt x="21" y="305"/>
                    <a:pt x="23" y="291"/>
                    <a:pt x="26" y="278"/>
                  </a:cubicBezTo>
                  <a:cubicBezTo>
                    <a:pt x="27" y="278"/>
                    <a:pt x="27" y="278"/>
                    <a:pt x="27" y="278"/>
                  </a:cubicBezTo>
                  <a:cubicBezTo>
                    <a:pt x="28" y="276"/>
                    <a:pt x="29" y="274"/>
                    <a:pt x="30" y="272"/>
                  </a:cubicBezTo>
                  <a:cubicBezTo>
                    <a:pt x="39" y="268"/>
                    <a:pt x="48" y="272"/>
                    <a:pt x="58" y="271"/>
                  </a:cubicBezTo>
                  <a:cubicBezTo>
                    <a:pt x="69" y="270"/>
                    <a:pt x="82" y="275"/>
                    <a:pt x="90" y="270"/>
                  </a:cubicBezTo>
                  <a:cubicBezTo>
                    <a:pt x="88" y="253"/>
                    <a:pt x="108" y="257"/>
                    <a:pt x="119" y="256"/>
                  </a:cubicBezTo>
                  <a:cubicBezTo>
                    <a:pt x="131" y="263"/>
                    <a:pt x="135" y="249"/>
                    <a:pt x="140" y="241"/>
                  </a:cubicBezTo>
                  <a:cubicBezTo>
                    <a:pt x="152" y="247"/>
                    <a:pt x="164" y="258"/>
                    <a:pt x="177" y="261"/>
                  </a:cubicBezTo>
                  <a:cubicBezTo>
                    <a:pt x="187" y="263"/>
                    <a:pt x="196" y="274"/>
                    <a:pt x="208" y="270"/>
                  </a:cubicBezTo>
                  <a:cubicBezTo>
                    <a:pt x="216" y="264"/>
                    <a:pt x="242" y="268"/>
                    <a:pt x="233" y="251"/>
                  </a:cubicBezTo>
                  <a:cubicBezTo>
                    <a:pt x="222" y="232"/>
                    <a:pt x="201" y="263"/>
                    <a:pt x="190" y="248"/>
                  </a:cubicBezTo>
                  <a:cubicBezTo>
                    <a:pt x="188" y="235"/>
                    <a:pt x="179" y="235"/>
                    <a:pt x="169" y="239"/>
                  </a:cubicBezTo>
                  <a:cubicBezTo>
                    <a:pt x="166" y="225"/>
                    <a:pt x="149" y="218"/>
                    <a:pt x="137" y="227"/>
                  </a:cubicBezTo>
                  <a:cubicBezTo>
                    <a:pt x="128" y="222"/>
                    <a:pt x="116" y="229"/>
                    <a:pt x="116" y="240"/>
                  </a:cubicBezTo>
                  <a:cubicBezTo>
                    <a:pt x="90" y="239"/>
                    <a:pt x="72" y="238"/>
                    <a:pt x="46" y="237"/>
                  </a:cubicBezTo>
                  <a:cubicBezTo>
                    <a:pt x="46" y="237"/>
                    <a:pt x="46" y="237"/>
                    <a:pt x="46" y="237"/>
                  </a:cubicBezTo>
                  <a:cubicBezTo>
                    <a:pt x="45" y="233"/>
                    <a:pt x="44" y="230"/>
                    <a:pt x="44" y="226"/>
                  </a:cubicBezTo>
                  <a:cubicBezTo>
                    <a:pt x="42" y="220"/>
                    <a:pt x="38" y="215"/>
                    <a:pt x="35" y="209"/>
                  </a:cubicBezTo>
                  <a:cubicBezTo>
                    <a:pt x="31" y="197"/>
                    <a:pt x="27" y="185"/>
                    <a:pt x="22" y="173"/>
                  </a:cubicBezTo>
                  <a:cubicBezTo>
                    <a:pt x="17" y="165"/>
                    <a:pt x="11" y="158"/>
                    <a:pt x="4" y="152"/>
                  </a:cubicBezTo>
                  <a:cubicBezTo>
                    <a:pt x="0" y="147"/>
                    <a:pt x="5" y="143"/>
                    <a:pt x="7" y="139"/>
                  </a:cubicBezTo>
                  <a:cubicBezTo>
                    <a:pt x="15" y="133"/>
                    <a:pt x="22" y="126"/>
                    <a:pt x="28" y="118"/>
                  </a:cubicBezTo>
                  <a:cubicBezTo>
                    <a:pt x="36" y="109"/>
                    <a:pt x="43" y="99"/>
                    <a:pt x="49" y="89"/>
                  </a:cubicBezTo>
                  <a:cubicBezTo>
                    <a:pt x="56" y="79"/>
                    <a:pt x="63" y="69"/>
                    <a:pt x="69" y="59"/>
                  </a:cubicBezTo>
                  <a:cubicBezTo>
                    <a:pt x="70" y="54"/>
                    <a:pt x="70" y="49"/>
                    <a:pt x="71" y="43"/>
                  </a:cubicBezTo>
                  <a:cubicBezTo>
                    <a:pt x="73" y="39"/>
                    <a:pt x="74" y="47"/>
                    <a:pt x="75" y="39"/>
                  </a:cubicBezTo>
                  <a:cubicBezTo>
                    <a:pt x="87" y="31"/>
                    <a:pt x="80" y="8"/>
                    <a:pt x="97" y="8"/>
                  </a:cubicBezTo>
                  <a:cubicBezTo>
                    <a:pt x="107" y="13"/>
                    <a:pt x="116" y="13"/>
                    <a:pt x="127" y="15"/>
                  </a:cubicBezTo>
                  <a:cubicBezTo>
                    <a:pt x="140" y="6"/>
                    <a:pt x="153" y="12"/>
                    <a:pt x="167" y="8"/>
                  </a:cubicBezTo>
                  <a:cubicBezTo>
                    <a:pt x="167" y="0"/>
                    <a:pt x="169" y="6"/>
                    <a:pt x="174" y="4"/>
                  </a:cubicBezTo>
                  <a:cubicBezTo>
                    <a:pt x="182" y="2"/>
                    <a:pt x="198" y="8"/>
                    <a:pt x="210" y="7"/>
                  </a:cubicBezTo>
                  <a:cubicBezTo>
                    <a:pt x="224" y="5"/>
                    <a:pt x="231" y="20"/>
                    <a:pt x="242" y="29"/>
                  </a:cubicBezTo>
                  <a:cubicBezTo>
                    <a:pt x="241" y="31"/>
                    <a:pt x="250" y="52"/>
                    <a:pt x="260" y="45"/>
                  </a:cubicBezTo>
                  <a:cubicBezTo>
                    <a:pt x="258" y="50"/>
                    <a:pt x="267" y="49"/>
                    <a:pt x="278" y="48"/>
                  </a:cubicBezTo>
                  <a:cubicBezTo>
                    <a:pt x="272" y="54"/>
                    <a:pt x="283" y="49"/>
                    <a:pt x="283" y="55"/>
                  </a:cubicBezTo>
                  <a:cubicBezTo>
                    <a:pt x="287" y="66"/>
                    <a:pt x="292" y="76"/>
                    <a:pt x="292" y="87"/>
                  </a:cubicBezTo>
                  <a:cubicBezTo>
                    <a:pt x="300" y="87"/>
                    <a:pt x="300" y="93"/>
                    <a:pt x="303" y="99"/>
                  </a:cubicBezTo>
                  <a:cubicBezTo>
                    <a:pt x="312" y="95"/>
                    <a:pt x="310" y="105"/>
                    <a:pt x="313" y="110"/>
                  </a:cubicBezTo>
                  <a:cubicBezTo>
                    <a:pt x="323" y="112"/>
                    <a:pt x="309" y="120"/>
                    <a:pt x="317" y="120"/>
                  </a:cubicBezTo>
                  <a:cubicBezTo>
                    <a:pt x="321" y="128"/>
                    <a:pt x="329" y="131"/>
                    <a:pt x="337" y="135"/>
                  </a:cubicBezTo>
                  <a:cubicBezTo>
                    <a:pt x="342" y="143"/>
                    <a:pt x="347" y="152"/>
                    <a:pt x="356" y="156"/>
                  </a:cubicBezTo>
                  <a:cubicBezTo>
                    <a:pt x="356" y="157"/>
                    <a:pt x="356" y="157"/>
                    <a:pt x="356" y="157"/>
                  </a:cubicBezTo>
                  <a:cubicBezTo>
                    <a:pt x="370" y="166"/>
                    <a:pt x="347" y="179"/>
                    <a:pt x="361" y="188"/>
                  </a:cubicBezTo>
                  <a:cubicBezTo>
                    <a:pt x="369" y="194"/>
                    <a:pt x="373" y="205"/>
                    <a:pt x="368" y="216"/>
                  </a:cubicBezTo>
                  <a:cubicBezTo>
                    <a:pt x="371" y="224"/>
                    <a:pt x="374" y="232"/>
                    <a:pt x="364" y="237"/>
                  </a:cubicBezTo>
                  <a:cubicBezTo>
                    <a:pt x="356" y="248"/>
                    <a:pt x="378" y="255"/>
                    <a:pt x="374" y="266"/>
                  </a:cubicBezTo>
                  <a:cubicBezTo>
                    <a:pt x="380" y="276"/>
                    <a:pt x="384" y="256"/>
                    <a:pt x="392" y="266"/>
                  </a:cubicBezTo>
                  <a:cubicBezTo>
                    <a:pt x="397" y="275"/>
                    <a:pt x="396" y="286"/>
                    <a:pt x="404" y="293"/>
                  </a:cubicBezTo>
                  <a:cubicBezTo>
                    <a:pt x="406" y="298"/>
                    <a:pt x="408" y="299"/>
                    <a:pt x="403" y="305"/>
                  </a:cubicBezTo>
                  <a:cubicBezTo>
                    <a:pt x="407" y="315"/>
                    <a:pt x="394" y="327"/>
                    <a:pt x="405" y="335"/>
                  </a:cubicBezTo>
                  <a:cubicBezTo>
                    <a:pt x="403" y="338"/>
                    <a:pt x="401" y="339"/>
                    <a:pt x="398" y="339"/>
                  </a:cubicBezTo>
                  <a:cubicBezTo>
                    <a:pt x="392" y="339"/>
                    <a:pt x="384" y="336"/>
                    <a:pt x="379" y="341"/>
                  </a:cubicBezTo>
                  <a:cubicBezTo>
                    <a:pt x="366" y="341"/>
                    <a:pt x="353" y="336"/>
                    <a:pt x="341" y="344"/>
                  </a:cubicBezTo>
                  <a:cubicBezTo>
                    <a:pt x="331" y="349"/>
                    <a:pt x="328" y="335"/>
                    <a:pt x="317" y="340"/>
                  </a:cubicBezTo>
                  <a:cubicBezTo>
                    <a:pt x="310" y="335"/>
                    <a:pt x="299" y="333"/>
                    <a:pt x="293" y="327"/>
                  </a:cubicBezTo>
                  <a:cubicBezTo>
                    <a:pt x="287" y="337"/>
                    <a:pt x="280" y="329"/>
                    <a:pt x="283" y="321"/>
                  </a:cubicBezTo>
                  <a:cubicBezTo>
                    <a:pt x="270" y="316"/>
                    <a:pt x="252" y="316"/>
                    <a:pt x="237" y="315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50" name="Saudi Arabia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5126902" y="3524294"/>
              <a:ext cx="565845" cy="551771"/>
            </a:xfrm>
            <a:custGeom>
              <a:avLst/>
              <a:gdLst/>
              <a:ahLst/>
              <a:cxnLst>
                <a:cxn ang="0">
                  <a:pos x="46" y="18"/>
                </a:cxn>
                <a:cxn ang="0">
                  <a:pos x="48" y="18"/>
                </a:cxn>
                <a:cxn ang="0">
                  <a:pos x="54" y="18"/>
                </a:cxn>
                <a:cxn ang="0">
                  <a:pos x="62" y="20"/>
                </a:cxn>
                <a:cxn ang="0">
                  <a:pos x="71" y="29"/>
                </a:cxn>
                <a:cxn ang="0">
                  <a:pos x="73" y="38"/>
                </a:cxn>
                <a:cxn ang="0">
                  <a:pos x="77" y="45"/>
                </a:cxn>
                <a:cxn ang="0">
                  <a:pos x="77" y="47"/>
                </a:cxn>
                <a:cxn ang="0">
                  <a:pos x="77" y="52"/>
                </a:cxn>
                <a:cxn ang="0">
                  <a:pos x="79" y="52"/>
                </a:cxn>
                <a:cxn ang="0">
                  <a:pos x="81" y="52"/>
                </a:cxn>
                <a:cxn ang="0">
                  <a:pos x="85" y="52"/>
                </a:cxn>
                <a:cxn ang="0">
                  <a:pos x="87" y="52"/>
                </a:cxn>
                <a:cxn ang="0">
                  <a:pos x="89" y="52"/>
                </a:cxn>
                <a:cxn ang="0">
                  <a:pos x="94" y="52"/>
                </a:cxn>
                <a:cxn ang="0">
                  <a:pos x="94" y="47"/>
                </a:cxn>
                <a:cxn ang="0">
                  <a:pos x="96" y="47"/>
                </a:cxn>
                <a:cxn ang="0">
                  <a:pos x="100" y="52"/>
                </a:cxn>
                <a:cxn ang="0">
                  <a:pos x="102" y="54"/>
                </a:cxn>
                <a:cxn ang="0">
                  <a:pos x="102" y="61"/>
                </a:cxn>
                <a:cxn ang="0">
                  <a:pos x="96" y="72"/>
                </a:cxn>
                <a:cxn ang="0">
                  <a:pos x="85" y="81"/>
                </a:cxn>
                <a:cxn ang="0">
                  <a:pos x="71" y="85"/>
                </a:cxn>
                <a:cxn ang="0">
                  <a:pos x="54" y="99"/>
                </a:cxn>
                <a:cxn ang="0">
                  <a:pos x="46" y="88"/>
                </a:cxn>
                <a:cxn ang="0">
                  <a:pos x="39" y="90"/>
                </a:cxn>
                <a:cxn ang="0">
                  <a:pos x="39" y="88"/>
                </a:cxn>
                <a:cxn ang="0">
                  <a:pos x="31" y="72"/>
                </a:cxn>
                <a:cxn ang="0">
                  <a:pos x="25" y="70"/>
                </a:cxn>
                <a:cxn ang="0">
                  <a:pos x="23" y="63"/>
                </a:cxn>
                <a:cxn ang="0">
                  <a:pos x="23" y="54"/>
                </a:cxn>
                <a:cxn ang="0">
                  <a:pos x="20" y="47"/>
                </a:cxn>
                <a:cxn ang="0">
                  <a:pos x="14" y="45"/>
                </a:cxn>
                <a:cxn ang="0">
                  <a:pos x="2" y="25"/>
                </a:cxn>
                <a:cxn ang="0">
                  <a:pos x="0" y="25"/>
                </a:cxn>
                <a:cxn ang="0">
                  <a:pos x="0" y="13"/>
                </a:cxn>
                <a:cxn ang="0">
                  <a:pos x="6" y="13"/>
                </a:cxn>
                <a:cxn ang="0">
                  <a:pos x="8" y="11"/>
                </a:cxn>
                <a:cxn ang="0">
                  <a:pos x="10" y="11"/>
                </a:cxn>
                <a:cxn ang="0">
                  <a:pos x="14" y="9"/>
                </a:cxn>
                <a:cxn ang="0">
                  <a:pos x="8" y="2"/>
                </a:cxn>
                <a:cxn ang="0">
                  <a:pos x="20" y="0"/>
                </a:cxn>
                <a:cxn ang="0">
                  <a:pos x="25" y="2"/>
                </a:cxn>
                <a:cxn ang="0">
                  <a:pos x="37" y="9"/>
                </a:cxn>
                <a:cxn ang="0">
                  <a:pos x="39" y="9"/>
                </a:cxn>
                <a:cxn ang="0">
                  <a:pos x="39" y="13"/>
                </a:cxn>
                <a:cxn ang="0">
                  <a:pos x="41" y="16"/>
                </a:cxn>
                <a:cxn ang="0">
                  <a:pos x="46" y="18"/>
                </a:cxn>
              </a:cxnLst>
              <a:rect l="0" t="0" r="r" b="b"/>
              <a:pathLst>
                <a:path w="102" h="99">
                  <a:moveTo>
                    <a:pt x="46" y="18"/>
                  </a:moveTo>
                  <a:lnTo>
                    <a:pt x="48" y="18"/>
                  </a:lnTo>
                  <a:lnTo>
                    <a:pt x="54" y="18"/>
                  </a:lnTo>
                  <a:lnTo>
                    <a:pt x="62" y="20"/>
                  </a:lnTo>
                  <a:lnTo>
                    <a:pt x="71" y="29"/>
                  </a:lnTo>
                  <a:lnTo>
                    <a:pt x="73" y="38"/>
                  </a:lnTo>
                  <a:lnTo>
                    <a:pt x="77" y="45"/>
                  </a:lnTo>
                  <a:lnTo>
                    <a:pt x="77" y="47"/>
                  </a:lnTo>
                  <a:lnTo>
                    <a:pt x="77" y="52"/>
                  </a:lnTo>
                  <a:lnTo>
                    <a:pt x="79" y="52"/>
                  </a:lnTo>
                  <a:lnTo>
                    <a:pt x="81" y="52"/>
                  </a:lnTo>
                  <a:lnTo>
                    <a:pt x="85" y="52"/>
                  </a:lnTo>
                  <a:lnTo>
                    <a:pt x="87" y="52"/>
                  </a:lnTo>
                  <a:lnTo>
                    <a:pt x="89" y="52"/>
                  </a:lnTo>
                  <a:lnTo>
                    <a:pt x="94" y="52"/>
                  </a:lnTo>
                  <a:lnTo>
                    <a:pt x="94" y="47"/>
                  </a:lnTo>
                  <a:lnTo>
                    <a:pt x="96" y="47"/>
                  </a:lnTo>
                  <a:lnTo>
                    <a:pt x="100" y="52"/>
                  </a:lnTo>
                  <a:lnTo>
                    <a:pt x="102" y="54"/>
                  </a:lnTo>
                  <a:lnTo>
                    <a:pt x="102" y="61"/>
                  </a:lnTo>
                  <a:lnTo>
                    <a:pt x="96" y="72"/>
                  </a:lnTo>
                  <a:lnTo>
                    <a:pt x="85" y="81"/>
                  </a:lnTo>
                  <a:lnTo>
                    <a:pt x="71" y="85"/>
                  </a:lnTo>
                  <a:lnTo>
                    <a:pt x="54" y="99"/>
                  </a:lnTo>
                  <a:lnTo>
                    <a:pt x="46" y="88"/>
                  </a:lnTo>
                  <a:lnTo>
                    <a:pt x="39" y="90"/>
                  </a:lnTo>
                  <a:lnTo>
                    <a:pt x="39" y="88"/>
                  </a:lnTo>
                  <a:lnTo>
                    <a:pt x="31" y="72"/>
                  </a:lnTo>
                  <a:lnTo>
                    <a:pt x="25" y="70"/>
                  </a:lnTo>
                  <a:lnTo>
                    <a:pt x="23" y="63"/>
                  </a:lnTo>
                  <a:lnTo>
                    <a:pt x="23" y="54"/>
                  </a:lnTo>
                  <a:lnTo>
                    <a:pt x="20" y="47"/>
                  </a:lnTo>
                  <a:lnTo>
                    <a:pt x="14" y="45"/>
                  </a:lnTo>
                  <a:lnTo>
                    <a:pt x="2" y="25"/>
                  </a:lnTo>
                  <a:lnTo>
                    <a:pt x="0" y="25"/>
                  </a:lnTo>
                  <a:lnTo>
                    <a:pt x="0" y="13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4" y="9"/>
                  </a:lnTo>
                  <a:lnTo>
                    <a:pt x="8" y="2"/>
                  </a:lnTo>
                  <a:lnTo>
                    <a:pt x="20" y="0"/>
                  </a:lnTo>
                  <a:lnTo>
                    <a:pt x="25" y="2"/>
                  </a:lnTo>
                  <a:lnTo>
                    <a:pt x="37" y="9"/>
                  </a:lnTo>
                  <a:lnTo>
                    <a:pt x="39" y="9"/>
                  </a:lnTo>
                  <a:lnTo>
                    <a:pt x="39" y="13"/>
                  </a:lnTo>
                  <a:lnTo>
                    <a:pt x="41" y="16"/>
                  </a:lnTo>
                  <a:lnTo>
                    <a:pt x="46" y="1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51" name="São Tomé and Príncipe"/>
            <p:cNvSpPr>
              <a:spLocks/>
            </p:cNvSpPr>
            <p:nvPr/>
          </p:nvSpPr>
          <p:spPr bwMode="auto">
            <a:xfrm>
              <a:off x="4421886" y="4457080"/>
              <a:ext cx="16176" cy="18359"/>
            </a:xfrm>
            <a:custGeom>
              <a:avLst/>
              <a:gdLst>
                <a:gd name="T0" fmla="*/ 37 w 43"/>
                <a:gd name="T1" fmla="*/ 22 h 43"/>
                <a:gd name="T2" fmla="*/ 41 w 43"/>
                <a:gd name="T3" fmla="*/ 28 h 43"/>
                <a:gd name="T4" fmla="*/ 37 w 43"/>
                <a:gd name="T5" fmla="*/ 35 h 43"/>
                <a:gd name="T6" fmla="*/ 34 w 43"/>
                <a:gd name="T7" fmla="*/ 42 h 43"/>
                <a:gd name="T8" fmla="*/ 23 w 43"/>
                <a:gd name="T9" fmla="*/ 43 h 43"/>
                <a:gd name="T10" fmla="*/ 16 w 43"/>
                <a:gd name="T11" fmla="*/ 40 h 43"/>
                <a:gd name="T12" fmla="*/ 10 w 43"/>
                <a:gd name="T13" fmla="*/ 36 h 43"/>
                <a:gd name="T14" fmla="*/ 5 w 43"/>
                <a:gd name="T15" fmla="*/ 31 h 43"/>
                <a:gd name="T16" fmla="*/ 4 w 43"/>
                <a:gd name="T17" fmla="*/ 24 h 43"/>
                <a:gd name="T18" fmla="*/ 1 w 43"/>
                <a:gd name="T19" fmla="*/ 17 h 43"/>
                <a:gd name="T20" fmla="*/ 4 w 43"/>
                <a:gd name="T21" fmla="*/ 11 h 43"/>
                <a:gd name="T22" fmla="*/ 8 w 43"/>
                <a:gd name="T23" fmla="*/ 5 h 43"/>
                <a:gd name="T24" fmla="*/ 13 w 43"/>
                <a:gd name="T25" fmla="*/ 3 h 43"/>
                <a:gd name="T26" fmla="*/ 21 w 43"/>
                <a:gd name="T27" fmla="*/ 3 h 43"/>
                <a:gd name="T28" fmla="*/ 27 w 43"/>
                <a:gd name="T29" fmla="*/ 4 h 43"/>
                <a:gd name="T30" fmla="*/ 33 w 43"/>
                <a:gd name="T31" fmla="*/ 7 h 43"/>
                <a:gd name="T32" fmla="*/ 34 w 43"/>
                <a:gd name="T33" fmla="*/ 14 h 43"/>
                <a:gd name="T34" fmla="*/ 35 w 43"/>
                <a:gd name="T35" fmla="*/ 15 h 43"/>
                <a:gd name="T36" fmla="*/ 37 w 43"/>
                <a:gd name="T37" fmla="*/ 2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" h="43">
                  <a:moveTo>
                    <a:pt x="37" y="22"/>
                  </a:moveTo>
                  <a:cubicBezTo>
                    <a:pt x="38" y="24"/>
                    <a:pt x="43" y="24"/>
                    <a:pt x="41" y="28"/>
                  </a:cubicBezTo>
                  <a:cubicBezTo>
                    <a:pt x="40" y="30"/>
                    <a:pt x="38" y="33"/>
                    <a:pt x="37" y="35"/>
                  </a:cubicBezTo>
                  <a:cubicBezTo>
                    <a:pt x="37" y="37"/>
                    <a:pt x="38" y="41"/>
                    <a:pt x="34" y="42"/>
                  </a:cubicBezTo>
                  <a:cubicBezTo>
                    <a:pt x="31" y="42"/>
                    <a:pt x="27" y="43"/>
                    <a:pt x="23" y="43"/>
                  </a:cubicBezTo>
                  <a:cubicBezTo>
                    <a:pt x="21" y="42"/>
                    <a:pt x="18" y="43"/>
                    <a:pt x="16" y="40"/>
                  </a:cubicBezTo>
                  <a:cubicBezTo>
                    <a:pt x="14" y="38"/>
                    <a:pt x="11" y="38"/>
                    <a:pt x="10" y="36"/>
                  </a:cubicBezTo>
                  <a:cubicBezTo>
                    <a:pt x="8" y="34"/>
                    <a:pt x="5" y="34"/>
                    <a:pt x="5" y="31"/>
                  </a:cubicBezTo>
                  <a:cubicBezTo>
                    <a:pt x="3" y="29"/>
                    <a:pt x="3" y="27"/>
                    <a:pt x="4" y="24"/>
                  </a:cubicBezTo>
                  <a:cubicBezTo>
                    <a:pt x="4" y="22"/>
                    <a:pt x="2" y="19"/>
                    <a:pt x="1" y="17"/>
                  </a:cubicBezTo>
                  <a:cubicBezTo>
                    <a:pt x="0" y="15"/>
                    <a:pt x="1" y="12"/>
                    <a:pt x="4" y="11"/>
                  </a:cubicBezTo>
                  <a:cubicBezTo>
                    <a:pt x="7" y="10"/>
                    <a:pt x="6" y="6"/>
                    <a:pt x="8" y="5"/>
                  </a:cubicBezTo>
                  <a:cubicBezTo>
                    <a:pt x="10" y="5"/>
                    <a:pt x="12" y="4"/>
                    <a:pt x="13" y="3"/>
                  </a:cubicBezTo>
                  <a:cubicBezTo>
                    <a:pt x="16" y="2"/>
                    <a:pt x="19" y="0"/>
                    <a:pt x="21" y="3"/>
                  </a:cubicBezTo>
                  <a:cubicBezTo>
                    <a:pt x="23" y="4"/>
                    <a:pt x="25" y="3"/>
                    <a:pt x="27" y="4"/>
                  </a:cubicBezTo>
                  <a:cubicBezTo>
                    <a:pt x="29" y="5"/>
                    <a:pt x="31" y="6"/>
                    <a:pt x="33" y="7"/>
                  </a:cubicBezTo>
                  <a:cubicBezTo>
                    <a:pt x="35" y="9"/>
                    <a:pt x="34" y="12"/>
                    <a:pt x="34" y="14"/>
                  </a:cubicBezTo>
                  <a:cubicBezTo>
                    <a:pt x="34" y="14"/>
                    <a:pt x="35" y="14"/>
                    <a:pt x="35" y="15"/>
                  </a:cubicBezTo>
                  <a:cubicBezTo>
                    <a:pt x="35" y="17"/>
                    <a:pt x="36" y="20"/>
                    <a:pt x="37" y="22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52" name="Sierra Leone"/>
            <p:cNvSpPr>
              <a:spLocks/>
            </p:cNvSpPr>
            <p:nvPr/>
          </p:nvSpPr>
          <p:spPr bwMode="auto">
            <a:xfrm>
              <a:off x="3867837" y="4219245"/>
              <a:ext cx="77360" cy="105148"/>
            </a:xfrm>
            <a:custGeom>
              <a:avLst/>
              <a:gdLst>
                <a:gd name="T0" fmla="*/ 0 w 213"/>
                <a:gd name="T1" fmla="*/ 72 h 242"/>
                <a:gd name="T2" fmla="*/ 18 w 213"/>
                <a:gd name="T3" fmla="*/ 66 h 242"/>
                <a:gd name="T4" fmla="*/ 35 w 213"/>
                <a:gd name="T5" fmla="*/ 50 h 242"/>
                <a:gd name="T6" fmla="*/ 58 w 213"/>
                <a:gd name="T7" fmla="*/ 10 h 242"/>
                <a:gd name="T8" fmla="*/ 100 w 213"/>
                <a:gd name="T9" fmla="*/ 2 h 242"/>
                <a:gd name="T10" fmla="*/ 148 w 213"/>
                <a:gd name="T11" fmla="*/ 3 h 242"/>
                <a:gd name="T12" fmla="*/ 172 w 213"/>
                <a:gd name="T13" fmla="*/ 36 h 242"/>
                <a:gd name="T14" fmla="*/ 185 w 213"/>
                <a:gd name="T15" fmla="*/ 64 h 242"/>
                <a:gd name="T16" fmla="*/ 191 w 213"/>
                <a:gd name="T17" fmla="*/ 77 h 242"/>
                <a:gd name="T18" fmla="*/ 198 w 213"/>
                <a:gd name="T19" fmla="*/ 106 h 242"/>
                <a:gd name="T20" fmla="*/ 180 w 213"/>
                <a:gd name="T21" fmla="*/ 132 h 242"/>
                <a:gd name="T22" fmla="*/ 179 w 213"/>
                <a:gd name="T23" fmla="*/ 134 h 242"/>
                <a:gd name="T24" fmla="*/ 180 w 213"/>
                <a:gd name="T25" fmla="*/ 132 h 242"/>
                <a:gd name="T26" fmla="*/ 197 w 213"/>
                <a:gd name="T27" fmla="*/ 130 h 242"/>
                <a:gd name="T28" fmla="*/ 212 w 213"/>
                <a:gd name="T29" fmla="*/ 120 h 242"/>
                <a:gd name="T30" fmla="*/ 213 w 213"/>
                <a:gd name="T31" fmla="*/ 121 h 242"/>
                <a:gd name="T32" fmla="*/ 209 w 213"/>
                <a:gd name="T33" fmla="*/ 134 h 242"/>
                <a:gd name="T34" fmla="*/ 186 w 213"/>
                <a:gd name="T35" fmla="*/ 159 h 242"/>
                <a:gd name="T36" fmla="*/ 174 w 213"/>
                <a:gd name="T37" fmla="*/ 184 h 242"/>
                <a:gd name="T38" fmla="*/ 143 w 213"/>
                <a:gd name="T39" fmla="*/ 212 h 242"/>
                <a:gd name="T40" fmla="*/ 116 w 213"/>
                <a:gd name="T41" fmla="*/ 241 h 242"/>
                <a:gd name="T42" fmla="*/ 116 w 213"/>
                <a:gd name="T43" fmla="*/ 242 h 242"/>
                <a:gd name="T44" fmla="*/ 114 w 213"/>
                <a:gd name="T45" fmla="*/ 241 h 242"/>
                <a:gd name="T46" fmla="*/ 63 w 213"/>
                <a:gd name="T47" fmla="*/ 216 h 242"/>
                <a:gd name="T48" fmla="*/ 55 w 213"/>
                <a:gd name="T49" fmla="*/ 203 h 242"/>
                <a:gd name="T50" fmla="*/ 46 w 213"/>
                <a:gd name="T51" fmla="*/ 189 h 242"/>
                <a:gd name="T52" fmla="*/ 27 w 213"/>
                <a:gd name="T53" fmla="*/ 171 h 242"/>
                <a:gd name="T54" fmla="*/ 26 w 213"/>
                <a:gd name="T55" fmla="*/ 154 h 242"/>
                <a:gd name="T56" fmla="*/ 17 w 213"/>
                <a:gd name="T57" fmla="*/ 146 h 242"/>
                <a:gd name="T58" fmla="*/ 8 w 213"/>
                <a:gd name="T59" fmla="*/ 141 h 242"/>
                <a:gd name="T60" fmla="*/ 13 w 213"/>
                <a:gd name="T61" fmla="*/ 121 h 242"/>
                <a:gd name="T62" fmla="*/ 7 w 213"/>
                <a:gd name="T63" fmla="*/ 113 h 242"/>
                <a:gd name="T64" fmla="*/ 6 w 213"/>
                <a:gd name="T65" fmla="*/ 98 h 242"/>
                <a:gd name="T66" fmla="*/ 2 w 213"/>
                <a:gd name="T67" fmla="*/ 84 h 242"/>
                <a:gd name="T68" fmla="*/ 0 w 213"/>
                <a:gd name="T69" fmla="*/ 7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3" h="242">
                  <a:moveTo>
                    <a:pt x="0" y="72"/>
                  </a:moveTo>
                  <a:cubicBezTo>
                    <a:pt x="4" y="68"/>
                    <a:pt x="13" y="79"/>
                    <a:pt x="18" y="66"/>
                  </a:cubicBezTo>
                  <a:cubicBezTo>
                    <a:pt x="17" y="53"/>
                    <a:pt x="29" y="58"/>
                    <a:pt x="35" y="50"/>
                  </a:cubicBezTo>
                  <a:cubicBezTo>
                    <a:pt x="44" y="38"/>
                    <a:pt x="52" y="24"/>
                    <a:pt x="58" y="10"/>
                  </a:cubicBezTo>
                  <a:cubicBezTo>
                    <a:pt x="71" y="0"/>
                    <a:pt x="93" y="20"/>
                    <a:pt x="100" y="2"/>
                  </a:cubicBezTo>
                  <a:cubicBezTo>
                    <a:pt x="116" y="2"/>
                    <a:pt x="132" y="2"/>
                    <a:pt x="148" y="3"/>
                  </a:cubicBezTo>
                  <a:cubicBezTo>
                    <a:pt x="157" y="12"/>
                    <a:pt x="165" y="23"/>
                    <a:pt x="172" y="36"/>
                  </a:cubicBezTo>
                  <a:cubicBezTo>
                    <a:pt x="171" y="49"/>
                    <a:pt x="190" y="52"/>
                    <a:pt x="185" y="64"/>
                  </a:cubicBezTo>
                  <a:cubicBezTo>
                    <a:pt x="175" y="71"/>
                    <a:pt x="184" y="75"/>
                    <a:pt x="191" y="77"/>
                  </a:cubicBezTo>
                  <a:cubicBezTo>
                    <a:pt x="188" y="87"/>
                    <a:pt x="191" y="98"/>
                    <a:pt x="198" y="106"/>
                  </a:cubicBezTo>
                  <a:cubicBezTo>
                    <a:pt x="189" y="112"/>
                    <a:pt x="185" y="123"/>
                    <a:pt x="180" y="132"/>
                  </a:cubicBezTo>
                  <a:cubicBezTo>
                    <a:pt x="177" y="132"/>
                    <a:pt x="176" y="132"/>
                    <a:pt x="179" y="134"/>
                  </a:cubicBezTo>
                  <a:cubicBezTo>
                    <a:pt x="180" y="133"/>
                    <a:pt x="180" y="133"/>
                    <a:pt x="180" y="132"/>
                  </a:cubicBezTo>
                  <a:cubicBezTo>
                    <a:pt x="185" y="133"/>
                    <a:pt x="194" y="134"/>
                    <a:pt x="197" y="130"/>
                  </a:cubicBezTo>
                  <a:cubicBezTo>
                    <a:pt x="200" y="122"/>
                    <a:pt x="206" y="121"/>
                    <a:pt x="212" y="120"/>
                  </a:cubicBezTo>
                  <a:cubicBezTo>
                    <a:pt x="213" y="121"/>
                    <a:pt x="213" y="121"/>
                    <a:pt x="213" y="121"/>
                  </a:cubicBezTo>
                  <a:cubicBezTo>
                    <a:pt x="213" y="126"/>
                    <a:pt x="209" y="129"/>
                    <a:pt x="209" y="134"/>
                  </a:cubicBezTo>
                  <a:cubicBezTo>
                    <a:pt x="213" y="153"/>
                    <a:pt x="188" y="143"/>
                    <a:pt x="186" y="159"/>
                  </a:cubicBezTo>
                  <a:cubicBezTo>
                    <a:pt x="189" y="171"/>
                    <a:pt x="181" y="177"/>
                    <a:pt x="174" y="184"/>
                  </a:cubicBezTo>
                  <a:cubicBezTo>
                    <a:pt x="167" y="197"/>
                    <a:pt x="149" y="198"/>
                    <a:pt x="143" y="212"/>
                  </a:cubicBezTo>
                  <a:cubicBezTo>
                    <a:pt x="127" y="215"/>
                    <a:pt x="129" y="236"/>
                    <a:pt x="116" y="241"/>
                  </a:cubicBezTo>
                  <a:cubicBezTo>
                    <a:pt x="116" y="242"/>
                    <a:pt x="116" y="242"/>
                    <a:pt x="116" y="242"/>
                  </a:cubicBezTo>
                  <a:cubicBezTo>
                    <a:pt x="116" y="241"/>
                    <a:pt x="115" y="241"/>
                    <a:pt x="114" y="241"/>
                  </a:cubicBezTo>
                  <a:cubicBezTo>
                    <a:pt x="98" y="231"/>
                    <a:pt x="80" y="224"/>
                    <a:pt x="63" y="216"/>
                  </a:cubicBezTo>
                  <a:cubicBezTo>
                    <a:pt x="57" y="215"/>
                    <a:pt x="56" y="208"/>
                    <a:pt x="55" y="203"/>
                  </a:cubicBezTo>
                  <a:cubicBezTo>
                    <a:pt x="56" y="197"/>
                    <a:pt x="49" y="194"/>
                    <a:pt x="46" y="189"/>
                  </a:cubicBezTo>
                  <a:cubicBezTo>
                    <a:pt x="41" y="182"/>
                    <a:pt x="31" y="179"/>
                    <a:pt x="27" y="171"/>
                  </a:cubicBezTo>
                  <a:cubicBezTo>
                    <a:pt x="26" y="166"/>
                    <a:pt x="26" y="160"/>
                    <a:pt x="26" y="154"/>
                  </a:cubicBezTo>
                  <a:cubicBezTo>
                    <a:pt x="24" y="151"/>
                    <a:pt x="20" y="147"/>
                    <a:pt x="17" y="146"/>
                  </a:cubicBezTo>
                  <a:cubicBezTo>
                    <a:pt x="12" y="146"/>
                    <a:pt x="7" y="147"/>
                    <a:pt x="8" y="141"/>
                  </a:cubicBezTo>
                  <a:cubicBezTo>
                    <a:pt x="5" y="134"/>
                    <a:pt x="8" y="126"/>
                    <a:pt x="13" y="121"/>
                  </a:cubicBezTo>
                  <a:cubicBezTo>
                    <a:pt x="18" y="117"/>
                    <a:pt x="10" y="115"/>
                    <a:pt x="7" y="113"/>
                  </a:cubicBezTo>
                  <a:cubicBezTo>
                    <a:pt x="7" y="108"/>
                    <a:pt x="4" y="103"/>
                    <a:pt x="6" y="98"/>
                  </a:cubicBezTo>
                  <a:cubicBezTo>
                    <a:pt x="9" y="93"/>
                    <a:pt x="6" y="88"/>
                    <a:pt x="2" y="84"/>
                  </a:cubicBezTo>
                  <a:cubicBezTo>
                    <a:pt x="3" y="79"/>
                    <a:pt x="1" y="76"/>
                    <a:pt x="0" y="72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53" name="Sardinia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4455655" y="3234474"/>
              <a:ext cx="44380" cy="6130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11"/>
                </a:cxn>
                <a:cxn ang="0">
                  <a:pos x="8" y="11"/>
                </a:cxn>
                <a:cxn ang="0">
                  <a:pos x="8" y="2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8" h="11">
                  <a:moveTo>
                    <a:pt x="0" y="0"/>
                  </a:moveTo>
                  <a:lnTo>
                    <a:pt x="2" y="11"/>
                  </a:lnTo>
                  <a:lnTo>
                    <a:pt x="8" y="11"/>
                  </a:lnTo>
                  <a:lnTo>
                    <a:pt x="8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54" name="San Marino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4583247" y="3154470"/>
              <a:ext cx="11095" cy="5016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2" y="9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9">
                  <a:moveTo>
                    <a:pt x="0" y="0"/>
                  </a:moveTo>
                  <a:lnTo>
                    <a:pt x="0" y="4"/>
                  </a:lnTo>
                  <a:lnTo>
                    <a:pt x="2" y="9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55" name="Saint Vincent and the Grenadines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3248258" y="4482115"/>
              <a:ext cx="11095" cy="1114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56" name="Sahara"/>
            <p:cNvSpPr>
              <a:spLocks/>
            </p:cNvSpPr>
            <p:nvPr/>
          </p:nvSpPr>
          <p:spPr bwMode="auto">
            <a:xfrm>
              <a:off x="3806855" y="3635088"/>
              <a:ext cx="233285" cy="211965"/>
            </a:xfrm>
            <a:custGeom>
              <a:avLst/>
              <a:gdLst>
                <a:gd name="connsiteX0" fmla="*/ 403007 w 526593"/>
                <a:gd name="connsiteY0" fmla="*/ 50197 h 403224"/>
                <a:gd name="connsiteX1" fmla="*/ 370183 w 526593"/>
                <a:gd name="connsiteY1" fmla="*/ 58426 h 403224"/>
                <a:gd name="connsiteX2" fmla="*/ 373055 w 526593"/>
                <a:gd name="connsiteY2" fmla="*/ 67786 h 403224"/>
                <a:gd name="connsiteX3" fmla="*/ 373465 w 526593"/>
                <a:gd name="connsiteY3" fmla="*/ 69123 h 403224"/>
                <a:gd name="connsiteX4" fmla="*/ 346386 w 526593"/>
                <a:gd name="connsiteY4" fmla="*/ 97925 h 403224"/>
                <a:gd name="connsiteX5" fmla="*/ 311921 w 526593"/>
                <a:gd name="connsiteY5" fmla="*/ 96279 h 403224"/>
                <a:gd name="connsiteX6" fmla="*/ 311921 w 526593"/>
                <a:gd name="connsiteY6" fmla="*/ 116851 h 403224"/>
                <a:gd name="connsiteX7" fmla="*/ 300433 w 526593"/>
                <a:gd name="connsiteY7" fmla="*/ 180214 h 403224"/>
                <a:gd name="connsiteX8" fmla="*/ 259403 w 526593"/>
                <a:gd name="connsiteY8" fmla="*/ 200786 h 403224"/>
                <a:gd name="connsiteX9" fmla="*/ 240529 w 526593"/>
                <a:gd name="connsiteY9" fmla="*/ 232056 h 403224"/>
                <a:gd name="connsiteX10" fmla="*/ 204423 w 526593"/>
                <a:gd name="connsiteY10" fmla="*/ 243577 h 403224"/>
                <a:gd name="connsiteX11" fmla="*/ 240457 w 526593"/>
                <a:gd name="connsiteY11" fmla="*/ 232191 h 403224"/>
                <a:gd name="connsiteX12" fmla="*/ 259368 w 526593"/>
                <a:gd name="connsiteY12" fmla="*/ 200944 h 403224"/>
                <a:gd name="connsiteX13" fmla="*/ 300480 w 526593"/>
                <a:gd name="connsiteY13" fmla="*/ 180387 h 403224"/>
                <a:gd name="connsiteX14" fmla="*/ 311991 w 526593"/>
                <a:gd name="connsiteY14" fmla="*/ 117072 h 403224"/>
                <a:gd name="connsiteX15" fmla="*/ 311991 w 526593"/>
                <a:gd name="connsiteY15" fmla="*/ 96515 h 403224"/>
                <a:gd name="connsiteX16" fmla="*/ 346524 w 526593"/>
                <a:gd name="connsiteY16" fmla="*/ 98159 h 403224"/>
                <a:gd name="connsiteX17" fmla="*/ 373658 w 526593"/>
                <a:gd name="connsiteY17" fmla="*/ 69380 h 403224"/>
                <a:gd name="connsiteX18" fmla="*/ 370780 w 526593"/>
                <a:gd name="connsiteY18" fmla="*/ 60026 h 403224"/>
                <a:gd name="connsiteX19" fmla="*/ 370369 w 526593"/>
                <a:gd name="connsiteY19" fmla="*/ 58690 h 403224"/>
                <a:gd name="connsiteX20" fmla="*/ 403258 w 526593"/>
                <a:gd name="connsiteY20" fmla="*/ 50467 h 403224"/>
                <a:gd name="connsiteX21" fmla="*/ 428748 w 526593"/>
                <a:gd name="connsiteY21" fmla="*/ 66091 h 403224"/>
                <a:gd name="connsiteX22" fmla="*/ 442417 w 526593"/>
                <a:gd name="connsiteY22" fmla="*/ 61054 h 403224"/>
                <a:gd name="connsiteX23" fmla="*/ 444340 w 526593"/>
                <a:gd name="connsiteY23" fmla="*/ 60346 h 403224"/>
                <a:gd name="connsiteX24" fmla="*/ 430394 w 526593"/>
                <a:gd name="connsiteY24" fmla="*/ 65112 h 403224"/>
                <a:gd name="connsiteX25" fmla="*/ 428445 w 526593"/>
                <a:gd name="connsiteY25" fmla="*/ 65832 h 403224"/>
                <a:gd name="connsiteX26" fmla="*/ 403007 w 526593"/>
                <a:gd name="connsiteY26" fmla="*/ 50197 h 403224"/>
                <a:gd name="connsiteX27" fmla="*/ 288124 w 526593"/>
                <a:gd name="connsiteY27" fmla="*/ 0 h 403224"/>
                <a:gd name="connsiteX28" fmla="*/ 514607 w 526593"/>
                <a:gd name="connsiteY28" fmla="*/ 13989 h 403224"/>
                <a:gd name="connsiteX29" fmla="*/ 516761 w 526593"/>
                <a:gd name="connsiteY29" fmla="*/ 29110 h 403224"/>
                <a:gd name="connsiteX30" fmla="*/ 517069 w 526593"/>
                <a:gd name="connsiteY30" fmla="*/ 31270 h 403224"/>
                <a:gd name="connsiteX31" fmla="*/ 514197 w 526593"/>
                <a:gd name="connsiteY31" fmla="*/ 43511 h 403224"/>
                <a:gd name="connsiteX32" fmla="*/ 513787 w 526593"/>
                <a:gd name="connsiteY32" fmla="*/ 45259 h 403224"/>
                <a:gd name="connsiteX33" fmla="*/ 513787 w 526593"/>
                <a:gd name="connsiteY33" fmla="*/ 51019 h 403224"/>
                <a:gd name="connsiteX34" fmla="*/ 513787 w 526593"/>
                <a:gd name="connsiteY34" fmla="*/ 51842 h 403224"/>
                <a:gd name="connsiteX35" fmla="*/ 479322 w 526593"/>
                <a:gd name="connsiteY35" fmla="*/ 55134 h 403224"/>
                <a:gd name="connsiteX36" fmla="*/ 452285 w 526593"/>
                <a:gd name="connsiteY36" fmla="*/ 67458 h 403224"/>
                <a:gd name="connsiteX37" fmla="*/ 479726 w 526593"/>
                <a:gd name="connsiteY37" fmla="*/ 55401 h 403224"/>
                <a:gd name="connsiteX38" fmla="*/ 510971 w 526593"/>
                <a:gd name="connsiteY38" fmla="*/ 55401 h 403224"/>
                <a:gd name="connsiteX39" fmla="*/ 514260 w 526593"/>
                <a:gd name="connsiteY39" fmla="*/ 46356 h 403224"/>
                <a:gd name="connsiteX40" fmla="*/ 514260 w 526593"/>
                <a:gd name="connsiteY40" fmla="*/ 45534 h 403224"/>
                <a:gd name="connsiteX41" fmla="*/ 517137 w 526593"/>
                <a:gd name="connsiteY41" fmla="*/ 33302 h 403224"/>
                <a:gd name="connsiteX42" fmla="*/ 517549 w 526593"/>
                <a:gd name="connsiteY42" fmla="*/ 31555 h 403224"/>
                <a:gd name="connsiteX43" fmla="*/ 515390 w 526593"/>
                <a:gd name="connsiteY43" fmla="*/ 16446 h 403224"/>
                <a:gd name="connsiteX44" fmla="*/ 515082 w 526593"/>
                <a:gd name="connsiteY44" fmla="*/ 14287 h 403224"/>
                <a:gd name="connsiteX45" fmla="*/ 526593 w 526593"/>
                <a:gd name="connsiteY45" fmla="*/ 15109 h 403224"/>
                <a:gd name="connsiteX46" fmla="*/ 523304 w 526593"/>
                <a:gd name="connsiteY46" fmla="*/ 38133 h 403224"/>
                <a:gd name="connsiteX47" fmla="*/ 510971 w 526593"/>
                <a:gd name="connsiteY47" fmla="*/ 117894 h 403224"/>
                <a:gd name="connsiteX48" fmla="*/ 325969 w 526593"/>
                <a:gd name="connsiteY48" fmla="*/ 108027 h 403224"/>
                <a:gd name="connsiteX49" fmla="*/ 301302 w 526593"/>
                <a:gd name="connsiteY49" fmla="*/ 265904 h 403224"/>
                <a:gd name="connsiteX50" fmla="*/ 270879 w 526593"/>
                <a:gd name="connsiteY50" fmla="*/ 274127 h 403224"/>
                <a:gd name="connsiteX51" fmla="*/ 234701 w 526593"/>
                <a:gd name="connsiteY51" fmla="*/ 296328 h 403224"/>
                <a:gd name="connsiteX52" fmla="*/ 231412 w 526593"/>
                <a:gd name="connsiteY52" fmla="*/ 322641 h 403224"/>
                <a:gd name="connsiteX53" fmla="*/ 225657 w 526593"/>
                <a:gd name="connsiteY53" fmla="*/ 395001 h 403224"/>
                <a:gd name="connsiteX54" fmla="*/ 24210 w 526593"/>
                <a:gd name="connsiteY54" fmla="*/ 384312 h 403224"/>
                <a:gd name="connsiteX55" fmla="*/ 5299 w 526593"/>
                <a:gd name="connsiteY55" fmla="*/ 392535 h 403224"/>
                <a:gd name="connsiteX56" fmla="*/ 365 w 526593"/>
                <a:gd name="connsiteY56" fmla="*/ 403224 h 403224"/>
                <a:gd name="connsiteX57" fmla="*/ 365 w 526593"/>
                <a:gd name="connsiteY57" fmla="*/ 395824 h 403224"/>
                <a:gd name="connsiteX58" fmla="*/ 6943 w 526593"/>
                <a:gd name="connsiteY58" fmla="*/ 373622 h 403224"/>
                <a:gd name="connsiteX59" fmla="*/ 63677 w 526593"/>
                <a:gd name="connsiteY59" fmla="*/ 374444 h 403224"/>
                <a:gd name="connsiteX60" fmla="*/ 118767 w 526593"/>
                <a:gd name="connsiteY60" fmla="*/ 381023 h 403224"/>
                <a:gd name="connsiteX61" fmla="*/ 139322 w 526593"/>
                <a:gd name="connsiteY61" fmla="*/ 381023 h 403224"/>
                <a:gd name="connsiteX62" fmla="*/ 139335 w 526593"/>
                <a:gd name="connsiteY62" fmla="*/ 381000 h 403224"/>
                <a:gd name="connsiteX63" fmla="*/ 119082 w 526593"/>
                <a:gd name="connsiteY63" fmla="*/ 381000 h 403224"/>
                <a:gd name="connsiteX64" fmla="*/ 64102 w 526593"/>
                <a:gd name="connsiteY64" fmla="*/ 374417 h 403224"/>
                <a:gd name="connsiteX65" fmla="*/ 7481 w 526593"/>
                <a:gd name="connsiteY65" fmla="*/ 374417 h 403224"/>
                <a:gd name="connsiteX66" fmla="*/ 12405 w 526593"/>
                <a:gd name="connsiteY66" fmla="*/ 353845 h 403224"/>
                <a:gd name="connsiteX67" fmla="*/ 27996 w 526593"/>
                <a:gd name="connsiteY67" fmla="*/ 326689 h 403224"/>
                <a:gd name="connsiteX68" fmla="*/ 41125 w 526593"/>
                <a:gd name="connsiteY68" fmla="*/ 320106 h 403224"/>
                <a:gd name="connsiteX69" fmla="*/ 53434 w 526593"/>
                <a:gd name="connsiteY69" fmla="*/ 302002 h 403224"/>
                <a:gd name="connsiteX70" fmla="*/ 68205 w 526593"/>
                <a:gd name="connsiteY70" fmla="*/ 281430 h 403224"/>
                <a:gd name="connsiteX71" fmla="*/ 69025 w 526593"/>
                <a:gd name="connsiteY71" fmla="*/ 269909 h 403224"/>
                <a:gd name="connsiteX72" fmla="*/ 97746 w 526593"/>
                <a:gd name="connsiteY72" fmla="*/ 234525 h 403224"/>
                <a:gd name="connsiteX73" fmla="*/ 106773 w 526593"/>
                <a:gd name="connsiteY73" fmla="*/ 217244 h 403224"/>
                <a:gd name="connsiteX74" fmla="*/ 144520 w 526593"/>
                <a:gd name="connsiteY74" fmla="*/ 182683 h 403224"/>
                <a:gd name="connsiteX75" fmla="*/ 160932 w 526593"/>
                <a:gd name="connsiteY75" fmla="*/ 161287 h 403224"/>
                <a:gd name="connsiteX76" fmla="*/ 167497 w 526593"/>
                <a:gd name="connsiteY76" fmla="*/ 147298 h 403224"/>
                <a:gd name="connsiteX77" fmla="*/ 177344 w 526593"/>
                <a:gd name="connsiteY77" fmla="*/ 126726 h 403224"/>
                <a:gd name="connsiteX78" fmla="*/ 192935 w 526593"/>
                <a:gd name="connsiteY78" fmla="*/ 94633 h 403224"/>
                <a:gd name="connsiteX79" fmla="*/ 210167 w 526593"/>
                <a:gd name="connsiteY79" fmla="*/ 76529 h 403224"/>
                <a:gd name="connsiteX80" fmla="*/ 225759 w 526593"/>
                <a:gd name="connsiteY80" fmla="*/ 68300 h 403224"/>
                <a:gd name="connsiteX81" fmla="*/ 250376 w 526593"/>
                <a:gd name="connsiteY81" fmla="*/ 54311 h 403224"/>
                <a:gd name="connsiteX82" fmla="*/ 257762 w 526593"/>
                <a:gd name="connsiteY82" fmla="*/ 45259 h 403224"/>
                <a:gd name="connsiteX83" fmla="*/ 273353 w 526593"/>
                <a:gd name="connsiteY83" fmla="*/ 18927 h 403224"/>
                <a:gd name="connsiteX84" fmla="*/ 288124 w 526593"/>
                <a:gd name="connsiteY84" fmla="*/ 823 h 403224"/>
                <a:gd name="connsiteX85" fmla="*/ 288124 w 526593"/>
                <a:gd name="connsiteY85" fmla="*/ 0 h 403224"/>
                <a:gd name="connsiteX0" fmla="*/ 403007 w 526593"/>
                <a:gd name="connsiteY0" fmla="*/ 50197 h 403224"/>
                <a:gd name="connsiteX1" fmla="*/ 370183 w 526593"/>
                <a:gd name="connsiteY1" fmla="*/ 58426 h 403224"/>
                <a:gd name="connsiteX2" fmla="*/ 373055 w 526593"/>
                <a:gd name="connsiteY2" fmla="*/ 67786 h 403224"/>
                <a:gd name="connsiteX3" fmla="*/ 373465 w 526593"/>
                <a:gd name="connsiteY3" fmla="*/ 69123 h 403224"/>
                <a:gd name="connsiteX4" fmla="*/ 346386 w 526593"/>
                <a:gd name="connsiteY4" fmla="*/ 97925 h 403224"/>
                <a:gd name="connsiteX5" fmla="*/ 311921 w 526593"/>
                <a:gd name="connsiteY5" fmla="*/ 96279 h 403224"/>
                <a:gd name="connsiteX6" fmla="*/ 311921 w 526593"/>
                <a:gd name="connsiteY6" fmla="*/ 116851 h 403224"/>
                <a:gd name="connsiteX7" fmla="*/ 300433 w 526593"/>
                <a:gd name="connsiteY7" fmla="*/ 180214 h 403224"/>
                <a:gd name="connsiteX8" fmla="*/ 259403 w 526593"/>
                <a:gd name="connsiteY8" fmla="*/ 200786 h 403224"/>
                <a:gd name="connsiteX9" fmla="*/ 240529 w 526593"/>
                <a:gd name="connsiteY9" fmla="*/ 232056 h 403224"/>
                <a:gd name="connsiteX10" fmla="*/ 240457 w 526593"/>
                <a:gd name="connsiteY10" fmla="*/ 232191 h 403224"/>
                <a:gd name="connsiteX11" fmla="*/ 259368 w 526593"/>
                <a:gd name="connsiteY11" fmla="*/ 200944 h 403224"/>
                <a:gd name="connsiteX12" fmla="*/ 300480 w 526593"/>
                <a:gd name="connsiteY12" fmla="*/ 180387 h 403224"/>
                <a:gd name="connsiteX13" fmla="*/ 311991 w 526593"/>
                <a:gd name="connsiteY13" fmla="*/ 117072 h 403224"/>
                <a:gd name="connsiteX14" fmla="*/ 311991 w 526593"/>
                <a:gd name="connsiteY14" fmla="*/ 96515 h 403224"/>
                <a:gd name="connsiteX15" fmla="*/ 346524 w 526593"/>
                <a:gd name="connsiteY15" fmla="*/ 98159 h 403224"/>
                <a:gd name="connsiteX16" fmla="*/ 373658 w 526593"/>
                <a:gd name="connsiteY16" fmla="*/ 69380 h 403224"/>
                <a:gd name="connsiteX17" fmla="*/ 370780 w 526593"/>
                <a:gd name="connsiteY17" fmla="*/ 60026 h 403224"/>
                <a:gd name="connsiteX18" fmla="*/ 370369 w 526593"/>
                <a:gd name="connsiteY18" fmla="*/ 58690 h 403224"/>
                <a:gd name="connsiteX19" fmla="*/ 403258 w 526593"/>
                <a:gd name="connsiteY19" fmla="*/ 50467 h 403224"/>
                <a:gd name="connsiteX20" fmla="*/ 428748 w 526593"/>
                <a:gd name="connsiteY20" fmla="*/ 66091 h 403224"/>
                <a:gd name="connsiteX21" fmla="*/ 442417 w 526593"/>
                <a:gd name="connsiteY21" fmla="*/ 61054 h 403224"/>
                <a:gd name="connsiteX22" fmla="*/ 444340 w 526593"/>
                <a:gd name="connsiteY22" fmla="*/ 60346 h 403224"/>
                <a:gd name="connsiteX23" fmla="*/ 430394 w 526593"/>
                <a:gd name="connsiteY23" fmla="*/ 65112 h 403224"/>
                <a:gd name="connsiteX24" fmla="*/ 428445 w 526593"/>
                <a:gd name="connsiteY24" fmla="*/ 65832 h 403224"/>
                <a:gd name="connsiteX25" fmla="*/ 403007 w 526593"/>
                <a:gd name="connsiteY25" fmla="*/ 50197 h 403224"/>
                <a:gd name="connsiteX26" fmla="*/ 288124 w 526593"/>
                <a:gd name="connsiteY26" fmla="*/ 0 h 403224"/>
                <a:gd name="connsiteX27" fmla="*/ 514607 w 526593"/>
                <a:gd name="connsiteY27" fmla="*/ 13989 h 403224"/>
                <a:gd name="connsiteX28" fmla="*/ 516761 w 526593"/>
                <a:gd name="connsiteY28" fmla="*/ 29110 h 403224"/>
                <a:gd name="connsiteX29" fmla="*/ 517069 w 526593"/>
                <a:gd name="connsiteY29" fmla="*/ 31270 h 403224"/>
                <a:gd name="connsiteX30" fmla="*/ 514197 w 526593"/>
                <a:gd name="connsiteY30" fmla="*/ 43511 h 403224"/>
                <a:gd name="connsiteX31" fmla="*/ 513787 w 526593"/>
                <a:gd name="connsiteY31" fmla="*/ 45259 h 403224"/>
                <a:gd name="connsiteX32" fmla="*/ 513787 w 526593"/>
                <a:gd name="connsiteY32" fmla="*/ 51019 h 403224"/>
                <a:gd name="connsiteX33" fmla="*/ 513787 w 526593"/>
                <a:gd name="connsiteY33" fmla="*/ 51842 h 403224"/>
                <a:gd name="connsiteX34" fmla="*/ 479322 w 526593"/>
                <a:gd name="connsiteY34" fmla="*/ 55134 h 403224"/>
                <a:gd name="connsiteX35" fmla="*/ 452285 w 526593"/>
                <a:gd name="connsiteY35" fmla="*/ 67458 h 403224"/>
                <a:gd name="connsiteX36" fmla="*/ 479726 w 526593"/>
                <a:gd name="connsiteY36" fmla="*/ 55401 h 403224"/>
                <a:gd name="connsiteX37" fmla="*/ 510971 w 526593"/>
                <a:gd name="connsiteY37" fmla="*/ 55401 h 403224"/>
                <a:gd name="connsiteX38" fmla="*/ 514260 w 526593"/>
                <a:gd name="connsiteY38" fmla="*/ 46356 h 403224"/>
                <a:gd name="connsiteX39" fmla="*/ 514260 w 526593"/>
                <a:gd name="connsiteY39" fmla="*/ 45534 h 403224"/>
                <a:gd name="connsiteX40" fmla="*/ 517137 w 526593"/>
                <a:gd name="connsiteY40" fmla="*/ 33302 h 403224"/>
                <a:gd name="connsiteX41" fmla="*/ 517549 w 526593"/>
                <a:gd name="connsiteY41" fmla="*/ 31555 h 403224"/>
                <a:gd name="connsiteX42" fmla="*/ 515390 w 526593"/>
                <a:gd name="connsiteY42" fmla="*/ 16446 h 403224"/>
                <a:gd name="connsiteX43" fmla="*/ 515082 w 526593"/>
                <a:gd name="connsiteY43" fmla="*/ 14287 h 403224"/>
                <a:gd name="connsiteX44" fmla="*/ 526593 w 526593"/>
                <a:gd name="connsiteY44" fmla="*/ 15109 h 403224"/>
                <a:gd name="connsiteX45" fmla="*/ 523304 w 526593"/>
                <a:gd name="connsiteY45" fmla="*/ 38133 h 403224"/>
                <a:gd name="connsiteX46" fmla="*/ 510971 w 526593"/>
                <a:gd name="connsiteY46" fmla="*/ 117894 h 403224"/>
                <a:gd name="connsiteX47" fmla="*/ 325969 w 526593"/>
                <a:gd name="connsiteY47" fmla="*/ 108027 h 403224"/>
                <a:gd name="connsiteX48" fmla="*/ 301302 w 526593"/>
                <a:gd name="connsiteY48" fmla="*/ 265904 h 403224"/>
                <a:gd name="connsiteX49" fmla="*/ 270879 w 526593"/>
                <a:gd name="connsiteY49" fmla="*/ 274127 h 403224"/>
                <a:gd name="connsiteX50" fmla="*/ 234701 w 526593"/>
                <a:gd name="connsiteY50" fmla="*/ 296328 h 403224"/>
                <a:gd name="connsiteX51" fmla="*/ 231412 w 526593"/>
                <a:gd name="connsiteY51" fmla="*/ 322641 h 403224"/>
                <a:gd name="connsiteX52" fmla="*/ 225657 w 526593"/>
                <a:gd name="connsiteY52" fmla="*/ 395001 h 403224"/>
                <a:gd name="connsiteX53" fmla="*/ 24210 w 526593"/>
                <a:gd name="connsiteY53" fmla="*/ 384312 h 403224"/>
                <a:gd name="connsiteX54" fmla="*/ 5299 w 526593"/>
                <a:gd name="connsiteY54" fmla="*/ 392535 h 403224"/>
                <a:gd name="connsiteX55" fmla="*/ 365 w 526593"/>
                <a:gd name="connsiteY55" fmla="*/ 403224 h 403224"/>
                <a:gd name="connsiteX56" fmla="*/ 365 w 526593"/>
                <a:gd name="connsiteY56" fmla="*/ 395824 h 403224"/>
                <a:gd name="connsiteX57" fmla="*/ 6943 w 526593"/>
                <a:gd name="connsiteY57" fmla="*/ 373622 h 403224"/>
                <a:gd name="connsiteX58" fmla="*/ 63677 w 526593"/>
                <a:gd name="connsiteY58" fmla="*/ 374444 h 403224"/>
                <a:gd name="connsiteX59" fmla="*/ 118767 w 526593"/>
                <a:gd name="connsiteY59" fmla="*/ 381023 h 403224"/>
                <a:gd name="connsiteX60" fmla="*/ 139322 w 526593"/>
                <a:gd name="connsiteY60" fmla="*/ 381023 h 403224"/>
                <a:gd name="connsiteX61" fmla="*/ 139335 w 526593"/>
                <a:gd name="connsiteY61" fmla="*/ 381000 h 403224"/>
                <a:gd name="connsiteX62" fmla="*/ 119082 w 526593"/>
                <a:gd name="connsiteY62" fmla="*/ 381000 h 403224"/>
                <a:gd name="connsiteX63" fmla="*/ 64102 w 526593"/>
                <a:gd name="connsiteY63" fmla="*/ 374417 h 403224"/>
                <a:gd name="connsiteX64" fmla="*/ 7481 w 526593"/>
                <a:gd name="connsiteY64" fmla="*/ 374417 h 403224"/>
                <a:gd name="connsiteX65" fmla="*/ 12405 w 526593"/>
                <a:gd name="connsiteY65" fmla="*/ 353845 h 403224"/>
                <a:gd name="connsiteX66" fmla="*/ 27996 w 526593"/>
                <a:gd name="connsiteY66" fmla="*/ 326689 h 403224"/>
                <a:gd name="connsiteX67" fmla="*/ 41125 w 526593"/>
                <a:gd name="connsiteY67" fmla="*/ 320106 h 403224"/>
                <a:gd name="connsiteX68" fmla="*/ 53434 w 526593"/>
                <a:gd name="connsiteY68" fmla="*/ 302002 h 403224"/>
                <a:gd name="connsiteX69" fmla="*/ 68205 w 526593"/>
                <a:gd name="connsiteY69" fmla="*/ 281430 h 403224"/>
                <a:gd name="connsiteX70" fmla="*/ 69025 w 526593"/>
                <a:gd name="connsiteY70" fmla="*/ 269909 h 403224"/>
                <a:gd name="connsiteX71" fmla="*/ 97746 w 526593"/>
                <a:gd name="connsiteY71" fmla="*/ 234525 h 403224"/>
                <a:gd name="connsiteX72" fmla="*/ 106773 w 526593"/>
                <a:gd name="connsiteY72" fmla="*/ 217244 h 403224"/>
                <a:gd name="connsiteX73" fmla="*/ 144520 w 526593"/>
                <a:gd name="connsiteY73" fmla="*/ 182683 h 403224"/>
                <a:gd name="connsiteX74" fmla="*/ 160932 w 526593"/>
                <a:gd name="connsiteY74" fmla="*/ 161287 h 403224"/>
                <a:gd name="connsiteX75" fmla="*/ 167497 w 526593"/>
                <a:gd name="connsiteY75" fmla="*/ 147298 h 403224"/>
                <a:gd name="connsiteX76" fmla="*/ 177344 w 526593"/>
                <a:gd name="connsiteY76" fmla="*/ 126726 h 403224"/>
                <a:gd name="connsiteX77" fmla="*/ 192935 w 526593"/>
                <a:gd name="connsiteY77" fmla="*/ 94633 h 403224"/>
                <a:gd name="connsiteX78" fmla="*/ 210167 w 526593"/>
                <a:gd name="connsiteY78" fmla="*/ 76529 h 403224"/>
                <a:gd name="connsiteX79" fmla="*/ 225759 w 526593"/>
                <a:gd name="connsiteY79" fmla="*/ 68300 h 403224"/>
                <a:gd name="connsiteX80" fmla="*/ 250376 w 526593"/>
                <a:gd name="connsiteY80" fmla="*/ 54311 h 403224"/>
                <a:gd name="connsiteX81" fmla="*/ 257762 w 526593"/>
                <a:gd name="connsiteY81" fmla="*/ 45259 h 403224"/>
                <a:gd name="connsiteX82" fmla="*/ 273353 w 526593"/>
                <a:gd name="connsiteY82" fmla="*/ 18927 h 403224"/>
                <a:gd name="connsiteX83" fmla="*/ 288124 w 526593"/>
                <a:gd name="connsiteY83" fmla="*/ 823 h 403224"/>
                <a:gd name="connsiteX84" fmla="*/ 288124 w 526593"/>
                <a:gd name="connsiteY84" fmla="*/ 0 h 403224"/>
                <a:gd name="connsiteX0" fmla="*/ 403007 w 526593"/>
                <a:gd name="connsiteY0" fmla="*/ 50197 h 403224"/>
                <a:gd name="connsiteX1" fmla="*/ 370183 w 526593"/>
                <a:gd name="connsiteY1" fmla="*/ 58426 h 403224"/>
                <a:gd name="connsiteX2" fmla="*/ 373055 w 526593"/>
                <a:gd name="connsiteY2" fmla="*/ 67786 h 403224"/>
                <a:gd name="connsiteX3" fmla="*/ 373465 w 526593"/>
                <a:gd name="connsiteY3" fmla="*/ 69123 h 403224"/>
                <a:gd name="connsiteX4" fmla="*/ 346386 w 526593"/>
                <a:gd name="connsiteY4" fmla="*/ 97925 h 403224"/>
                <a:gd name="connsiteX5" fmla="*/ 311921 w 526593"/>
                <a:gd name="connsiteY5" fmla="*/ 96279 h 403224"/>
                <a:gd name="connsiteX6" fmla="*/ 311921 w 526593"/>
                <a:gd name="connsiteY6" fmla="*/ 116851 h 403224"/>
                <a:gd name="connsiteX7" fmla="*/ 300433 w 526593"/>
                <a:gd name="connsiteY7" fmla="*/ 180214 h 403224"/>
                <a:gd name="connsiteX8" fmla="*/ 259403 w 526593"/>
                <a:gd name="connsiteY8" fmla="*/ 200786 h 403224"/>
                <a:gd name="connsiteX9" fmla="*/ 240529 w 526593"/>
                <a:gd name="connsiteY9" fmla="*/ 232056 h 403224"/>
                <a:gd name="connsiteX10" fmla="*/ 259368 w 526593"/>
                <a:gd name="connsiteY10" fmla="*/ 200944 h 403224"/>
                <a:gd name="connsiteX11" fmla="*/ 300480 w 526593"/>
                <a:gd name="connsiteY11" fmla="*/ 180387 h 403224"/>
                <a:gd name="connsiteX12" fmla="*/ 311991 w 526593"/>
                <a:gd name="connsiteY12" fmla="*/ 117072 h 403224"/>
                <a:gd name="connsiteX13" fmla="*/ 311991 w 526593"/>
                <a:gd name="connsiteY13" fmla="*/ 96515 h 403224"/>
                <a:gd name="connsiteX14" fmla="*/ 346524 w 526593"/>
                <a:gd name="connsiteY14" fmla="*/ 98159 h 403224"/>
                <a:gd name="connsiteX15" fmla="*/ 373658 w 526593"/>
                <a:gd name="connsiteY15" fmla="*/ 69380 h 403224"/>
                <a:gd name="connsiteX16" fmla="*/ 370780 w 526593"/>
                <a:gd name="connsiteY16" fmla="*/ 60026 h 403224"/>
                <a:gd name="connsiteX17" fmla="*/ 370369 w 526593"/>
                <a:gd name="connsiteY17" fmla="*/ 58690 h 403224"/>
                <a:gd name="connsiteX18" fmla="*/ 403258 w 526593"/>
                <a:gd name="connsiteY18" fmla="*/ 50467 h 403224"/>
                <a:gd name="connsiteX19" fmla="*/ 428748 w 526593"/>
                <a:gd name="connsiteY19" fmla="*/ 66091 h 403224"/>
                <a:gd name="connsiteX20" fmla="*/ 442417 w 526593"/>
                <a:gd name="connsiteY20" fmla="*/ 61054 h 403224"/>
                <a:gd name="connsiteX21" fmla="*/ 444340 w 526593"/>
                <a:gd name="connsiteY21" fmla="*/ 60346 h 403224"/>
                <a:gd name="connsiteX22" fmla="*/ 430394 w 526593"/>
                <a:gd name="connsiteY22" fmla="*/ 65112 h 403224"/>
                <a:gd name="connsiteX23" fmla="*/ 428445 w 526593"/>
                <a:gd name="connsiteY23" fmla="*/ 65832 h 403224"/>
                <a:gd name="connsiteX24" fmla="*/ 403007 w 526593"/>
                <a:gd name="connsiteY24" fmla="*/ 50197 h 403224"/>
                <a:gd name="connsiteX25" fmla="*/ 288124 w 526593"/>
                <a:gd name="connsiteY25" fmla="*/ 0 h 403224"/>
                <a:gd name="connsiteX26" fmla="*/ 514607 w 526593"/>
                <a:gd name="connsiteY26" fmla="*/ 13989 h 403224"/>
                <a:gd name="connsiteX27" fmla="*/ 516761 w 526593"/>
                <a:gd name="connsiteY27" fmla="*/ 29110 h 403224"/>
                <a:gd name="connsiteX28" fmla="*/ 517069 w 526593"/>
                <a:gd name="connsiteY28" fmla="*/ 31270 h 403224"/>
                <a:gd name="connsiteX29" fmla="*/ 514197 w 526593"/>
                <a:gd name="connsiteY29" fmla="*/ 43511 h 403224"/>
                <a:gd name="connsiteX30" fmla="*/ 513787 w 526593"/>
                <a:gd name="connsiteY30" fmla="*/ 45259 h 403224"/>
                <a:gd name="connsiteX31" fmla="*/ 513787 w 526593"/>
                <a:gd name="connsiteY31" fmla="*/ 51019 h 403224"/>
                <a:gd name="connsiteX32" fmla="*/ 513787 w 526593"/>
                <a:gd name="connsiteY32" fmla="*/ 51842 h 403224"/>
                <a:gd name="connsiteX33" fmla="*/ 479322 w 526593"/>
                <a:gd name="connsiteY33" fmla="*/ 55134 h 403224"/>
                <a:gd name="connsiteX34" fmla="*/ 452285 w 526593"/>
                <a:gd name="connsiteY34" fmla="*/ 67458 h 403224"/>
                <a:gd name="connsiteX35" fmla="*/ 479726 w 526593"/>
                <a:gd name="connsiteY35" fmla="*/ 55401 h 403224"/>
                <a:gd name="connsiteX36" fmla="*/ 510971 w 526593"/>
                <a:gd name="connsiteY36" fmla="*/ 55401 h 403224"/>
                <a:gd name="connsiteX37" fmla="*/ 514260 w 526593"/>
                <a:gd name="connsiteY37" fmla="*/ 46356 h 403224"/>
                <a:gd name="connsiteX38" fmla="*/ 514260 w 526593"/>
                <a:gd name="connsiteY38" fmla="*/ 45534 h 403224"/>
                <a:gd name="connsiteX39" fmla="*/ 517137 w 526593"/>
                <a:gd name="connsiteY39" fmla="*/ 33302 h 403224"/>
                <a:gd name="connsiteX40" fmla="*/ 517549 w 526593"/>
                <a:gd name="connsiteY40" fmla="*/ 31555 h 403224"/>
                <a:gd name="connsiteX41" fmla="*/ 515390 w 526593"/>
                <a:gd name="connsiteY41" fmla="*/ 16446 h 403224"/>
                <a:gd name="connsiteX42" fmla="*/ 515082 w 526593"/>
                <a:gd name="connsiteY42" fmla="*/ 14287 h 403224"/>
                <a:gd name="connsiteX43" fmla="*/ 526593 w 526593"/>
                <a:gd name="connsiteY43" fmla="*/ 15109 h 403224"/>
                <a:gd name="connsiteX44" fmla="*/ 523304 w 526593"/>
                <a:gd name="connsiteY44" fmla="*/ 38133 h 403224"/>
                <a:gd name="connsiteX45" fmla="*/ 510971 w 526593"/>
                <a:gd name="connsiteY45" fmla="*/ 117894 h 403224"/>
                <a:gd name="connsiteX46" fmla="*/ 325969 w 526593"/>
                <a:gd name="connsiteY46" fmla="*/ 108027 h 403224"/>
                <a:gd name="connsiteX47" fmla="*/ 301302 w 526593"/>
                <a:gd name="connsiteY47" fmla="*/ 265904 h 403224"/>
                <a:gd name="connsiteX48" fmla="*/ 270879 w 526593"/>
                <a:gd name="connsiteY48" fmla="*/ 274127 h 403224"/>
                <a:gd name="connsiteX49" fmla="*/ 234701 w 526593"/>
                <a:gd name="connsiteY49" fmla="*/ 296328 h 403224"/>
                <a:gd name="connsiteX50" fmla="*/ 231412 w 526593"/>
                <a:gd name="connsiteY50" fmla="*/ 322641 h 403224"/>
                <a:gd name="connsiteX51" fmla="*/ 225657 w 526593"/>
                <a:gd name="connsiteY51" fmla="*/ 395001 h 403224"/>
                <a:gd name="connsiteX52" fmla="*/ 24210 w 526593"/>
                <a:gd name="connsiteY52" fmla="*/ 384312 h 403224"/>
                <a:gd name="connsiteX53" fmla="*/ 5299 w 526593"/>
                <a:gd name="connsiteY53" fmla="*/ 392535 h 403224"/>
                <a:gd name="connsiteX54" fmla="*/ 365 w 526593"/>
                <a:gd name="connsiteY54" fmla="*/ 403224 h 403224"/>
                <a:gd name="connsiteX55" fmla="*/ 365 w 526593"/>
                <a:gd name="connsiteY55" fmla="*/ 395824 h 403224"/>
                <a:gd name="connsiteX56" fmla="*/ 6943 w 526593"/>
                <a:gd name="connsiteY56" fmla="*/ 373622 h 403224"/>
                <a:gd name="connsiteX57" fmla="*/ 63677 w 526593"/>
                <a:gd name="connsiteY57" fmla="*/ 374444 h 403224"/>
                <a:gd name="connsiteX58" fmla="*/ 118767 w 526593"/>
                <a:gd name="connsiteY58" fmla="*/ 381023 h 403224"/>
                <a:gd name="connsiteX59" fmla="*/ 139322 w 526593"/>
                <a:gd name="connsiteY59" fmla="*/ 381023 h 403224"/>
                <a:gd name="connsiteX60" fmla="*/ 139335 w 526593"/>
                <a:gd name="connsiteY60" fmla="*/ 381000 h 403224"/>
                <a:gd name="connsiteX61" fmla="*/ 119082 w 526593"/>
                <a:gd name="connsiteY61" fmla="*/ 381000 h 403224"/>
                <a:gd name="connsiteX62" fmla="*/ 64102 w 526593"/>
                <a:gd name="connsiteY62" fmla="*/ 374417 h 403224"/>
                <a:gd name="connsiteX63" fmla="*/ 7481 w 526593"/>
                <a:gd name="connsiteY63" fmla="*/ 374417 h 403224"/>
                <a:gd name="connsiteX64" fmla="*/ 12405 w 526593"/>
                <a:gd name="connsiteY64" fmla="*/ 353845 h 403224"/>
                <a:gd name="connsiteX65" fmla="*/ 27996 w 526593"/>
                <a:gd name="connsiteY65" fmla="*/ 326689 h 403224"/>
                <a:gd name="connsiteX66" fmla="*/ 41125 w 526593"/>
                <a:gd name="connsiteY66" fmla="*/ 320106 h 403224"/>
                <a:gd name="connsiteX67" fmla="*/ 53434 w 526593"/>
                <a:gd name="connsiteY67" fmla="*/ 302002 h 403224"/>
                <a:gd name="connsiteX68" fmla="*/ 68205 w 526593"/>
                <a:gd name="connsiteY68" fmla="*/ 281430 h 403224"/>
                <a:gd name="connsiteX69" fmla="*/ 69025 w 526593"/>
                <a:gd name="connsiteY69" fmla="*/ 269909 h 403224"/>
                <a:gd name="connsiteX70" fmla="*/ 97746 w 526593"/>
                <a:gd name="connsiteY70" fmla="*/ 234525 h 403224"/>
                <a:gd name="connsiteX71" fmla="*/ 106773 w 526593"/>
                <a:gd name="connsiteY71" fmla="*/ 217244 h 403224"/>
                <a:gd name="connsiteX72" fmla="*/ 144520 w 526593"/>
                <a:gd name="connsiteY72" fmla="*/ 182683 h 403224"/>
                <a:gd name="connsiteX73" fmla="*/ 160932 w 526593"/>
                <a:gd name="connsiteY73" fmla="*/ 161287 h 403224"/>
                <a:gd name="connsiteX74" fmla="*/ 167497 w 526593"/>
                <a:gd name="connsiteY74" fmla="*/ 147298 h 403224"/>
                <a:gd name="connsiteX75" fmla="*/ 177344 w 526593"/>
                <a:gd name="connsiteY75" fmla="*/ 126726 h 403224"/>
                <a:gd name="connsiteX76" fmla="*/ 192935 w 526593"/>
                <a:gd name="connsiteY76" fmla="*/ 94633 h 403224"/>
                <a:gd name="connsiteX77" fmla="*/ 210167 w 526593"/>
                <a:gd name="connsiteY77" fmla="*/ 76529 h 403224"/>
                <a:gd name="connsiteX78" fmla="*/ 225759 w 526593"/>
                <a:gd name="connsiteY78" fmla="*/ 68300 h 403224"/>
                <a:gd name="connsiteX79" fmla="*/ 250376 w 526593"/>
                <a:gd name="connsiteY79" fmla="*/ 54311 h 403224"/>
                <a:gd name="connsiteX80" fmla="*/ 257762 w 526593"/>
                <a:gd name="connsiteY80" fmla="*/ 45259 h 403224"/>
                <a:gd name="connsiteX81" fmla="*/ 273353 w 526593"/>
                <a:gd name="connsiteY81" fmla="*/ 18927 h 403224"/>
                <a:gd name="connsiteX82" fmla="*/ 288124 w 526593"/>
                <a:gd name="connsiteY82" fmla="*/ 823 h 403224"/>
                <a:gd name="connsiteX83" fmla="*/ 288124 w 526593"/>
                <a:gd name="connsiteY83" fmla="*/ 0 h 403224"/>
                <a:gd name="connsiteX0" fmla="*/ 403007 w 526593"/>
                <a:gd name="connsiteY0" fmla="*/ 50197 h 403224"/>
                <a:gd name="connsiteX1" fmla="*/ 370183 w 526593"/>
                <a:gd name="connsiteY1" fmla="*/ 58426 h 403224"/>
                <a:gd name="connsiteX2" fmla="*/ 373055 w 526593"/>
                <a:gd name="connsiteY2" fmla="*/ 67786 h 403224"/>
                <a:gd name="connsiteX3" fmla="*/ 373465 w 526593"/>
                <a:gd name="connsiteY3" fmla="*/ 69123 h 403224"/>
                <a:gd name="connsiteX4" fmla="*/ 346386 w 526593"/>
                <a:gd name="connsiteY4" fmla="*/ 97925 h 403224"/>
                <a:gd name="connsiteX5" fmla="*/ 311921 w 526593"/>
                <a:gd name="connsiteY5" fmla="*/ 96279 h 403224"/>
                <a:gd name="connsiteX6" fmla="*/ 311921 w 526593"/>
                <a:gd name="connsiteY6" fmla="*/ 116851 h 403224"/>
                <a:gd name="connsiteX7" fmla="*/ 300433 w 526593"/>
                <a:gd name="connsiteY7" fmla="*/ 180214 h 403224"/>
                <a:gd name="connsiteX8" fmla="*/ 259403 w 526593"/>
                <a:gd name="connsiteY8" fmla="*/ 200786 h 403224"/>
                <a:gd name="connsiteX9" fmla="*/ 240529 w 526593"/>
                <a:gd name="connsiteY9" fmla="*/ 232056 h 403224"/>
                <a:gd name="connsiteX10" fmla="*/ 300480 w 526593"/>
                <a:gd name="connsiteY10" fmla="*/ 180387 h 403224"/>
                <a:gd name="connsiteX11" fmla="*/ 311991 w 526593"/>
                <a:gd name="connsiteY11" fmla="*/ 117072 h 403224"/>
                <a:gd name="connsiteX12" fmla="*/ 311991 w 526593"/>
                <a:gd name="connsiteY12" fmla="*/ 96515 h 403224"/>
                <a:gd name="connsiteX13" fmla="*/ 346524 w 526593"/>
                <a:gd name="connsiteY13" fmla="*/ 98159 h 403224"/>
                <a:gd name="connsiteX14" fmla="*/ 373658 w 526593"/>
                <a:gd name="connsiteY14" fmla="*/ 69380 h 403224"/>
                <a:gd name="connsiteX15" fmla="*/ 370780 w 526593"/>
                <a:gd name="connsiteY15" fmla="*/ 60026 h 403224"/>
                <a:gd name="connsiteX16" fmla="*/ 370369 w 526593"/>
                <a:gd name="connsiteY16" fmla="*/ 58690 h 403224"/>
                <a:gd name="connsiteX17" fmla="*/ 403258 w 526593"/>
                <a:gd name="connsiteY17" fmla="*/ 50467 h 403224"/>
                <a:gd name="connsiteX18" fmla="*/ 428748 w 526593"/>
                <a:gd name="connsiteY18" fmla="*/ 66091 h 403224"/>
                <a:gd name="connsiteX19" fmla="*/ 442417 w 526593"/>
                <a:gd name="connsiteY19" fmla="*/ 61054 h 403224"/>
                <a:gd name="connsiteX20" fmla="*/ 444340 w 526593"/>
                <a:gd name="connsiteY20" fmla="*/ 60346 h 403224"/>
                <a:gd name="connsiteX21" fmla="*/ 430394 w 526593"/>
                <a:gd name="connsiteY21" fmla="*/ 65112 h 403224"/>
                <a:gd name="connsiteX22" fmla="*/ 428445 w 526593"/>
                <a:gd name="connsiteY22" fmla="*/ 65832 h 403224"/>
                <a:gd name="connsiteX23" fmla="*/ 403007 w 526593"/>
                <a:gd name="connsiteY23" fmla="*/ 50197 h 403224"/>
                <a:gd name="connsiteX24" fmla="*/ 288124 w 526593"/>
                <a:gd name="connsiteY24" fmla="*/ 0 h 403224"/>
                <a:gd name="connsiteX25" fmla="*/ 514607 w 526593"/>
                <a:gd name="connsiteY25" fmla="*/ 13989 h 403224"/>
                <a:gd name="connsiteX26" fmla="*/ 516761 w 526593"/>
                <a:gd name="connsiteY26" fmla="*/ 29110 h 403224"/>
                <a:gd name="connsiteX27" fmla="*/ 517069 w 526593"/>
                <a:gd name="connsiteY27" fmla="*/ 31270 h 403224"/>
                <a:gd name="connsiteX28" fmla="*/ 514197 w 526593"/>
                <a:gd name="connsiteY28" fmla="*/ 43511 h 403224"/>
                <a:gd name="connsiteX29" fmla="*/ 513787 w 526593"/>
                <a:gd name="connsiteY29" fmla="*/ 45259 h 403224"/>
                <a:gd name="connsiteX30" fmla="*/ 513787 w 526593"/>
                <a:gd name="connsiteY30" fmla="*/ 51019 h 403224"/>
                <a:gd name="connsiteX31" fmla="*/ 513787 w 526593"/>
                <a:gd name="connsiteY31" fmla="*/ 51842 h 403224"/>
                <a:gd name="connsiteX32" fmla="*/ 479322 w 526593"/>
                <a:gd name="connsiteY32" fmla="*/ 55134 h 403224"/>
                <a:gd name="connsiteX33" fmla="*/ 452285 w 526593"/>
                <a:gd name="connsiteY33" fmla="*/ 67458 h 403224"/>
                <a:gd name="connsiteX34" fmla="*/ 479726 w 526593"/>
                <a:gd name="connsiteY34" fmla="*/ 55401 h 403224"/>
                <a:gd name="connsiteX35" fmla="*/ 510971 w 526593"/>
                <a:gd name="connsiteY35" fmla="*/ 55401 h 403224"/>
                <a:gd name="connsiteX36" fmla="*/ 514260 w 526593"/>
                <a:gd name="connsiteY36" fmla="*/ 46356 h 403224"/>
                <a:gd name="connsiteX37" fmla="*/ 514260 w 526593"/>
                <a:gd name="connsiteY37" fmla="*/ 45534 h 403224"/>
                <a:gd name="connsiteX38" fmla="*/ 517137 w 526593"/>
                <a:gd name="connsiteY38" fmla="*/ 33302 h 403224"/>
                <a:gd name="connsiteX39" fmla="*/ 517549 w 526593"/>
                <a:gd name="connsiteY39" fmla="*/ 31555 h 403224"/>
                <a:gd name="connsiteX40" fmla="*/ 515390 w 526593"/>
                <a:gd name="connsiteY40" fmla="*/ 16446 h 403224"/>
                <a:gd name="connsiteX41" fmla="*/ 515082 w 526593"/>
                <a:gd name="connsiteY41" fmla="*/ 14287 h 403224"/>
                <a:gd name="connsiteX42" fmla="*/ 526593 w 526593"/>
                <a:gd name="connsiteY42" fmla="*/ 15109 h 403224"/>
                <a:gd name="connsiteX43" fmla="*/ 523304 w 526593"/>
                <a:gd name="connsiteY43" fmla="*/ 38133 h 403224"/>
                <a:gd name="connsiteX44" fmla="*/ 510971 w 526593"/>
                <a:gd name="connsiteY44" fmla="*/ 117894 h 403224"/>
                <a:gd name="connsiteX45" fmla="*/ 325969 w 526593"/>
                <a:gd name="connsiteY45" fmla="*/ 108027 h 403224"/>
                <a:gd name="connsiteX46" fmla="*/ 301302 w 526593"/>
                <a:gd name="connsiteY46" fmla="*/ 265904 h 403224"/>
                <a:gd name="connsiteX47" fmla="*/ 270879 w 526593"/>
                <a:gd name="connsiteY47" fmla="*/ 274127 h 403224"/>
                <a:gd name="connsiteX48" fmla="*/ 234701 w 526593"/>
                <a:gd name="connsiteY48" fmla="*/ 296328 h 403224"/>
                <a:gd name="connsiteX49" fmla="*/ 231412 w 526593"/>
                <a:gd name="connsiteY49" fmla="*/ 322641 h 403224"/>
                <a:gd name="connsiteX50" fmla="*/ 225657 w 526593"/>
                <a:gd name="connsiteY50" fmla="*/ 395001 h 403224"/>
                <a:gd name="connsiteX51" fmla="*/ 24210 w 526593"/>
                <a:gd name="connsiteY51" fmla="*/ 384312 h 403224"/>
                <a:gd name="connsiteX52" fmla="*/ 5299 w 526593"/>
                <a:gd name="connsiteY52" fmla="*/ 392535 h 403224"/>
                <a:gd name="connsiteX53" fmla="*/ 365 w 526593"/>
                <a:gd name="connsiteY53" fmla="*/ 403224 h 403224"/>
                <a:gd name="connsiteX54" fmla="*/ 365 w 526593"/>
                <a:gd name="connsiteY54" fmla="*/ 395824 h 403224"/>
                <a:gd name="connsiteX55" fmla="*/ 6943 w 526593"/>
                <a:gd name="connsiteY55" fmla="*/ 373622 h 403224"/>
                <a:gd name="connsiteX56" fmla="*/ 63677 w 526593"/>
                <a:gd name="connsiteY56" fmla="*/ 374444 h 403224"/>
                <a:gd name="connsiteX57" fmla="*/ 118767 w 526593"/>
                <a:gd name="connsiteY57" fmla="*/ 381023 h 403224"/>
                <a:gd name="connsiteX58" fmla="*/ 139322 w 526593"/>
                <a:gd name="connsiteY58" fmla="*/ 381023 h 403224"/>
                <a:gd name="connsiteX59" fmla="*/ 139335 w 526593"/>
                <a:gd name="connsiteY59" fmla="*/ 381000 h 403224"/>
                <a:gd name="connsiteX60" fmla="*/ 119082 w 526593"/>
                <a:gd name="connsiteY60" fmla="*/ 381000 h 403224"/>
                <a:gd name="connsiteX61" fmla="*/ 64102 w 526593"/>
                <a:gd name="connsiteY61" fmla="*/ 374417 h 403224"/>
                <a:gd name="connsiteX62" fmla="*/ 7481 w 526593"/>
                <a:gd name="connsiteY62" fmla="*/ 374417 h 403224"/>
                <a:gd name="connsiteX63" fmla="*/ 12405 w 526593"/>
                <a:gd name="connsiteY63" fmla="*/ 353845 h 403224"/>
                <a:gd name="connsiteX64" fmla="*/ 27996 w 526593"/>
                <a:gd name="connsiteY64" fmla="*/ 326689 h 403224"/>
                <a:gd name="connsiteX65" fmla="*/ 41125 w 526593"/>
                <a:gd name="connsiteY65" fmla="*/ 320106 h 403224"/>
                <a:gd name="connsiteX66" fmla="*/ 53434 w 526593"/>
                <a:gd name="connsiteY66" fmla="*/ 302002 h 403224"/>
                <a:gd name="connsiteX67" fmla="*/ 68205 w 526593"/>
                <a:gd name="connsiteY67" fmla="*/ 281430 h 403224"/>
                <a:gd name="connsiteX68" fmla="*/ 69025 w 526593"/>
                <a:gd name="connsiteY68" fmla="*/ 269909 h 403224"/>
                <a:gd name="connsiteX69" fmla="*/ 97746 w 526593"/>
                <a:gd name="connsiteY69" fmla="*/ 234525 h 403224"/>
                <a:gd name="connsiteX70" fmla="*/ 106773 w 526593"/>
                <a:gd name="connsiteY70" fmla="*/ 217244 h 403224"/>
                <a:gd name="connsiteX71" fmla="*/ 144520 w 526593"/>
                <a:gd name="connsiteY71" fmla="*/ 182683 h 403224"/>
                <a:gd name="connsiteX72" fmla="*/ 160932 w 526593"/>
                <a:gd name="connsiteY72" fmla="*/ 161287 h 403224"/>
                <a:gd name="connsiteX73" fmla="*/ 167497 w 526593"/>
                <a:gd name="connsiteY73" fmla="*/ 147298 h 403224"/>
                <a:gd name="connsiteX74" fmla="*/ 177344 w 526593"/>
                <a:gd name="connsiteY74" fmla="*/ 126726 h 403224"/>
                <a:gd name="connsiteX75" fmla="*/ 192935 w 526593"/>
                <a:gd name="connsiteY75" fmla="*/ 94633 h 403224"/>
                <a:gd name="connsiteX76" fmla="*/ 210167 w 526593"/>
                <a:gd name="connsiteY76" fmla="*/ 76529 h 403224"/>
                <a:gd name="connsiteX77" fmla="*/ 225759 w 526593"/>
                <a:gd name="connsiteY77" fmla="*/ 68300 h 403224"/>
                <a:gd name="connsiteX78" fmla="*/ 250376 w 526593"/>
                <a:gd name="connsiteY78" fmla="*/ 54311 h 403224"/>
                <a:gd name="connsiteX79" fmla="*/ 257762 w 526593"/>
                <a:gd name="connsiteY79" fmla="*/ 45259 h 403224"/>
                <a:gd name="connsiteX80" fmla="*/ 273353 w 526593"/>
                <a:gd name="connsiteY80" fmla="*/ 18927 h 403224"/>
                <a:gd name="connsiteX81" fmla="*/ 288124 w 526593"/>
                <a:gd name="connsiteY81" fmla="*/ 823 h 403224"/>
                <a:gd name="connsiteX82" fmla="*/ 288124 w 526593"/>
                <a:gd name="connsiteY82" fmla="*/ 0 h 403224"/>
                <a:gd name="connsiteX0" fmla="*/ 403007 w 526593"/>
                <a:gd name="connsiteY0" fmla="*/ 50197 h 403224"/>
                <a:gd name="connsiteX1" fmla="*/ 370183 w 526593"/>
                <a:gd name="connsiteY1" fmla="*/ 58426 h 403224"/>
                <a:gd name="connsiteX2" fmla="*/ 373055 w 526593"/>
                <a:gd name="connsiteY2" fmla="*/ 67786 h 403224"/>
                <a:gd name="connsiteX3" fmla="*/ 373465 w 526593"/>
                <a:gd name="connsiteY3" fmla="*/ 69123 h 403224"/>
                <a:gd name="connsiteX4" fmla="*/ 346386 w 526593"/>
                <a:gd name="connsiteY4" fmla="*/ 97925 h 403224"/>
                <a:gd name="connsiteX5" fmla="*/ 311921 w 526593"/>
                <a:gd name="connsiteY5" fmla="*/ 96279 h 403224"/>
                <a:gd name="connsiteX6" fmla="*/ 311921 w 526593"/>
                <a:gd name="connsiteY6" fmla="*/ 116851 h 403224"/>
                <a:gd name="connsiteX7" fmla="*/ 300433 w 526593"/>
                <a:gd name="connsiteY7" fmla="*/ 180214 h 403224"/>
                <a:gd name="connsiteX8" fmla="*/ 259403 w 526593"/>
                <a:gd name="connsiteY8" fmla="*/ 200786 h 403224"/>
                <a:gd name="connsiteX9" fmla="*/ 300480 w 526593"/>
                <a:gd name="connsiteY9" fmla="*/ 180387 h 403224"/>
                <a:gd name="connsiteX10" fmla="*/ 311991 w 526593"/>
                <a:gd name="connsiteY10" fmla="*/ 117072 h 403224"/>
                <a:gd name="connsiteX11" fmla="*/ 311991 w 526593"/>
                <a:gd name="connsiteY11" fmla="*/ 96515 h 403224"/>
                <a:gd name="connsiteX12" fmla="*/ 346524 w 526593"/>
                <a:gd name="connsiteY12" fmla="*/ 98159 h 403224"/>
                <a:gd name="connsiteX13" fmla="*/ 373658 w 526593"/>
                <a:gd name="connsiteY13" fmla="*/ 69380 h 403224"/>
                <a:gd name="connsiteX14" fmla="*/ 370780 w 526593"/>
                <a:gd name="connsiteY14" fmla="*/ 60026 h 403224"/>
                <a:gd name="connsiteX15" fmla="*/ 370369 w 526593"/>
                <a:gd name="connsiteY15" fmla="*/ 58690 h 403224"/>
                <a:gd name="connsiteX16" fmla="*/ 403258 w 526593"/>
                <a:gd name="connsiteY16" fmla="*/ 50467 h 403224"/>
                <a:gd name="connsiteX17" fmla="*/ 428748 w 526593"/>
                <a:gd name="connsiteY17" fmla="*/ 66091 h 403224"/>
                <a:gd name="connsiteX18" fmla="*/ 442417 w 526593"/>
                <a:gd name="connsiteY18" fmla="*/ 61054 h 403224"/>
                <a:gd name="connsiteX19" fmla="*/ 444340 w 526593"/>
                <a:gd name="connsiteY19" fmla="*/ 60346 h 403224"/>
                <a:gd name="connsiteX20" fmla="*/ 430394 w 526593"/>
                <a:gd name="connsiteY20" fmla="*/ 65112 h 403224"/>
                <a:gd name="connsiteX21" fmla="*/ 428445 w 526593"/>
                <a:gd name="connsiteY21" fmla="*/ 65832 h 403224"/>
                <a:gd name="connsiteX22" fmla="*/ 403007 w 526593"/>
                <a:gd name="connsiteY22" fmla="*/ 50197 h 403224"/>
                <a:gd name="connsiteX23" fmla="*/ 288124 w 526593"/>
                <a:gd name="connsiteY23" fmla="*/ 0 h 403224"/>
                <a:gd name="connsiteX24" fmla="*/ 514607 w 526593"/>
                <a:gd name="connsiteY24" fmla="*/ 13989 h 403224"/>
                <a:gd name="connsiteX25" fmla="*/ 516761 w 526593"/>
                <a:gd name="connsiteY25" fmla="*/ 29110 h 403224"/>
                <a:gd name="connsiteX26" fmla="*/ 517069 w 526593"/>
                <a:gd name="connsiteY26" fmla="*/ 31270 h 403224"/>
                <a:gd name="connsiteX27" fmla="*/ 514197 w 526593"/>
                <a:gd name="connsiteY27" fmla="*/ 43511 h 403224"/>
                <a:gd name="connsiteX28" fmla="*/ 513787 w 526593"/>
                <a:gd name="connsiteY28" fmla="*/ 45259 h 403224"/>
                <a:gd name="connsiteX29" fmla="*/ 513787 w 526593"/>
                <a:gd name="connsiteY29" fmla="*/ 51019 h 403224"/>
                <a:gd name="connsiteX30" fmla="*/ 513787 w 526593"/>
                <a:gd name="connsiteY30" fmla="*/ 51842 h 403224"/>
                <a:gd name="connsiteX31" fmla="*/ 479322 w 526593"/>
                <a:gd name="connsiteY31" fmla="*/ 55134 h 403224"/>
                <a:gd name="connsiteX32" fmla="*/ 452285 w 526593"/>
                <a:gd name="connsiteY32" fmla="*/ 67458 h 403224"/>
                <a:gd name="connsiteX33" fmla="*/ 479726 w 526593"/>
                <a:gd name="connsiteY33" fmla="*/ 55401 h 403224"/>
                <a:gd name="connsiteX34" fmla="*/ 510971 w 526593"/>
                <a:gd name="connsiteY34" fmla="*/ 55401 h 403224"/>
                <a:gd name="connsiteX35" fmla="*/ 514260 w 526593"/>
                <a:gd name="connsiteY35" fmla="*/ 46356 h 403224"/>
                <a:gd name="connsiteX36" fmla="*/ 514260 w 526593"/>
                <a:gd name="connsiteY36" fmla="*/ 45534 h 403224"/>
                <a:gd name="connsiteX37" fmla="*/ 517137 w 526593"/>
                <a:gd name="connsiteY37" fmla="*/ 33302 h 403224"/>
                <a:gd name="connsiteX38" fmla="*/ 517549 w 526593"/>
                <a:gd name="connsiteY38" fmla="*/ 31555 h 403224"/>
                <a:gd name="connsiteX39" fmla="*/ 515390 w 526593"/>
                <a:gd name="connsiteY39" fmla="*/ 16446 h 403224"/>
                <a:gd name="connsiteX40" fmla="*/ 515082 w 526593"/>
                <a:gd name="connsiteY40" fmla="*/ 14287 h 403224"/>
                <a:gd name="connsiteX41" fmla="*/ 526593 w 526593"/>
                <a:gd name="connsiteY41" fmla="*/ 15109 h 403224"/>
                <a:gd name="connsiteX42" fmla="*/ 523304 w 526593"/>
                <a:gd name="connsiteY42" fmla="*/ 38133 h 403224"/>
                <a:gd name="connsiteX43" fmla="*/ 510971 w 526593"/>
                <a:gd name="connsiteY43" fmla="*/ 117894 h 403224"/>
                <a:gd name="connsiteX44" fmla="*/ 325969 w 526593"/>
                <a:gd name="connsiteY44" fmla="*/ 108027 h 403224"/>
                <a:gd name="connsiteX45" fmla="*/ 301302 w 526593"/>
                <a:gd name="connsiteY45" fmla="*/ 265904 h 403224"/>
                <a:gd name="connsiteX46" fmla="*/ 270879 w 526593"/>
                <a:gd name="connsiteY46" fmla="*/ 274127 h 403224"/>
                <a:gd name="connsiteX47" fmla="*/ 234701 w 526593"/>
                <a:gd name="connsiteY47" fmla="*/ 296328 h 403224"/>
                <a:gd name="connsiteX48" fmla="*/ 231412 w 526593"/>
                <a:gd name="connsiteY48" fmla="*/ 322641 h 403224"/>
                <a:gd name="connsiteX49" fmla="*/ 225657 w 526593"/>
                <a:gd name="connsiteY49" fmla="*/ 395001 h 403224"/>
                <a:gd name="connsiteX50" fmla="*/ 24210 w 526593"/>
                <a:gd name="connsiteY50" fmla="*/ 384312 h 403224"/>
                <a:gd name="connsiteX51" fmla="*/ 5299 w 526593"/>
                <a:gd name="connsiteY51" fmla="*/ 392535 h 403224"/>
                <a:gd name="connsiteX52" fmla="*/ 365 w 526593"/>
                <a:gd name="connsiteY52" fmla="*/ 403224 h 403224"/>
                <a:gd name="connsiteX53" fmla="*/ 365 w 526593"/>
                <a:gd name="connsiteY53" fmla="*/ 395824 h 403224"/>
                <a:gd name="connsiteX54" fmla="*/ 6943 w 526593"/>
                <a:gd name="connsiteY54" fmla="*/ 373622 h 403224"/>
                <a:gd name="connsiteX55" fmla="*/ 63677 w 526593"/>
                <a:gd name="connsiteY55" fmla="*/ 374444 h 403224"/>
                <a:gd name="connsiteX56" fmla="*/ 118767 w 526593"/>
                <a:gd name="connsiteY56" fmla="*/ 381023 h 403224"/>
                <a:gd name="connsiteX57" fmla="*/ 139322 w 526593"/>
                <a:gd name="connsiteY57" fmla="*/ 381023 h 403224"/>
                <a:gd name="connsiteX58" fmla="*/ 139335 w 526593"/>
                <a:gd name="connsiteY58" fmla="*/ 381000 h 403224"/>
                <a:gd name="connsiteX59" fmla="*/ 119082 w 526593"/>
                <a:gd name="connsiteY59" fmla="*/ 381000 h 403224"/>
                <a:gd name="connsiteX60" fmla="*/ 64102 w 526593"/>
                <a:gd name="connsiteY60" fmla="*/ 374417 h 403224"/>
                <a:gd name="connsiteX61" fmla="*/ 7481 w 526593"/>
                <a:gd name="connsiteY61" fmla="*/ 374417 h 403224"/>
                <a:gd name="connsiteX62" fmla="*/ 12405 w 526593"/>
                <a:gd name="connsiteY62" fmla="*/ 353845 h 403224"/>
                <a:gd name="connsiteX63" fmla="*/ 27996 w 526593"/>
                <a:gd name="connsiteY63" fmla="*/ 326689 h 403224"/>
                <a:gd name="connsiteX64" fmla="*/ 41125 w 526593"/>
                <a:gd name="connsiteY64" fmla="*/ 320106 h 403224"/>
                <a:gd name="connsiteX65" fmla="*/ 53434 w 526593"/>
                <a:gd name="connsiteY65" fmla="*/ 302002 h 403224"/>
                <a:gd name="connsiteX66" fmla="*/ 68205 w 526593"/>
                <a:gd name="connsiteY66" fmla="*/ 281430 h 403224"/>
                <a:gd name="connsiteX67" fmla="*/ 69025 w 526593"/>
                <a:gd name="connsiteY67" fmla="*/ 269909 h 403224"/>
                <a:gd name="connsiteX68" fmla="*/ 97746 w 526593"/>
                <a:gd name="connsiteY68" fmla="*/ 234525 h 403224"/>
                <a:gd name="connsiteX69" fmla="*/ 106773 w 526593"/>
                <a:gd name="connsiteY69" fmla="*/ 217244 h 403224"/>
                <a:gd name="connsiteX70" fmla="*/ 144520 w 526593"/>
                <a:gd name="connsiteY70" fmla="*/ 182683 h 403224"/>
                <a:gd name="connsiteX71" fmla="*/ 160932 w 526593"/>
                <a:gd name="connsiteY71" fmla="*/ 161287 h 403224"/>
                <a:gd name="connsiteX72" fmla="*/ 167497 w 526593"/>
                <a:gd name="connsiteY72" fmla="*/ 147298 h 403224"/>
                <a:gd name="connsiteX73" fmla="*/ 177344 w 526593"/>
                <a:gd name="connsiteY73" fmla="*/ 126726 h 403224"/>
                <a:gd name="connsiteX74" fmla="*/ 192935 w 526593"/>
                <a:gd name="connsiteY74" fmla="*/ 94633 h 403224"/>
                <a:gd name="connsiteX75" fmla="*/ 210167 w 526593"/>
                <a:gd name="connsiteY75" fmla="*/ 76529 h 403224"/>
                <a:gd name="connsiteX76" fmla="*/ 225759 w 526593"/>
                <a:gd name="connsiteY76" fmla="*/ 68300 h 403224"/>
                <a:gd name="connsiteX77" fmla="*/ 250376 w 526593"/>
                <a:gd name="connsiteY77" fmla="*/ 54311 h 403224"/>
                <a:gd name="connsiteX78" fmla="*/ 257762 w 526593"/>
                <a:gd name="connsiteY78" fmla="*/ 45259 h 403224"/>
                <a:gd name="connsiteX79" fmla="*/ 273353 w 526593"/>
                <a:gd name="connsiteY79" fmla="*/ 18927 h 403224"/>
                <a:gd name="connsiteX80" fmla="*/ 288124 w 526593"/>
                <a:gd name="connsiteY80" fmla="*/ 823 h 403224"/>
                <a:gd name="connsiteX81" fmla="*/ 288124 w 526593"/>
                <a:gd name="connsiteY81" fmla="*/ 0 h 403224"/>
                <a:gd name="connsiteX0" fmla="*/ 403007 w 526593"/>
                <a:gd name="connsiteY0" fmla="*/ 50197 h 403224"/>
                <a:gd name="connsiteX1" fmla="*/ 370183 w 526593"/>
                <a:gd name="connsiteY1" fmla="*/ 58426 h 403224"/>
                <a:gd name="connsiteX2" fmla="*/ 373055 w 526593"/>
                <a:gd name="connsiteY2" fmla="*/ 67786 h 403224"/>
                <a:gd name="connsiteX3" fmla="*/ 373465 w 526593"/>
                <a:gd name="connsiteY3" fmla="*/ 69123 h 403224"/>
                <a:gd name="connsiteX4" fmla="*/ 346386 w 526593"/>
                <a:gd name="connsiteY4" fmla="*/ 97925 h 403224"/>
                <a:gd name="connsiteX5" fmla="*/ 311921 w 526593"/>
                <a:gd name="connsiteY5" fmla="*/ 96279 h 403224"/>
                <a:gd name="connsiteX6" fmla="*/ 311921 w 526593"/>
                <a:gd name="connsiteY6" fmla="*/ 116851 h 403224"/>
                <a:gd name="connsiteX7" fmla="*/ 300433 w 526593"/>
                <a:gd name="connsiteY7" fmla="*/ 180214 h 403224"/>
                <a:gd name="connsiteX8" fmla="*/ 300480 w 526593"/>
                <a:gd name="connsiteY8" fmla="*/ 180387 h 403224"/>
                <a:gd name="connsiteX9" fmla="*/ 311991 w 526593"/>
                <a:gd name="connsiteY9" fmla="*/ 117072 h 403224"/>
                <a:gd name="connsiteX10" fmla="*/ 311991 w 526593"/>
                <a:gd name="connsiteY10" fmla="*/ 96515 h 403224"/>
                <a:gd name="connsiteX11" fmla="*/ 346524 w 526593"/>
                <a:gd name="connsiteY11" fmla="*/ 98159 h 403224"/>
                <a:gd name="connsiteX12" fmla="*/ 373658 w 526593"/>
                <a:gd name="connsiteY12" fmla="*/ 69380 h 403224"/>
                <a:gd name="connsiteX13" fmla="*/ 370780 w 526593"/>
                <a:gd name="connsiteY13" fmla="*/ 60026 h 403224"/>
                <a:gd name="connsiteX14" fmla="*/ 370369 w 526593"/>
                <a:gd name="connsiteY14" fmla="*/ 58690 h 403224"/>
                <a:gd name="connsiteX15" fmla="*/ 403258 w 526593"/>
                <a:gd name="connsiteY15" fmla="*/ 50467 h 403224"/>
                <a:gd name="connsiteX16" fmla="*/ 428748 w 526593"/>
                <a:gd name="connsiteY16" fmla="*/ 66091 h 403224"/>
                <a:gd name="connsiteX17" fmla="*/ 442417 w 526593"/>
                <a:gd name="connsiteY17" fmla="*/ 61054 h 403224"/>
                <a:gd name="connsiteX18" fmla="*/ 444340 w 526593"/>
                <a:gd name="connsiteY18" fmla="*/ 60346 h 403224"/>
                <a:gd name="connsiteX19" fmla="*/ 430394 w 526593"/>
                <a:gd name="connsiteY19" fmla="*/ 65112 h 403224"/>
                <a:gd name="connsiteX20" fmla="*/ 428445 w 526593"/>
                <a:gd name="connsiteY20" fmla="*/ 65832 h 403224"/>
                <a:gd name="connsiteX21" fmla="*/ 403007 w 526593"/>
                <a:gd name="connsiteY21" fmla="*/ 50197 h 403224"/>
                <a:gd name="connsiteX22" fmla="*/ 288124 w 526593"/>
                <a:gd name="connsiteY22" fmla="*/ 0 h 403224"/>
                <a:gd name="connsiteX23" fmla="*/ 514607 w 526593"/>
                <a:gd name="connsiteY23" fmla="*/ 13989 h 403224"/>
                <a:gd name="connsiteX24" fmla="*/ 516761 w 526593"/>
                <a:gd name="connsiteY24" fmla="*/ 29110 h 403224"/>
                <a:gd name="connsiteX25" fmla="*/ 517069 w 526593"/>
                <a:gd name="connsiteY25" fmla="*/ 31270 h 403224"/>
                <a:gd name="connsiteX26" fmla="*/ 514197 w 526593"/>
                <a:gd name="connsiteY26" fmla="*/ 43511 h 403224"/>
                <a:gd name="connsiteX27" fmla="*/ 513787 w 526593"/>
                <a:gd name="connsiteY27" fmla="*/ 45259 h 403224"/>
                <a:gd name="connsiteX28" fmla="*/ 513787 w 526593"/>
                <a:gd name="connsiteY28" fmla="*/ 51019 h 403224"/>
                <a:gd name="connsiteX29" fmla="*/ 513787 w 526593"/>
                <a:gd name="connsiteY29" fmla="*/ 51842 h 403224"/>
                <a:gd name="connsiteX30" fmla="*/ 479322 w 526593"/>
                <a:gd name="connsiteY30" fmla="*/ 55134 h 403224"/>
                <a:gd name="connsiteX31" fmla="*/ 452285 w 526593"/>
                <a:gd name="connsiteY31" fmla="*/ 67458 h 403224"/>
                <a:gd name="connsiteX32" fmla="*/ 479726 w 526593"/>
                <a:gd name="connsiteY32" fmla="*/ 55401 h 403224"/>
                <a:gd name="connsiteX33" fmla="*/ 510971 w 526593"/>
                <a:gd name="connsiteY33" fmla="*/ 55401 h 403224"/>
                <a:gd name="connsiteX34" fmla="*/ 514260 w 526593"/>
                <a:gd name="connsiteY34" fmla="*/ 46356 h 403224"/>
                <a:gd name="connsiteX35" fmla="*/ 514260 w 526593"/>
                <a:gd name="connsiteY35" fmla="*/ 45534 h 403224"/>
                <a:gd name="connsiteX36" fmla="*/ 517137 w 526593"/>
                <a:gd name="connsiteY36" fmla="*/ 33302 h 403224"/>
                <a:gd name="connsiteX37" fmla="*/ 517549 w 526593"/>
                <a:gd name="connsiteY37" fmla="*/ 31555 h 403224"/>
                <a:gd name="connsiteX38" fmla="*/ 515390 w 526593"/>
                <a:gd name="connsiteY38" fmla="*/ 16446 h 403224"/>
                <a:gd name="connsiteX39" fmla="*/ 515082 w 526593"/>
                <a:gd name="connsiteY39" fmla="*/ 14287 h 403224"/>
                <a:gd name="connsiteX40" fmla="*/ 526593 w 526593"/>
                <a:gd name="connsiteY40" fmla="*/ 15109 h 403224"/>
                <a:gd name="connsiteX41" fmla="*/ 523304 w 526593"/>
                <a:gd name="connsiteY41" fmla="*/ 38133 h 403224"/>
                <a:gd name="connsiteX42" fmla="*/ 510971 w 526593"/>
                <a:gd name="connsiteY42" fmla="*/ 117894 h 403224"/>
                <a:gd name="connsiteX43" fmla="*/ 325969 w 526593"/>
                <a:gd name="connsiteY43" fmla="*/ 108027 h 403224"/>
                <a:gd name="connsiteX44" fmla="*/ 301302 w 526593"/>
                <a:gd name="connsiteY44" fmla="*/ 265904 h 403224"/>
                <a:gd name="connsiteX45" fmla="*/ 270879 w 526593"/>
                <a:gd name="connsiteY45" fmla="*/ 274127 h 403224"/>
                <a:gd name="connsiteX46" fmla="*/ 234701 w 526593"/>
                <a:gd name="connsiteY46" fmla="*/ 296328 h 403224"/>
                <a:gd name="connsiteX47" fmla="*/ 231412 w 526593"/>
                <a:gd name="connsiteY47" fmla="*/ 322641 h 403224"/>
                <a:gd name="connsiteX48" fmla="*/ 225657 w 526593"/>
                <a:gd name="connsiteY48" fmla="*/ 395001 h 403224"/>
                <a:gd name="connsiteX49" fmla="*/ 24210 w 526593"/>
                <a:gd name="connsiteY49" fmla="*/ 384312 h 403224"/>
                <a:gd name="connsiteX50" fmla="*/ 5299 w 526593"/>
                <a:gd name="connsiteY50" fmla="*/ 392535 h 403224"/>
                <a:gd name="connsiteX51" fmla="*/ 365 w 526593"/>
                <a:gd name="connsiteY51" fmla="*/ 403224 h 403224"/>
                <a:gd name="connsiteX52" fmla="*/ 365 w 526593"/>
                <a:gd name="connsiteY52" fmla="*/ 395824 h 403224"/>
                <a:gd name="connsiteX53" fmla="*/ 6943 w 526593"/>
                <a:gd name="connsiteY53" fmla="*/ 373622 h 403224"/>
                <a:gd name="connsiteX54" fmla="*/ 63677 w 526593"/>
                <a:gd name="connsiteY54" fmla="*/ 374444 h 403224"/>
                <a:gd name="connsiteX55" fmla="*/ 118767 w 526593"/>
                <a:gd name="connsiteY55" fmla="*/ 381023 h 403224"/>
                <a:gd name="connsiteX56" fmla="*/ 139322 w 526593"/>
                <a:gd name="connsiteY56" fmla="*/ 381023 h 403224"/>
                <a:gd name="connsiteX57" fmla="*/ 139335 w 526593"/>
                <a:gd name="connsiteY57" fmla="*/ 381000 h 403224"/>
                <a:gd name="connsiteX58" fmla="*/ 119082 w 526593"/>
                <a:gd name="connsiteY58" fmla="*/ 381000 h 403224"/>
                <a:gd name="connsiteX59" fmla="*/ 64102 w 526593"/>
                <a:gd name="connsiteY59" fmla="*/ 374417 h 403224"/>
                <a:gd name="connsiteX60" fmla="*/ 7481 w 526593"/>
                <a:gd name="connsiteY60" fmla="*/ 374417 h 403224"/>
                <a:gd name="connsiteX61" fmla="*/ 12405 w 526593"/>
                <a:gd name="connsiteY61" fmla="*/ 353845 h 403224"/>
                <a:gd name="connsiteX62" fmla="*/ 27996 w 526593"/>
                <a:gd name="connsiteY62" fmla="*/ 326689 h 403224"/>
                <a:gd name="connsiteX63" fmla="*/ 41125 w 526593"/>
                <a:gd name="connsiteY63" fmla="*/ 320106 h 403224"/>
                <a:gd name="connsiteX64" fmla="*/ 53434 w 526593"/>
                <a:gd name="connsiteY64" fmla="*/ 302002 h 403224"/>
                <a:gd name="connsiteX65" fmla="*/ 68205 w 526593"/>
                <a:gd name="connsiteY65" fmla="*/ 281430 h 403224"/>
                <a:gd name="connsiteX66" fmla="*/ 69025 w 526593"/>
                <a:gd name="connsiteY66" fmla="*/ 269909 h 403224"/>
                <a:gd name="connsiteX67" fmla="*/ 97746 w 526593"/>
                <a:gd name="connsiteY67" fmla="*/ 234525 h 403224"/>
                <a:gd name="connsiteX68" fmla="*/ 106773 w 526593"/>
                <a:gd name="connsiteY68" fmla="*/ 217244 h 403224"/>
                <a:gd name="connsiteX69" fmla="*/ 144520 w 526593"/>
                <a:gd name="connsiteY69" fmla="*/ 182683 h 403224"/>
                <a:gd name="connsiteX70" fmla="*/ 160932 w 526593"/>
                <a:gd name="connsiteY70" fmla="*/ 161287 h 403224"/>
                <a:gd name="connsiteX71" fmla="*/ 167497 w 526593"/>
                <a:gd name="connsiteY71" fmla="*/ 147298 h 403224"/>
                <a:gd name="connsiteX72" fmla="*/ 177344 w 526593"/>
                <a:gd name="connsiteY72" fmla="*/ 126726 h 403224"/>
                <a:gd name="connsiteX73" fmla="*/ 192935 w 526593"/>
                <a:gd name="connsiteY73" fmla="*/ 94633 h 403224"/>
                <a:gd name="connsiteX74" fmla="*/ 210167 w 526593"/>
                <a:gd name="connsiteY74" fmla="*/ 76529 h 403224"/>
                <a:gd name="connsiteX75" fmla="*/ 225759 w 526593"/>
                <a:gd name="connsiteY75" fmla="*/ 68300 h 403224"/>
                <a:gd name="connsiteX76" fmla="*/ 250376 w 526593"/>
                <a:gd name="connsiteY76" fmla="*/ 54311 h 403224"/>
                <a:gd name="connsiteX77" fmla="*/ 257762 w 526593"/>
                <a:gd name="connsiteY77" fmla="*/ 45259 h 403224"/>
                <a:gd name="connsiteX78" fmla="*/ 273353 w 526593"/>
                <a:gd name="connsiteY78" fmla="*/ 18927 h 403224"/>
                <a:gd name="connsiteX79" fmla="*/ 288124 w 526593"/>
                <a:gd name="connsiteY79" fmla="*/ 823 h 403224"/>
                <a:gd name="connsiteX80" fmla="*/ 288124 w 526593"/>
                <a:gd name="connsiteY80" fmla="*/ 0 h 403224"/>
                <a:gd name="connsiteX0" fmla="*/ 403007 w 526593"/>
                <a:gd name="connsiteY0" fmla="*/ 50197 h 403224"/>
                <a:gd name="connsiteX1" fmla="*/ 370183 w 526593"/>
                <a:gd name="connsiteY1" fmla="*/ 58426 h 403224"/>
                <a:gd name="connsiteX2" fmla="*/ 373055 w 526593"/>
                <a:gd name="connsiteY2" fmla="*/ 67786 h 403224"/>
                <a:gd name="connsiteX3" fmla="*/ 373465 w 526593"/>
                <a:gd name="connsiteY3" fmla="*/ 69123 h 403224"/>
                <a:gd name="connsiteX4" fmla="*/ 346386 w 526593"/>
                <a:gd name="connsiteY4" fmla="*/ 97925 h 403224"/>
                <a:gd name="connsiteX5" fmla="*/ 311921 w 526593"/>
                <a:gd name="connsiteY5" fmla="*/ 96279 h 403224"/>
                <a:gd name="connsiteX6" fmla="*/ 311921 w 526593"/>
                <a:gd name="connsiteY6" fmla="*/ 116851 h 403224"/>
                <a:gd name="connsiteX7" fmla="*/ 300433 w 526593"/>
                <a:gd name="connsiteY7" fmla="*/ 180214 h 403224"/>
                <a:gd name="connsiteX8" fmla="*/ 311991 w 526593"/>
                <a:gd name="connsiteY8" fmla="*/ 117072 h 403224"/>
                <a:gd name="connsiteX9" fmla="*/ 311991 w 526593"/>
                <a:gd name="connsiteY9" fmla="*/ 96515 h 403224"/>
                <a:gd name="connsiteX10" fmla="*/ 346524 w 526593"/>
                <a:gd name="connsiteY10" fmla="*/ 98159 h 403224"/>
                <a:gd name="connsiteX11" fmla="*/ 373658 w 526593"/>
                <a:gd name="connsiteY11" fmla="*/ 69380 h 403224"/>
                <a:gd name="connsiteX12" fmla="*/ 370780 w 526593"/>
                <a:gd name="connsiteY12" fmla="*/ 60026 h 403224"/>
                <a:gd name="connsiteX13" fmla="*/ 370369 w 526593"/>
                <a:gd name="connsiteY13" fmla="*/ 58690 h 403224"/>
                <a:gd name="connsiteX14" fmla="*/ 403258 w 526593"/>
                <a:gd name="connsiteY14" fmla="*/ 50467 h 403224"/>
                <a:gd name="connsiteX15" fmla="*/ 428748 w 526593"/>
                <a:gd name="connsiteY15" fmla="*/ 66091 h 403224"/>
                <a:gd name="connsiteX16" fmla="*/ 442417 w 526593"/>
                <a:gd name="connsiteY16" fmla="*/ 61054 h 403224"/>
                <a:gd name="connsiteX17" fmla="*/ 444340 w 526593"/>
                <a:gd name="connsiteY17" fmla="*/ 60346 h 403224"/>
                <a:gd name="connsiteX18" fmla="*/ 430394 w 526593"/>
                <a:gd name="connsiteY18" fmla="*/ 65112 h 403224"/>
                <a:gd name="connsiteX19" fmla="*/ 428445 w 526593"/>
                <a:gd name="connsiteY19" fmla="*/ 65832 h 403224"/>
                <a:gd name="connsiteX20" fmla="*/ 403007 w 526593"/>
                <a:gd name="connsiteY20" fmla="*/ 50197 h 403224"/>
                <a:gd name="connsiteX21" fmla="*/ 288124 w 526593"/>
                <a:gd name="connsiteY21" fmla="*/ 0 h 403224"/>
                <a:gd name="connsiteX22" fmla="*/ 514607 w 526593"/>
                <a:gd name="connsiteY22" fmla="*/ 13989 h 403224"/>
                <a:gd name="connsiteX23" fmla="*/ 516761 w 526593"/>
                <a:gd name="connsiteY23" fmla="*/ 29110 h 403224"/>
                <a:gd name="connsiteX24" fmla="*/ 517069 w 526593"/>
                <a:gd name="connsiteY24" fmla="*/ 31270 h 403224"/>
                <a:gd name="connsiteX25" fmla="*/ 514197 w 526593"/>
                <a:gd name="connsiteY25" fmla="*/ 43511 h 403224"/>
                <a:gd name="connsiteX26" fmla="*/ 513787 w 526593"/>
                <a:gd name="connsiteY26" fmla="*/ 45259 h 403224"/>
                <a:gd name="connsiteX27" fmla="*/ 513787 w 526593"/>
                <a:gd name="connsiteY27" fmla="*/ 51019 h 403224"/>
                <a:gd name="connsiteX28" fmla="*/ 513787 w 526593"/>
                <a:gd name="connsiteY28" fmla="*/ 51842 h 403224"/>
                <a:gd name="connsiteX29" fmla="*/ 479322 w 526593"/>
                <a:gd name="connsiteY29" fmla="*/ 55134 h 403224"/>
                <a:gd name="connsiteX30" fmla="*/ 452285 w 526593"/>
                <a:gd name="connsiteY30" fmla="*/ 67458 h 403224"/>
                <a:gd name="connsiteX31" fmla="*/ 479726 w 526593"/>
                <a:gd name="connsiteY31" fmla="*/ 55401 h 403224"/>
                <a:gd name="connsiteX32" fmla="*/ 510971 w 526593"/>
                <a:gd name="connsiteY32" fmla="*/ 55401 h 403224"/>
                <a:gd name="connsiteX33" fmla="*/ 514260 w 526593"/>
                <a:gd name="connsiteY33" fmla="*/ 46356 h 403224"/>
                <a:gd name="connsiteX34" fmla="*/ 514260 w 526593"/>
                <a:gd name="connsiteY34" fmla="*/ 45534 h 403224"/>
                <a:gd name="connsiteX35" fmla="*/ 517137 w 526593"/>
                <a:gd name="connsiteY35" fmla="*/ 33302 h 403224"/>
                <a:gd name="connsiteX36" fmla="*/ 517549 w 526593"/>
                <a:gd name="connsiteY36" fmla="*/ 31555 h 403224"/>
                <a:gd name="connsiteX37" fmla="*/ 515390 w 526593"/>
                <a:gd name="connsiteY37" fmla="*/ 16446 h 403224"/>
                <a:gd name="connsiteX38" fmla="*/ 515082 w 526593"/>
                <a:gd name="connsiteY38" fmla="*/ 14287 h 403224"/>
                <a:gd name="connsiteX39" fmla="*/ 526593 w 526593"/>
                <a:gd name="connsiteY39" fmla="*/ 15109 h 403224"/>
                <a:gd name="connsiteX40" fmla="*/ 523304 w 526593"/>
                <a:gd name="connsiteY40" fmla="*/ 38133 h 403224"/>
                <a:gd name="connsiteX41" fmla="*/ 510971 w 526593"/>
                <a:gd name="connsiteY41" fmla="*/ 117894 h 403224"/>
                <a:gd name="connsiteX42" fmla="*/ 325969 w 526593"/>
                <a:gd name="connsiteY42" fmla="*/ 108027 h 403224"/>
                <a:gd name="connsiteX43" fmla="*/ 301302 w 526593"/>
                <a:gd name="connsiteY43" fmla="*/ 265904 h 403224"/>
                <a:gd name="connsiteX44" fmla="*/ 270879 w 526593"/>
                <a:gd name="connsiteY44" fmla="*/ 274127 h 403224"/>
                <a:gd name="connsiteX45" fmla="*/ 234701 w 526593"/>
                <a:gd name="connsiteY45" fmla="*/ 296328 h 403224"/>
                <a:gd name="connsiteX46" fmla="*/ 231412 w 526593"/>
                <a:gd name="connsiteY46" fmla="*/ 322641 h 403224"/>
                <a:gd name="connsiteX47" fmla="*/ 225657 w 526593"/>
                <a:gd name="connsiteY47" fmla="*/ 395001 h 403224"/>
                <a:gd name="connsiteX48" fmla="*/ 24210 w 526593"/>
                <a:gd name="connsiteY48" fmla="*/ 384312 h 403224"/>
                <a:gd name="connsiteX49" fmla="*/ 5299 w 526593"/>
                <a:gd name="connsiteY49" fmla="*/ 392535 h 403224"/>
                <a:gd name="connsiteX50" fmla="*/ 365 w 526593"/>
                <a:gd name="connsiteY50" fmla="*/ 403224 h 403224"/>
                <a:gd name="connsiteX51" fmla="*/ 365 w 526593"/>
                <a:gd name="connsiteY51" fmla="*/ 395824 h 403224"/>
                <a:gd name="connsiteX52" fmla="*/ 6943 w 526593"/>
                <a:gd name="connsiteY52" fmla="*/ 373622 h 403224"/>
                <a:gd name="connsiteX53" fmla="*/ 63677 w 526593"/>
                <a:gd name="connsiteY53" fmla="*/ 374444 h 403224"/>
                <a:gd name="connsiteX54" fmla="*/ 118767 w 526593"/>
                <a:gd name="connsiteY54" fmla="*/ 381023 h 403224"/>
                <a:gd name="connsiteX55" fmla="*/ 139322 w 526593"/>
                <a:gd name="connsiteY55" fmla="*/ 381023 h 403224"/>
                <a:gd name="connsiteX56" fmla="*/ 139335 w 526593"/>
                <a:gd name="connsiteY56" fmla="*/ 381000 h 403224"/>
                <a:gd name="connsiteX57" fmla="*/ 119082 w 526593"/>
                <a:gd name="connsiteY57" fmla="*/ 381000 h 403224"/>
                <a:gd name="connsiteX58" fmla="*/ 64102 w 526593"/>
                <a:gd name="connsiteY58" fmla="*/ 374417 h 403224"/>
                <a:gd name="connsiteX59" fmla="*/ 7481 w 526593"/>
                <a:gd name="connsiteY59" fmla="*/ 374417 h 403224"/>
                <a:gd name="connsiteX60" fmla="*/ 12405 w 526593"/>
                <a:gd name="connsiteY60" fmla="*/ 353845 h 403224"/>
                <a:gd name="connsiteX61" fmla="*/ 27996 w 526593"/>
                <a:gd name="connsiteY61" fmla="*/ 326689 h 403224"/>
                <a:gd name="connsiteX62" fmla="*/ 41125 w 526593"/>
                <a:gd name="connsiteY62" fmla="*/ 320106 h 403224"/>
                <a:gd name="connsiteX63" fmla="*/ 53434 w 526593"/>
                <a:gd name="connsiteY63" fmla="*/ 302002 h 403224"/>
                <a:gd name="connsiteX64" fmla="*/ 68205 w 526593"/>
                <a:gd name="connsiteY64" fmla="*/ 281430 h 403224"/>
                <a:gd name="connsiteX65" fmla="*/ 69025 w 526593"/>
                <a:gd name="connsiteY65" fmla="*/ 269909 h 403224"/>
                <a:gd name="connsiteX66" fmla="*/ 97746 w 526593"/>
                <a:gd name="connsiteY66" fmla="*/ 234525 h 403224"/>
                <a:gd name="connsiteX67" fmla="*/ 106773 w 526593"/>
                <a:gd name="connsiteY67" fmla="*/ 217244 h 403224"/>
                <a:gd name="connsiteX68" fmla="*/ 144520 w 526593"/>
                <a:gd name="connsiteY68" fmla="*/ 182683 h 403224"/>
                <a:gd name="connsiteX69" fmla="*/ 160932 w 526593"/>
                <a:gd name="connsiteY69" fmla="*/ 161287 h 403224"/>
                <a:gd name="connsiteX70" fmla="*/ 167497 w 526593"/>
                <a:gd name="connsiteY70" fmla="*/ 147298 h 403224"/>
                <a:gd name="connsiteX71" fmla="*/ 177344 w 526593"/>
                <a:gd name="connsiteY71" fmla="*/ 126726 h 403224"/>
                <a:gd name="connsiteX72" fmla="*/ 192935 w 526593"/>
                <a:gd name="connsiteY72" fmla="*/ 94633 h 403224"/>
                <a:gd name="connsiteX73" fmla="*/ 210167 w 526593"/>
                <a:gd name="connsiteY73" fmla="*/ 76529 h 403224"/>
                <a:gd name="connsiteX74" fmla="*/ 225759 w 526593"/>
                <a:gd name="connsiteY74" fmla="*/ 68300 h 403224"/>
                <a:gd name="connsiteX75" fmla="*/ 250376 w 526593"/>
                <a:gd name="connsiteY75" fmla="*/ 54311 h 403224"/>
                <a:gd name="connsiteX76" fmla="*/ 257762 w 526593"/>
                <a:gd name="connsiteY76" fmla="*/ 45259 h 403224"/>
                <a:gd name="connsiteX77" fmla="*/ 273353 w 526593"/>
                <a:gd name="connsiteY77" fmla="*/ 18927 h 403224"/>
                <a:gd name="connsiteX78" fmla="*/ 288124 w 526593"/>
                <a:gd name="connsiteY78" fmla="*/ 823 h 403224"/>
                <a:gd name="connsiteX79" fmla="*/ 288124 w 526593"/>
                <a:gd name="connsiteY79" fmla="*/ 0 h 403224"/>
                <a:gd name="connsiteX0" fmla="*/ 403007 w 526593"/>
                <a:gd name="connsiteY0" fmla="*/ 50197 h 403224"/>
                <a:gd name="connsiteX1" fmla="*/ 370183 w 526593"/>
                <a:gd name="connsiteY1" fmla="*/ 58426 h 403224"/>
                <a:gd name="connsiteX2" fmla="*/ 373055 w 526593"/>
                <a:gd name="connsiteY2" fmla="*/ 67786 h 403224"/>
                <a:gd name="connsiteX3" fmla="*/ 373465 w 526593"/>
                <a:gd name="connsiteY3" fmla="*/ 69123 h 403224"/>
                <a:gd name="connsiteX4" fmla="*/ 346386 w 526593"/>
                <a:gd name="connsiteY4" fmla="*/ 97925 h 403224"/>
                <a:gd name="connsiteX5" fmla="*/ 311921 w 526593"/>
                <a:gd name="connsiteY5" fmla="*/ 96279 h 403224"/>
                <a:gd name="connsiteX6" fmla="*/ 311921 w 526593"/>
                <a:gd name="connsiteY6" fmla="*/ 116851 h 403224"/>
                <a:gd name="connsiteX7" fmla="*/ 311991 w 526593"/>
                <a:gd name="connsiteY7" fmla="*/ 117072 h 403224"/>
                <a:gd name="connsiteX8" fmla="*/ 311991 w 526593"/>
                <a:gd name="connsiteY8" fmla="*/ 96515 h 403224"/>
                <a:gd name="connsiteX9" fmla="*/ 346524 w 526593"/>
                <a:gd name="connsiteY9" fmla="*/ 98159 h 403224"/>
                <a:gd name="connsiteX10" fmla="*/ 373658 w 526593"/>
                <a:gd name="connsiteY10" fmla="*/ 69380 h 403224"/>
                <a:gd name="connsiteX11" fmla="*/ 370780 w 526593"/>
                <a:gd name="connsiteY11" fmla="*/ 60026 h 403224"/>
                <a:gd name="connsiteX12" fmla="*/ 370369 w 526593"/>
                <a:gd name="connsiteY12" fmla="*/ 58690 h 403224"/>
                <a:gd name="connsiteX13" fmla="*/ 403258 w 526593"/>
                <a:gd name="connsiteY13" fmla="*/ 50467 h 403224"/>
                <a:gd name="connsiteX14" fmla="*/ 428748 w 526593"/>
                <a:gd name="connsiteY14" fmla="*/ 66091 h 403224"/>
                <a:gd name="connsiteX15" fmla="*/ 442417 w 526593"/>
                <a:gd name="connsiteY15" fmla="*/ 61054 h 403224"/>
                <a:gd name="connsiteX16" fmla="*/ 444340 w 526593"/>
                <a:gd name="connsiteY16" fmla="*/ 60346 h 403224"/>
                <a:gd name="connsiteX17" fmla="*/ 430394 w 526593"/>
                <a:gd name="connsiteY17" fmla="*/ 65112 h 403224"/>
                <a:gd name="connsiteX18" fmla="*/ 428445 w 526593"/>
                <a:gd name="connsiteY18" fmla="*/ 65832 h 403224"/>
                <a:gd name="connsiteX19" fmla="*/ 403007 w 526593"/>
                <a:gd name="connsiteY19" fmla="*/ 50197 h 403224"/>
                <a:gd name="connsiteX20" fmla="*/ 288124 w 526593"/>
                <a:gd name="connsiteY20" fmla="*/ 0 h 403224"/>
                <a:gd name="connsiteX21" fmla="*/ 514607 w 526593"/>
                <a:gd name="connsiteY21" fmla="*/ 13989 h 403224"/>
                <a:gd name="connsiteX22" fmla="*/ 516761 w 526593"/>
                <a:gd name="connsiteY22" fmla="*/ 29110 h 403224"/>
                <a:gd name="connsiteX23" fmla="*/ 517069 w 526593"/>
                <a:gd name="connsiteY23" fmla="*/ 31270 h 403224"/>
                <a:gd name="connsiteX24" fmla="*/ 514197 w 526593"/>
                <a:gd name="connsiteY24" fmla="*/ 43511 h 403224"/>
                <a:gd name="connsiteX25" fmla="*/ 513787 w 526593"/>
                <a:gd name="connsiteY25" fmla="*/ 45259 h 403224"/>
                <a:gd name="connsiteX26" fmla="*/ 513787 w 526593"/>
                <a:gd name="connsiteY26" fmla="*/ 51019 h 403224"/>
                <a:gd name="connsiteX27" fmla="*/ 513787 w 526593"/>
                <a:gd name="connsiteY27" fmla="*/ 51842 h 403224"/>
                <a:gd name="connsiteX28" fmla="*/ 479322 w 526593"/>
                <a:gd name="connsiteY28" fmla="*/ 55134 h 403224"/>
                <a:gd name="connsiteX29" fmla="*/ 452285 w 526593"/>
                <a:gd name="connsiteY29" fmla="*/ 67458 h 403224"/>
                <a:gd name="connsiteX30" fmla="*/ 479726 w 526593"/>
                <a:gd name="connsiteY30" fmla="*/ 55401 h 403224"/>
                <a:gd name="connsiteX31" fmla="*/ 510971 w 526593"/>
                <a:gd name="connsiteY31" fmla="*/ 55401 h 403224"/>
                <a:gd name="connsiteX32" fmla="*/ 514260 w 526593"/>
                <a:gd name="connsiteY32" fmla="*/ 46356 h 403224"/>
                <a:gd name="connsiteX33" fmla="*/ 514260 w 526593"/>
                <a:gd name="connsiteY33" fmla="*/ 45534 h 403224"/>
                <a:gd name="connsiteX34" fmla="*/ 517137 w 526593"/>
                <a:gd name="connsiteY34" fmla="*/ 33302 h 403224"/>
                <a:gd name="connsiteX35" fmla="*/ 517549 w 526593"/>
                <a:gd name="connsiteY35" fmla="*/ 31555 h 403224"/>
                <a:gd name="connsiteX36" fmla="*/ 515390 w 526593"/>
                <a:gd name="connsiteY36" fmla="*/ 16446 h 403224"/>
                <a:gd name="connsiteX37" fmla="*/ 515082 w 526593"/>
                <a:gd name="connsiteY37" fmla="*/ 14287 h 403224"/>
                <a:gd name="connsiteX38" fmla="*/ 526593 w 526593"/>
                <a:gd name="connsiteY38" fmla="*/ 15109 h 403224"/>
                <a:gd name="connsiteX39" fmla="*/ 523304 w 526593"/>
                <a:gd name="connsiteY39" fmla="*/ 38133 h 403224"/>
                <a:gd name="connsiteX40" fmla="*/ 510971 w 526593"/>
                <a:gd name="connsiteY40" fmla="*/ 117894 h 403224"/>
                <a:gd name="connsiteX41" fmla="*/ 325969 w 526593"/>
                <a:gd name="connsiteY41" fmla="*/ 108027 h 403224"/>
                <a:gd name="connsiteX42" fmla="*/ 301302 w 526593"/>
                <a:gd name="connsiteY42" fmla="*/ 265904 h 403224"/>
                <a:gd name="connsiteX43" fmla="*/ 270879 w 526593"/>
                <a:gd name="connsiteY43" fmla="*/ 274127 h 403224"/>
                <a:gd name="connsiteX44" fmla="*/ 234701 w 526593"/>
                <a:gd name="connsiteY44" fmla="*/ 296328 h 403224"/>
                <a:gd name="connsiteX45" fmla="*/ 231412 w 526593"/>
                <a:gd name="connsiteY45" fmla="*/ 322641 h 403224"/>
                <a:gd name="connsiteX46" fmla="*/ 225657 w 526593"/>
                <a:gd name="connsiteY46" fmla="*/ 395001 h 403224"/>
                <a:gd name="connsiteX47" fmla="*/ 24210 w 526593"/>
                <a:gd name="connsiteY47" fmla="*/ 384312 h 403224"/>
                <a:gd name="connsiteX48" fmla="*/ 5299 w 526593"/>
                <a:gd name="connsiteY48" fmla="*/ 392535 h 403224"/>
                <a:gd name="connsiteX49" fmla="*/ 365 w 526593"/>
                <a:gd name="connsiteY49" fmla="*/ 403224 h 403224"/>
                <a:gd name="connsiteX50" fmla="*/ 365 w 526593"/>
                <a:gd name="connsiteY50" fmla="*/ 395824 h 403224"/>
                <a:gd name="connsiteX51" fmla="*/ 6943 w 526593"/>
                <a:gd name="connsiteY51" fmla="*/ 373622 h 403224"/>
                <a:gd name="connsiteX52" fmla="*/ 63677 w 526593"/>
                <a:gd name="connsiteY52" fmla="*/ 374444 h 403224"/>
                <a:gd name="connsiteX53" fmla="*/ 118767 w 526593"/>
                <a:gd name="connsiteY53" fmla="*/ 381023 h 403224"/>
                <a:gd name="connsiteX54" fmla="*/ 139322 w 526593"/>
                <a:gd name="connsiteY54" fmla="*/ 381023 h 403224"/>
                <a:gd name="connsiteX55" fmla="*/ 139335 w 526593"/>
                <a:gd name="connsiteY55" fmla="*/ 381000 h 403224"/>
                <a:gd name="connsiteX56" fmla="*/ 119082 w 526593"/>
                <a:gd name="connsiteY56" fmla="*/ 381000 h 403224"/>
                <a:gd name="connsiteX57" fmla="*/ 64102 w 526593"/>
                <a:gd name="connsiteY57" fmla="*/ 374417 h 403224"/>
                <a:gd name="connsiteX58" fmla="*/ 7481 w 526593"/>
                <a:gd name="connsiteY58" fmla="*/ 374417 h 403224"/>
                <a:gd name="connsiteX59" fmla="*/ 12405 w 526593"/>
                <a:gd name="connsiteY59" fmla="*/ 353845 h 403224"/>
                <a:gd name="connsiteX60" fmla="*/ 27996 w 526593"/>
                <a:gd name="connsiteY60" fmla="*/ 326689 h 403224"/>
                <a:gd name="connsiteX61" fmla="*/ 41125 w 526593"/>
                <a:gd name="connsiteY61" fmla="*/ 320106 h 403224"/>
                <a:gd name="connsiteX62" fmla="*/ 53434 w 526593"/>
                <a:gd name="connsiteY62" fmla="*/ 302002 h 403224"/>
                <a:gd name="connsiteX63" fmla="*/ 68205 w 526593"/>
                <a:gd name="connsiteY63" fmla="*/ 281430 h 403224"/>
                <a:gd name="connsiteX64" fmla="*/ 69025 w 526593"/>
                <a:gd name="connsiteY64" fmla="*/ 269909 h 403224"/>
                <a:gd name="connsiteX65" fmla="*/ 97746 w 526593"/>
                <a:gd name="connsiteY65" fmla="*/ 234525 h 403224"/>
                <a:gd name="connsiteX66" fmla="*/ 106773 w 526593"/>
                <a:gd name="connsiteY66" fmla="*/ 217244 h 403224"/>
                <a:gd name="connsiteX67" fmla="*/ 144520 w 526593"/>
                <a:gd name="connsiteY67" fmla="*/ 182683 h 403224"/>
                <a:gd name="connsiteX68" fmla="*/ 160932 w 526593"/>
                <a:gd name="connsiteY68" fmla="*/ 161287 h 403224"/>
                <a:gd name="connsiteX69" fmla="*/ 167497 w 526593"/>
                <a:gd name="connsiteY69" fmla="*/ 147298 h 403224"/>
                <a:gd name="connsiteX70" fmla="*/ 177344 w 526593"/>
                <a:gd name="connsiteY70" fmla="*/ 126726 h 403224"/>
                <a:gd name="connsiteX71" fmla="*/ 192935 w 526593"/>
                <a:gd name="connsiteY71" fmla="*/ 94633 h 403224"/>
                <a:gd name="connsiteX72" fmla="*/ 210167 w 526593"/>
                <a:gd name="connsiteY72" fmla="*/ 76529 h 403224"/>
                <a:gd name="connsiteX73" fmla="*/ 225759 w 526593"/>
                <a:gd name="connsiteY73" fmla="*/ 68300 h 403224"/>
                <a:gd name="connsiteX74" fmla="*/ 250376 w 526593"/>
                <a:gd name="connsiteY74" fmla="*/ 54311 h 403224"/>
                <a:gd name="connsiteX75" fmla="*/ 257762 w 526593"/>
                <a:gd name="connsiteY75" fmla="*/ 45259 h 403224"/>
                <a:gd name="connsiteX76" fmla="*/ 273353 w 526593"/>
                <a:gd name="connsiteY76" fmla="*/ 18927 h 403224"/>
                <a:gd name="connsiteX77" fmla="*/ 288124 w 526593"/>
                <a:gd name="connsiteY77" fmla="*/ 823 h 403224"/>
                <a:gd name="connsiteX78" fmla="*/ 288124 w 526593"/>
                <a:gd name="connsiteY78" fmla="*/ 0 h 403224"/>
                <a:gd name="connsiteX0" fmla="*/ 403007 w 526593"/>
                <a:gd name="connsiteY0" fmla="*/ 50197 h 403224"/>
                <a:gd name="connsiteX1" fmla="*/ 370183 w 526593"/>
                <a:gd name="connsiteY1" fmla="*/ 58426 h 403224"/>
                <a:gd name="connsiteX2" fmla="*/ 373055 w 526593"/>
                <a:gd name="connsiteY2" fmla="*/ 67786 h 403224"/>
                <a:gd name="connsiteX3" fmla="*/ 373465 w 526593"/>
                <a:gd name="connsiteY3" fmla="*/ 69123 h 403224"/>
                <a:gd name="connsiteX4" fmla="*/ 346386 w 526593"/>
                <a:gd name="connsiteY4" fmla="*/ 97925 h 403224"/>
                <a:gd name="connsiteX5" fmla="*/ 311921 w 526593"/>
                <a:gd name="connsiteY5" fmla="*/ 96279 h 403224"/>
                <a:gd name="connsiteX6" fmla="*/ 311921 w 526593"/>
                <a:gd name="connsiteY6" fmla="*/ 116851 h 403224"/>
                <a:gd name="connsiteX7" fmla="*/ 311991 w 526593"/>
                <a:gd name="connsiteY7" fmla="*/ 96515 h 403224"/>
                <a:gd name="connsiteX8" fmla="*/ 346524 w 526593"/>
                <a:gd name="connsiteY8" fmla="*/ 98159 h 403224"/>
                <a:gd name="connsiteX9" fmla="*/ 373658 w 526593"/>
                <a:gd name="connsiteY9" fmla="*/ 69380 h 403224"/>
                <a:gd name="connsiteX10" fmla="*/ 370780 w 526593"/>
                <a:gd name="connsiteY10" fmla="*/ 60026 h 403224"/>
                <a:gd name="connsiteX11" fmla="*/ 370369 w 526593"/>
                <a:gd name="connsiteY11" fmla="*/ 58690 h 403224"/>
                <a:gd name="connsiteX12" fmla="*/ 403258 w 526593"/>
                <a:gd name="connsiteY12" fmla="*/ 50467 h 403224"/>
                <a:gd name="connsiteX13" fmla="*/ 428748 w 526593"/>
                <a:gd name="connsiteY13" fmla="*/ 66091 h 403224"/>
                <a:gd name="connsiteX14" fmla="*/ 442417 w 526593"/>
                <a:gd name="connsiteY14" fmla="*/ 61054 h 403224"/>
                <a:gd name="connsiteX15" fmla="*/ 444340 w 526593"/>
                <a:gd name="connsiteY15" fmla="*/ 60346 h 403224"/>
                <a:gd name="connsiteX16" fmla="*/ 430394 w 526593"/>
                <a:gd name="connsiteY16" fmla="*/ 65112 h 403224"/>
                <a:gd name="connsiteX17" fmla="*/ 428445 w 526593"/>
                <a:gd name="connsiteY17" fmla="*/ 65832 h 403224"/>
                <a:gd name="connsiteX18" fmla="*/ 403007 w 526593"/>
                <a:gd name="connsiteY18" fmla="*/ 50197 h 403224"/>
                <a:gd name="connsiteX19" fmla="*/ 288124 w 526593"/>
                <a:gd name="connsiteY19" fmla="*/ 0 h 403224"/>
                <a:gd name="connsiteX20" fmla="*/ 514607 w 526593"/>
                <a:gd name="connsiteY20" fmla="*/ 13989 h 403224"/>
                <a:gd name="connsiteX21" fmla="*/ 516761 w 526593"/>
                <a:gd name="connsiteY21" fmla="*/ 29110 h 403224"/>
                <a:gd name="connsiteX22" fmla="*/ 517069 w 526593"/>
                <a:gd name="connsiteY22" fmla="*/ 31270 h 403224"/>
                <a:gd name="connsiteX23" fmla="*/ 514197 w 526593"/>
                <a:gd name="connsiteY23" fmla="*/ 43511 h 403224"/>
                <a:gd name="connsiteX24" fmla="*/ 513787 w 526593"/>
                <a:gd name="connsiteY24" fmla="*/ 45259 h 403224"/>
                <a:gd name="connsiteX25" fmla="*/ 513787 w 526593"/>
                <a:gd name="connsiteY25" fmla="*/ 51019 h 403224"/>
                <a:gd name="connsiteX26" fmla="*/ 513787 w 526593"/>
                <a:gd name="connsiteY26" fmla="*/ 51842 h 403224"/>
                <a:gd name="connsiteX27" fmla="*/ 479322 w 526593"/>
                <a:gd name="connsiteY27" fmla="*/ 55134 h 403224"/>
                <a:gd name="connsiteX28" fmla="*/ 452285 w 526593"/>
                <a:gd name="connsiteY28" fmla="*/ 67458 h 403224"/>
                <a:gd name="connsiteX29" fmla="*/ 479726 w 526593"/>
                <a:gd name="connsiteY29" fmla="*/ 55401 h 403224"/>
                <a:gd name="connsiteX30" fmla="*/ 510971 w 526593"/>
                <a:gd name="connsiteY30" fmla="*/ 55401 h 403224"/>
                <a:gd name="connsiteX31" fmla="*/ 514260 w 526593"/>
                <a:gd name="connsiteY31" fmla="*/ 46356 h 403224"/>
                <a:gd name="connsiteX32" fmla="*/ 514260 w 526593"/>
                <a:gd name="connsiteY32" fmla="*/ 45534 h 403224"/>
                <a:gd name="connsiteX33" fmla="*/ 517137 w 526593"/>
                <a:gd name="connsiteY33" fmla="*/ 33302 h 403224"/>
                <a:gd name="connsiteX34" fmla="*/ 517549 w 526593"/>
                <a:gd name="connsiteY34" fmla="*/ 31555 h 403224"/>
                <a:gd name="connsiteX35" fmla="*/ 515390 w 526593"/>
                <a:gd name="connsiteY35" fmla="*/ 16446 h 403224"/>
                <a:gd name="connsiteX36" fmla="*/ 515082 w 526593"/>
                <a:gd name="connsiteY36" fmla="*/ 14287 h 403224"/>
                <a:gd name="connsiteX37" fmla="*/ 526593 w 526593"/>
                <a:gd name="connsiteY37" fmla="*/ 15109 h 403224"/>
                <a:gd name="connsiteX38" fmla="*/ 523304 w 526593"/>
                <a:gd name="connsiteY38" fmla="*/ 38133 h 403224"/>
                <a:gd name="connsiteX39" fmla="*/ 510971 w 526593"/>
                <a:gd name="connsiteY39" fmla="*/ 117894 h 403224"/>
                <a:gd name="connsiteX40" fmla="*/ 325969 w 526593"/>
                <a:gd name="connsiteY40" fmla="*/ 108027 h 403224"/>
                <a:gd name="connsiteX41" fmla="*/ 301302 w 526593"/>
                <a:gd name="connsiteY41" fmla="*/ 265904 h 403224"/>
                <a:gd name="connsiteX42" fmla="*/ 270879 w 526593"/>
                <a:gd name="connsiteY42" fmla="*/ 274127 h 403224"/>
                <a:gd name="connsiteX43" fmla="*/ 234701 w 526593"/>
                <a:gd name="connsiteY43" fmla="*/ 296328 h 403224"/>
                <a:gd name="connsiteX44" fmla="*/ 231412 w 526593"/>
                <a:gd name="connsiteY44" fmla="*/ 322641 h 403224"/>
                <a:gd name="connsiteX45" fmla="*/ 225657 w 526593"/>
                <a:gd name="connsiteY45" fmla="*/ 395001 h 403224"/>
                <a:gd name="connsiteX46" fmla="*/ 24210 w 526593"/>
                <a:gd name="connsiteY46" fmla="*/ 384312 h 403224"/>
                <a:gd name="connsiteX47" fmla="*/ 5299 w 526593"/>
                <a:gd name="connsiteY47" fmla="*/ 392535 h 403224"/>
                <a:gd name="connsiteX48" fmla="*/ 365 w 526593"/>
                <a:gd name="connsiteY48" fmla="*/ 403224 h 403224"/>
                <a:gd name="connsiteX49" fmla="*/ 365 w 526593"/>
                <a:gd name="connsiteY49" fmla="*/ 395824 h 403224"/>
                <a:gd name="connsiteX50" fmla="*/ 6943 w 526593"/>
                <a:gd name="connsiteY50" fmla="*/ 373622 h 403224"/>
                <a:gd name="connsiteX51" fmla="*/ 63677 w 526593"/>
                <a:gd name="connsiteY51" fmla="*/ 374444 h 403224"/>
                <a:gd name="connsiteX52" fmla="*/ 118767 w 526593"/>
                <a:gd name="connsiteY52" fmla="*/ 381023 h 403224"/>
                <a:gd name="connsiteX53" fmla="*/ 139322 w 526593"/>
                <a:gd name="connsiteY53" fmla="*/ 381023 h 403224"/>
                <a:gd name="connsiteX54" fmla="*/ 139335 w 526593"/>
                <a:gd name="connsiteY54" fmla="*/ 381000 h 403224"/>
                <a:gd name="connsiteX55" fmla="*/ 119082 w 526593"/>
                <a:gd name="connsiteY55" fmla="*/ 381000 h 403224"/>
                <a:gd name="connsiteX56" fmla="*/ 64102 w 526593"/>
                <a:gd name="connsiteY56" fmla="*/ 374417 h 403224"/>
                <a:gd name="connsiteX57" fmla="*/ 7481 w 526593"/>
                <a:gd name="connsiteY57" fmla="*/ 374417 h 403224"/>
                <a:gd name="connsiteX58" fmla="*/ 12405 w 526593"/>
                <a:gd name="connsiteY58" fmla="*/ 353845 h 403224"/>
                <a:gd name="connsiteX59" fmla="*/ 27996 w 526593"/>
                <a:gd name="connsiteY59" fmla="*/ 326689 h 403224"/>
                <a:gd name="connsiteX60" fmla="*/ 41125 w 526593"/>
                <a:gd name="connsiteY60" fmla="*/ 320106 h 403224"/>
                <a:gd name="connsiteX61" fmla="*/ 53434 w 526593"/>
                <a:gd name="connsiteY61" fmla="*/ 302002 h 403224"/>
                <a:gd name="connsiteX62" fmla="*/ 68205 w 526593"/>
                <a:gd name="connsiteY62" fmla="*/ 281430 h 403224"/>
                <a:gd name="connsiteX63" fmla="*/ 69025 w 526593"/>
                <a:gd name="connsiteY63" fmla="*/ 269909 h 403224"/>
                <a:gd name="connsiteX64" fmla="*/ 97746 w 526593"/>
                <a:gd name="connsiteY64" fmla="*/ 234525 h 403224"/>
                <a:gd name="connsiteX65" fmla="*/ 106773 w 526593"/>
                <a:gd name="connsiteY65" fmla="*/ 217244 h 403224"/>
                <a:gd name="connsiteX66" fmla="*/ 144520 w 526593"/>
                <a:gd name="connsiteY66" fmla="*/ 182683 h 403224"/>
                <a:gd name="connsiteX67" fmla="*/ 160932 w 526593"/>
                <a:gd name="connsiteY67" fmla="*/ 161287 h 403224"/>
                <a:gd name="connsiteX68" fmla="*/ 167497 w 526593"/>
                <a:gd name="connsiteY68" fmla="*/ 147298 h 403224"/>
                <a:gd name="connsiteX69" fmla="*/ 177344 w 526593"/>
                <a:gd name="connsiteY69" fmla="*/ 126726 h 403224"/>
                <a:gd name="connsiteX70" fmla="*/ 192935 w 526593"/>
                <a:gd name="connsiteY70" fmla="*/ 94633 h 403224"/>
                <a:gd name="connsiteX71" fmla="*/ 210167 w 526593"/>
                <a:gd name="connsiteY71" fmla="*/ 76529 h 403224"/>
                <a:gd name="connsiteX72" fmla="*/ 225759 w 526593"/>
                <a:gd name="connsiteY72" fmla="*/ 68300 h 403224"/>
                <a:gd name="connsiteX73" fmla="*/ 250376 w 526593"/>
                <a:gd name="connsiteY73" fmla="*/ 54311 h 403224"/>
                <a:gd name="connsiteX74" fmla="*/ 257762 w 526593"/>
                <a:gd name="connsiteY74" fmla="*/ 45259 h 403224"/>
                <a:gd name="connsiteX75" fmla="*/ 273353 w 526593"/>
                <a:gd name="connsiteY75" fmla="*/ 18927 h 403224"/>
                <a:gd name="connsiteX76" fmla="*/ 288124 w 526593"/>
                <a:gd name="connsiteY76" fmla="*/ 823 h 403224"/>
                <a:gd name="connsiteX77" fmla="*/ 288124 w 526593"/>
                <a:gd name="connsiteY77" fmla="*/ 0 h 403224"/>
                <a:gd name="connsiteX0" fmla="*/ 403007 w 526593"/>
                <a:gd name="connsiteY0" fmla="*/ 50197 h 403224"/>
                <a:gd name="connsiteX1" fmla="*/ 370183 w 526593"/>
                <a:gd name="connsiteY1" fmla="*/ 58426 h 403224"/>
                <a:gd name="connsiteX2" fmla="*/ 373055 w 526593"/>
                <a:gd name="connsiteY2" fmla="*/ 67786 h 403224"/>
                <a:gd name="connsiteX3" fmla="*/ 373465 w 526593"/>
                <a:gd name="connsiteY3" fmla="*/ 69123 h 403224"/>
                <a:gd name="connsiteX4" fmla="*/ 346386 w 526593"/>
                <a:gd name="connsiteY4" fmla="*/ 97925 h 403224"/>
                <a:gd name="connsiteX5" fmla="*/ 311921 w 526593"/>
                <a:gd name="connsiteY5" fmla="*/ 96279 h 403224"/>
                <a:gd name="connsiteX6" fmla="*/ 311921 w 526593"/>
                <a:gd name="connsiteY6" fmla="*/ 116851 h 403224"/>
                <a:gd name="connsiteX7" fmla="*/ 346524 w 526593"/>
                <a:gd name="connsiteY7" fmla="*/ 98159 h 403224"/>
                <a:gd name="connsiteX8" fmla="*/ 373658 w 526593"/>
                <a:gd name="connsiteY8" fmla="*/ 69380 h 403224"/>
                <a:gd name="connsiteX9" fmla="*/ 370780 w 526593"/>
                <a:gd name="connsiteY9" fmla="*/ 60026 h 403224"/>
                <a:gd name="connsiteX10" fmla="*/ 370369 w 526593"/>
                <a:gd name="connsiteY10" fmla="*/ 58690 h 403224"/>
                <a:gd name="connsiteX11" fmla="*/ 403258 w 526593"/>
                <a:gd name="connsiteY11" fmla="*/ 50467 h 403224"/>
                <a:gd name="connsiteX12" fmla="*/ 428748 w 526593"/>
                <a:gd name="connsiteY12" fmla="*/ 66091 h 403224"/>
                <a:gd name="connsiteX13" fmla="*/ 442417 w 526593"/>
                <a:gd name="connsiteY13" fmla="*/ 61054 h 403224"/>
                <a:gd name="connsiteX14" fmla="*/ 444340 w 526593"/>
                <a:gd name="connsiteY14" fmla="*/ 60346 h 403224"/>
                <a:gd name="connsiteX15" fmla="*/ 430394 w 526593"/>
                <a:gd name="connsiteY15" fmla="*/ 65112 h 403224"/>
                <a:gd name="connsiteX16" fmla="*/ 428445 w 526593"/>
                <a:gd name="connsiteY16" fmla="*/ 65832 h 403224"/>
                <a:gd name="connsiteX17" fmla="*/ 403007 w 526593"/>
                <a:gd name="connsiteY17" fmla="*/ 50197 h 403224"/>
                <a:gd name="connsiteX18" fmla="*/ 288124 w 526593"/>
                <a:gd name="connsiteY18" fmla="*/ 0 h 403224"/>
                <a:gd name="connsiteX19" fmla="*/ 514607 w 526593"/>
                <a:gd name="connsiteY19" fmla="*/ 13989 h 403224"/>
                <a:gd name="connsiteX20" fmla="*/ 516761 w 526593"/>
                <a:gd name="connsiteY20" fmla="*/ 29110 h 403224"/>
                <a:gd name="connsiteX21" fmla="*/ 517069 w 526593"/>
                <a:gd name="connsiteY21" fmla="*/ 31270 h 403224"/>
                <a:gd name="connsiteX22" fmla="*/ 514197 w 526593"/>
                <a:gd name="connsiteY22" fmla="*/ 43511 h 403224"/>
                <a:gd name="connsiteX23" fmla="*/ 513787 w 526593"/>
                <a:gd name="connsiteY23" fmla="*/ 45259 h 403224"/>
                <a:gd name="connsiteX24" fmla="*/ 513787 w 526593"/>
                <a:gd name="connsiteY24" fmla="*/ 51019 h 403224"/>
                <a:gd name="connsiteX25" fmla="*/ 513787 w 526593"/>
                <a:gd name="connsiteY25" fmla="*/ 51842 h 403224"/>
                <a:gd name="connsiteX26" fmla="*/ 479322 w 526593"/>
                <a:gd name="connsiteY26" fmla="*/ 55134 h 403224"/>
                <a:gd name="connsiteX27" fmla="*/ 452285 w 526593"/>
                <a:gd name="connsiteY27" fmla="*/ 67458 h 403224"/>
                <a:gd name="connsiteX28" fmla="*/ 479726 w 526593"/>
                <a:gd name="connsiteY28" fmla="*/ 55401 h 403224"/>
                <a:gd name="connsiteX29" fmla="*/ 510971 w 526593"/>
                <a:gd name="connsiteY29" fmla="*/ 55401 h 403224"/>
                <a:gd name="connsiteX30" fmla="*/ 514260 w 526593"/>
                <a:gd name="connsiteY30" fmla="*/ 46356 h 403224"/>
                <a:gd name="connsiteX31" fmla="*/ 514260 w 526593"/>
                <a:gd name="connsiteY31" fmla="*/ 45534 h 403224"/>
                <a:gd name="connsiteX32" fmla="*/ 517137 w 526593"/>
                <a:gd name="connsiteY32" fmla="*/ 33302 h 403224"/>
                <a:gd name="connsiteX33" fmla="*/ 517549 w 526593"/>
                <a:gd name="connsiteY33" fmla="*/ 31555 h 403224"/>
                <a:gd name="connsiteX34" fmla="*/ 515390 w 526593"/>
                <a:gd name="connsiteY34" fmla="*/ 16446 h 403224"/>
                <a:gd name="connsiteX35" fmla="*/ 515082 w 526593"/>
                <a:gd name="connsiteY35" fmla="*/ 14287 h 403224"/>
                <a:gd name="connsiteX36" fmla="*/ 526593 w 526593"/>
                <a:gd name="connsiteY36" fmla="*/ 15109 h 403224"/>
                <a:gd name="connsiteX37" fmla="*/ 523304 w 526593"/>
                <a:gd name="connsiteY37" fmla="*/ 38133 h 403224"/>
                <a:gd name="connsiteX38" fmla="*/ 510971 w 526593"/>
                <a:gd name="connsiteY38" fmla="*/ 117894 h 403224"/>
                <a:gd name="connsiteX39" fmla="*/ 325969 w 526593"/>
                <a:gd name="connsiteY39" fmla="*/ 108027 h 403224"/>
                <a:gd name="connsiteX40" fmla="*/ 301302 w 526593"/>
                <a:gd name="connsiteY40" fmla="*/ 265904 h 403224"/>
                <a:gd name="connsiteX41" fmla="*/ 270879 w 526593"/>
                <a:gd name="connsiteY41" fmla="*/ 274127 h 403224"/>
                <a:gd name="connsiteX42" fmla="*/ 234701 w 526593"/>
                <a:gd name="connsiteY42" fmla="*/ 296328 h 403224"/>
                <a:gd name="connsiteX43" fmla="*/ 231412 w 526593"/>
                <a:gd name="connsiteY43" fmla="*/ 322641 h 403224"/>
                <a:gd name="connsiteX44" fmla="*/ 225657 w 526593"/>
                <a:gd name="connsiteY44" fmla="*/ 395001 h 403224"/>
                <a:gd name="connsiteX45" fmla="*/ 24210 w 526593"/>
                <a:gd name="connsiteY45" fmla="*/ 384312 h 403224"/>
                <a:gd name="connsiteX46" fmla="*/ 5299 w 526593"/>
                <a:gd name="connsiteY46" fmla="*/ 392535 h 403224"/>
                <a:gd name="connsiteX47" fmla="*/ 365 w 526593"/>
                <a:gd name="connsiteY47" fmla="*/ 403224 h 403224"/>
                <a:gd name="connsiteX48" fmla="*/ 365 w 526593"/>
                <a:gd name="connsiteY48" fmla="*/ 395824 h 403224"/>
                <a:gd name="connsiteX49" fmla="*/ 6943 w 526593"/>
                <a:gd name="connsiteY49" fmla="*/ 373622 h 403224"/>
                <a:gd name="connsiteX50" fmla="*/ 63677 w 526593"/>
                <a:gd name="connsiteY50" fmla="*/ 374444 h 403224"/>
                <a:gd name="connsiteX51" fmla="*/ 118767 w 526593"/>
                <a:gd name="connsiteY51" fmla="*/ 381023 h 403224"/>
                <a:gd name="connsiteX52" fmla="*/ 139322 w 526593"/>
                <a:gd name="connsiteY52" fmla="*/ 381023 h 403224"/>
                <a:gd name="connsiteX53" fmla="*/ 139335 w 526593"/>
                <a:gd name="connsiteY53" fmla="*/ 381000 h 403224"/>
                <a:gd name="connsiteX54" fmla="*/ 119082 w 526593"/>
                <a:gd name="connsiteY54" fmla="*/ 381000 h 403224"/>
                <a:gd name="connsiteX55" fmla="*/ 64102 w 526593"/>
                <a:gd name="connsiteY55" fmla="*/ 374417 h 403224"/>
                <a:gd name="connsiteX56" fmla="*/ 7481 w 526593"/>
                <a:gd name="connsiteY56" fmla="*/ 374417 h 403224"/>
                <a:gd name="connsiteX57" fmla="*/ 12405 w 526593"/>
                <a:gd name="connsiteY57" fmla="*/ 353845 h 403224"/>
                <a:gd name="connsiteX58" fmla="*/ 27996 w 526593"/>
                <a:gd name="connsiteY58" fmla="*/ 326689 h 403224"/>
                <a:gd name="connsiteX59" fmla="*/ 41125 w 526593"/>
                <a:gd name="connsiteY59" fmla="*/ 320106 h 403224"/>
                <a:gd name="connsiteX60" fmla="*/ 53434 w 526593"/>
                <a:gd name="connsiteY60" fmla="*/ 302002 h 403224"/>
                <a:gd name="connsiteX61" fmla="*/ 68205 w 526593"/>
                <a:gd name="connsiteY61" fmla="*/ 281430 h 403224"/>
                <a:gd name="connsiteX62" fmla="*/ 69025 w 526593"/>
                <a:gd name="connsiteY62" fmla="*/ 269909 h 403224"/>
                <a:gd name="connsiteX63" fmla="*/ 97746 w 526593"/>
                <a:gd name="connsiteY63" fmla="*/ 234525 h 403224"/>
                <a:gd name="connsiteX64" fmla="*/ 106773 w 526593"/>
                <a:gd name="connsiteY64" fmla="*/ 217244 h 403224"/>
                <a:gd name="connsiteX65" fmla="*/ 144520 w 526593"/>
                <a:gd name="connsiteY65" fmla="*/ 182683 h 403224"/>
                <a:gd name="connsiteX66" fmla="*/ 160932 w 526593"/>
                <a:gd name="connsiteY66" fmla="*/ 161287 h 403224"/>
                <a:gd name="connsiteX67" fmla="*/ 167497 w 526593"/>
                <a:gd name="connsiteY67" fmla="*/ 147298 h 403224"/>
                <a:gd name="connsiteX68" fmla="*/ 177344 w 526593"/>
                <a:gd name="connsiteY68" fmla="*/ 126726 h 403224"/>
                <a:gd name="connsiteX69" fmla="*/ 192935 w 526593"/>
                <a:gd name="connsiteY69" fmla="*/ 94633 h 403224"/>
                <a:gd name="connsiteX70" fmla="*/ 210167 w 526593"/>
                <a:gd name="connsiteY70" fmla="*/ 76529 h 403224"/>
                <a:gd name="connsiteX71" fmla="*/ 225759 w 526593"/>
                <a:gd name="connsiteY71" fmla="*/ 68300 h 403224"/>
                <a:gd name="connsiteX72" fmla="*/ 250376 w 526593"/>
                <a:gd name="connsiteY72" fmla="*/ 54311 h 403224"/>
                <a:gd name="connsiteX73" fmla="*/ 257762 w 526593"/>
                <a:gd name="connsiteY73" fmla="*/ 45259 h 403224"/>
                <a:gd name="connsiteX74" fmla="*/ 273353 w 526593"/>
                <a:gd name="connsiteY74" fmla="*/ 18927 h 403224"/>
                <a:gd name="connsiteX75" fmla="*/ 288124 w 526593"/>
                <a:gd name="connsiteY75" fmla="*/ 823 h 403224"/>
                <a:gd name="connsiteX76" fmla="*/ 288124 w 526593"/>
                <a:gd name="connsiteY76" fmla="*/ 0 h 403224"/>
                <a:gd name="connsiteX0" fmla="*/ 403007 w 526593"/>
                <a:gd name="connsiteY0" fmla="*/ 50197 h 403224"/>
                <a:gd name="connsiteX1" fmla="*/ 370183 w 526593"/>
                <a:gd name="connsiteY1" fmla="*/ 58426 h 403224"/>
                <a:gd name="connsiteX2" fmla="*/ 373055 w 526593"/>
                <a:gd name="connsiteY2" fmla="*/ 67786 h 403224"/>
                <a:gd name="connsiteX3" fmla="*/ 373465 w 526593"/>
                <a:gd name="connsiteY3" fmla="*/ 69123 h 403224"/>
                <a:gd name="connsiteX4" fmla="*/ 346386 w 526593"/>
                <a:gd name="connsiteY4" fmla="*/ 97925 h 403224"/>
                <a:gd name="connsiteX5" fmla="*/ 311921 w 526593"/>
                <a:gd name="connsiteY5" fmla="*/ 96279 h 403224"/>
                <a:gd name="connsiteX6" fmla="*/ 346524 w 526593"/>
                <a:gd name="connsiteY6" fmla="*/ 98159 h 403224"/>
                <a:gd name="connsiteX7" fmla="*/ 373658 w 526593"/>
                <a:gd name="connsiteY7" fmla="*/ 69380 h 403224"/>
                <a:gd name="connsiteX8" fmla="*/ 370780 w 526593"/>
                <a:gd name="connsiteY8" fmla="*/ 60026 h 403224"/>
                <a:gd name="connsiteX9" fmla="*/ 370369 w 526593"/>
                <a:gd name="connsiteY9" fmla="*/ 58690 h 403224"/>
                <a:gd name="connsiteX10" fmla="*/ 403258 w 526593"/>
                <a:gd name="connsiteY10" fmla="*/ 50467 h 403224"/>
                <a:gd name="connsiteX11" fmla="*/ 428748 w 526593"/>
                <a:gd name="connsiteY11" fmla="*/ 66091 h 403224"/>
                <a:gd name="connsiteX12" fmla="*/ 442417 w 526593"/>
                <a:gd name="connsiteY12" fmla="*/ 61054 h 403224"/>
                <a:gd name="connsiteX13" fmla="*/ 444340 w 526593"/>
                <a:gd name="connsiteY13" fmla="*/ 60346 h 403224"/>
                <a:gd name="connsiteX14" fmla="*/ 430394 w 526593"/>
                <a:gd name="connsiteY14" fmla="*/ 65112 h 403224"/>
                <a:gd name="connsiteX15" fmla="*/ 428445 w 526593"/>
                <a:gd name="connsiteY15" fmla="*/ 65832 h 403224"/>
                <a:gd name="connsiteX16" fmla="*/ 403007 w 526593"/>
                <a:gd name="connsiteY16" fmla="*/ 50197 h 403224"/>
                <a:gd name="connsiteX17" fmla="*/ 288124 w 526593"/>
                <a:gd name="connsiteY17" fmla="*/ 0 h 403224"/>
                <a:gd name="connsiteX18" fmla="*/ 514607 w 526593"/>
                <a:gd name="connsiteY18" fmla="*/ 13989 h 403224"/>
                <a:gd name="connsiteX19" fmla="*/ 516761 w 526593"/>
                <a:gd name="connsiteY19" fmla="*/ 29110 h 403224"/>
                <a:gd name="connsiteX20" fmla="*/ 517069 w 526593"/>
                <a:gd name="connsiteY20" fmla="*/ 31270 h 403224"/>
                <a:gd name="connsiteX21" fmla="*/ 514197 w 526593"/>
                <a:gd name="connsiteY21" fmla="*/ 43511 h 403224"/>
                <a:gd name="connsiteX22" fmla="*/ 513787 w 526593"/>
                <a:gd name="connsiteY22" fmla="*/ 45259 h 403224"/>
                <a:gd name="connsiteX23" fmla="*/ 513787 w 526593"/>
                <a:gd name="connsiteY23" fmla="*/ 51019 h 403224"/>
                <a:gd name="connsiteX24" fmla="*/ 513787 w 526593"/>
                <a:gd name="connsiteY24" fmla="*/ 51842 h 403224"/>
                <a:gd name="connsiteX25" fmla="*/ 479322 w 526593"/>
                <a:gd name="connsiteY25" fmla="*/ 55134 h 403224"/>
                <a:gd name="connsiteX26" fmla="*/ 452285 w 526593"/>
                <a:gd name="connsiteY26" fmla="*/ 67458 h 403224"/>
                <a:gd name="connsiteX27" fmla="*/ 479726 w 526593"/>
                <a:gd name="connsiteY27" fmla="*/ 55401 h 403224"/>
                <a:gd name="connsiteX28" fmla="*/ 510971 w 526593"/>
                <a:gd name="connsiteY28" fmla="*/ 55401 h 403224"/>
                <a:gd name="connsiteX29" fmla="*/ 514260 w 526593"/>
                <a:gd name="connsiteY29" fmla="*/ 46356 h 403224"/>
                <a:gd name="connsiteX30" fmla="*/ 514260 w 526593"/>
                <a:gd name="connsiteY30" fmla="*/ 45534 h 403224"/>
                <a:gd name="connsiteX31" fmla="*/ 517137 w 526593"/>
                <a:gd name="connsiteY31" fmla="*/ 33302 h 403224"/>
                <a:gd name="connsiteX32" fmla="*/ 517549 w 526593"/>
                <a:gd name="connsiteY32" fmla="*/ 31555 h 403224"/>
                <a:gd name="connsiteX33" fmla="*/ 515390 w 526593"/>
                <a:gd name="connsiteY33" fmla="*/ 16446 h 403224"/>
                <a:gd name="connsiteX34" fmla="*/ 515082 w 526593"/>
                <a:gd name="connsiteY34" fmla="*/ 14287 h 403224"/>
                <a:gd name="connsiteX35" fmla="*/ 526593 w 526593"/>
                <a:gd name="connsiteY35" fmla="*/ 15109 h 403224"/>
                <a:gd name="connsiteX36" fmla="*/ 523304 w 526593"/>
                <a:gd name="connsiteY36" fmla="*/ 38133 h 403224"/>
                <a:gd name="connsiteX37" fmla="*/ 510971 w 526593"/>
                <a:gd name="connsiteY37" fmla="*/ 117894 h 403224"/>
                <a:gd name="connsiteX38" fmla="*/ 325969 w 526593"/>
                <a:gd name="connsiteY38" fmla="*/ 108027 h 403224"/>
                <a:gd name="connsiteX39" fmla="*/ 301302 w 526593"/>
                <a:gd name="connsiteY39" fmla="*/ 265904 h 403224"/>
                <a:gd name="connsiteX40" fmla="*/ 270879 w 526593"/>
                <a:gd name="connsiteY40" fmla="*/ 274127 h 403224"/>
                <a:gd name="connsiteX41" fmla="*/ 234701 w 526593"/>
                <a:gd name="connsiteY41" fmla="*/ 296328 h 403224"/>
                <a:gd name="connsiteX42" fmla="*/ 231412 w 526593"/>
                <a:gd name="connsiteY42" fmla="*/ 322641 h 403224"/>
                <a:gd name="connsiteX43" fmla="*/ 225657 w 526593"/>
                <a:gd name="connsiteY43" fmla="*/ 395001 h 403224"/>
                <a:gd name="connsiteX44" fmla="*/ 24210 w 526593"/>
                <a:gd name="connsiteY44" fmla="*/ 384312 h 403224"/>
                <a:gd name="connsiteX45" fmla="*/ 5299 w 526593"/>
                <a:gd name="connsiteY45" fmla="*/ 392535 h 403224"/>
                <a:gd name="connsiteX46" fmla="*/ 365 w 526593"/>
                <a:gd name="connsiteY46" fmla="*/ 403224 h 403224"/>
                <a:gd name="connsiteX47" fmla="*/ 365 w 526593"/>
                <a:gd name="connsiteY47" fmla="*/ 395824 h 403224"/>
                <a:gd name="connsiteX48" fmla="*/ 6943 w 526593"/>
                <a:gd name="connsiteY48" fmla="*/ 373622 h 403224"/>
                <a:gd name="connsiteX49" fmla="*/ 63677 w 526593"/>
                <a:gd name="connsiteY49" fmla="*/ 374444 h 403224"/>
                <a:gd name="connsiteX50" fmla="*/ 118767 w 526593"/>
                <a:gd name="connsiteY50" fmla="*/ 381023 h 403224"/>
                <a:gd name="connsiteX51" fmla="*/ 139322 w 526593"/>
                <a:gd name="connsiteY51" fmla="*/ 381023 h 403224"/>
                <a:gd name="connsiteX52" fmla="*/ 139335 w 526593"/>
                <a:gd name="connsiteY52" fmla="*/ 381000 h 403224"/>
                <a:gd name="connsiteX53" fmla="*/ 119082 w 526593"/>
                <a:gd name="connsiteY53" fmla="*/ 381000 h 403224"/>
                <a:gd name="connsiteX54" fmla="*/ 64102 w 526593"/>
                <a:gd name="connsiteY54" fmla="*/ 374417 h 403224"/>
                <a:gd name="connsiteX55" fmla="*/ 7481 w 526593"/>
                <a:gd name="connsiteY55" fmla="*/ 374417 h 403224"/>
                <a:gd name="connsiteX56" fmla="*/ 12405 w 526593"/>
                <a:gd name="connsiteY56" fmla="*/ 353845 h 403224"/>
                <a:gd name="connsiteX57" fmla="*/ 27996 w 526593"/>
                <a:gd name="connsiteY57" fmla="*/ 326689 h 403224"/>
                <a:gd name="connsiteX58" fmla="*/ 41125 w 526593"/>
                <a:gd name="connsiteY58" fmla="*/ 320106 h 403224"/>
                <a:gd name="connsiteX59" fmla="*/ 53434 w 526593"/>
                <a:gd name="connsiteY59" fmla="*/ 302002 h 403224"/>
                <a:gd name="connsiteX60" fmla="*/ 68205 w 526593"/>
                <a:gd name="connsiteY60" fmla="*/ 281430 h 403224"/>
                <a:gd name="connsiteX61" fmla="*/ 69025 w 526593"/>
                <a:gd name="connsiteY61" fmla="*/ 269909 h 403224"/>
                <a:gd name="connsiteX62" fmla="*/ 97746 w 526593"/>
                <a:gd name="connsiteY62" fmla="*/ 234525 h 403224"/>
                <a:gd name="connsiteX63" fmla="*/ 106773 w 526593"/>
                <a:gd name="connsiteY63" fmla="*/ 217244 h 403224"/>
                <a:gd name="connsiteX64" fmla="*/ 144520 w 526593"/>
                <a:gd name="connsiteY64" fmla="*/ 182683 h 403224"/>
                <a:gd name="connsiteX65" fmla="*/ 160932 w 526593"/>
                <a:gd name="connsiteY65" fmla="*/ 161287 h 403224"/>
                <a:gd name="connsiteX66" fmla="*/ 167497 w 526593"/>
                <a:gd name="connsiteY66" fmla="*/ 147298 h 403224"/>
                <a:gd name="connsiteX67" fmla="*/ 177344 w 526593"/>
                <a:gd name="connsiteY67" fmla="*/ 126726 h 403224"/>
                <a:gd name="connsiteX68" fmla="*/ 192935 w 526593"/>
                <a:gd name="connsiteY68" fmla="*/ 94633 h 403224"/>
                <a:gd name="connsiteX69" fmla="*/ 210167 w 526593"/>
                <a:gd name="connsiteY69" fmla="*/ 76529 h 403224"/>
                <a:gd name="connsiteX70" fmla="*/ 225759 w 526593"/>
                <a:gd name="connsiteY70" fmla="*/ 68300 h 403224"/>
                <a:gd name="connsiteX71" fmla="*/ 250376 w 526593"/>
                <a:gd name="connsiteY71" fmla="*/ 54311 h 403224"/>
                <a:gd name="connsiteX72" fmla="*/ 257762 w 526593"/>
                <a:gd name="connsiteY72" fmla="*/ 45259 h 403224"/>
                <a:gd name="connsiteX73" fmla="*/ 273353 w 526593"/>
                <a:gd name="connsiteY73" fmla="*/ 18927 h 403224"/>
                <a:gd name="connsiteX74" fmla="*/ 288124 w 526593"/>
                <a:gd name="connsiteY74" fmla="*/ 823 h 403224"/>
                <a:gd name="connsiteX75" fmla="*/ 288124 w 526593"/>
                <a:gd name="connsiteY75" fmla="*/ 0 h 403224"/>
                <a:gd name="connsiteX0" fmla="*/ 403007 w 526593"/>
                <a:gd name="connsiteY0" fmla="*/ 50197 h 403224"/>
                <a:gd name="connsiteX1" fmla="*/ 370183 w 526593"/>
                <a:gd name="connsiteY1" fmla="*/ 58426 h 403224"/>
                <a:gd name="connsiteX2" fmla="*/ 373055 w 526593"/>
                <a:gd name="connsiteY2" fmla="*/ 67786 h 403224"/>
                <a:gd name="connsiteX3" fmla="*/ 373465 w 526593"/>
                <a:gd name="connsiteY3" fmla="*/ 69123 h 403224"/>
                <a:gd name="connsiteX4" fmla="*/ 346386 w 526593"/>
                <a:gd name="connsiteY4" fmla="*/ 97925 h 403224"/>
                <a:gd name="connsiteX5" fmla="*/ 346524 w 526593"/>
                <a:gd name="connsiteY5" fmla="*/ 98159 h 403224"/>
                <a:gd name="connsiteX6" fmla="*/ 373658 w 526593"/>
                <a:gd name="connsiteY6" fmla="*/ 69380 h 403224"/>
                <a:gd name="connsiteX7" fmla="*/ 370780 w 526593"/>
                <a:gd name="connsiteY7" fmla="*/ 60026 h 403224"/>
                <a:gd name="connsiteX8" fmla="*/ 370369 w 526593"/>
                <a:gd name="connsiteY8" fmla="*/ 58690 h 403224"/>
                <a:gd name="connsiteX9" fmla="*/ 403258 w 526593"/>
                <a:gd name="connsiteY9" fmla="*/ 50467 h 403224"/>
                <a:gd name="connsiteX10" fmla="*/ 428748 w 526593"/>
                <a:gd name="connsiteY10" fmla="*/ 66091 h 403224"/>
                <a:gd name="connsiteX11" fmla="*/ 442417 w 526593"/>
                <a:gd name="connsiteY11" fmla="*/ 61054 h 403224"/>
                <a:gd name="connsiteX12" fmla="*/ 444340 w 526593"/>
                <a:gd name="connsiteY12" fmla="*/ 60346 h 403224"/>
                <a:gd name="connsiteX13" fmla="*/ 430394 w 526593"/>
                <a:gd name="connsiteY13" fmla="*/ 65112 h 403224"/>
                <a:gd name="connsiteX14" fmla="*/ 428445 w 526593"/>
                <a:gd name="connsiteY14" fmla="*/ 65832 h 403224"/>
                <a:gd name="connsiteX15" fmla="*/ 403007 w 526593"/>
                <a:gd name="connsiteY15" fmla="*/ 50197 h 403224"/>
                <a:gd name="connsiteX16" fmla="*/ 288124 w 526593"/>
                <a:gd name="connsiteY16" fmla="*/ 0 h 403224"/>
                <a:gd name="connsiteX17" fmla="*/ 514607 w 526593"/>
                <a:gd name="connsiteY17" fmla="*/ 13989 h 403224"/>
                <a:gd name="connsiteX18" fmla="*/ 516761 w 526593"/>
                <a:gd name="connsiteY18" fmla="*/ 29110 h 403224"/>
                <a:gd name="connsiteX19" fmla="*/ 517069 w 526593"/>
                <a:gd name="connsiteY19" fmla="*/ 31270 h 403224"/>
                <a:gd name="connsiteX20" fmla="*/ 514197 w 526593"/>
                <a:gd name="connsiteY20" fmla="*/ 43511 h 403224"/>
                <a:gd name="connsiteX21" fmla="*/ 513787 w 526593"/>
                <a:gd name="connsiteY21" fmla="*/ 45259 h 403224"/>
                <a:gd name="connsiteX22" fmla="*/ 513787 w 526593"/>
                <a:gd name="connsiteY22" fmla="*/ 51019 h 403224"/>
                <a:gd name="connsiteX23" fmla="*/ 513787 w 526593"/>
                <a:gd name="connsiteY23" fmla="*/ 51842 h 403224"/>
                <a:gd name="connsiteX24" fmla="*/ 479322 w 526593"/>
                <a:gd name="connsiteY24" fmla="*/ 55134 h 403224"/>
                <a:gd name="connsiteX25" fmla="*/ 452285 w 526593"/>
                <a:gd name="connsiteY25" fmla="*/ 67458 h 403224"/>
                <a:gd name="connsiteX26" fmla="*/ 479726 w 526593"/>
                <a:gd name="connsiteY26" fmla="*/ 55401 h 403224"/>
                <a:gd name="connsiteX27" fmla="*/ 510971 w 526593"/>
                <a:gd name="connsiteY27" fmla="*/ 55401 h 403224"/>
                <a:gd name="connsiteX28" fmla="*/ 514260 w 526593"/>
                <a:gd name="connsiteY28" fmla="*/ 46356 h 403224"/>
                <a:gd name="connsiteX29" fmla="*/ 514260 w 526593"/>
                <a:gd name="connsiteY29" fmla="*/ 45534 h 403224"/>
                <a:gd name="connsiteX30" fmla="*/ 517137 w 526593"/>
                <a:gd name="connsiteY30" fmla="*/ 33302 h 403224"/>
                <a:gd name="connsiteX31" fmla="*/ 517549 w 526593"/>
                <a:gd name="connsiteY31" fmla="*/ 31555 h 403224"/>
                <a:gd name="connsiteX32" fmla="*/ 515390 w 526593"/>
                <a:gd name="connsiteY32" fmla="*/ 16446 h 403224"/>
                <a:gd name="connsiteX33" fmla="*/ 515082 w 526593"/>
                <a:gd name="connsiteY33" fmla="*/ 14287 h 403224"/>
                <a:gd name="connsiteX34" fmla="*/ 526593 w 526593"/>
                <a:gd name="connsiteY34" fmla="*/ 15109 h 403224"/>
                <a:gd name="connsiteX35" fmla="*/ 523304 w 526593"/>
                <a:gd name="connsiteY35" fmla="*/ 38133 h 403224"/>
                <a:gd name="connsiteX36" fmla="*/ 510971 w 526593"/>
                <a:gd name="connsiteY36" fmla="*/ 117894 h 403224"/>
                <a:gd name="connsiteX37" fmla="*/ 325969 w 526593"/>
                <a:gd name="connsiteY37" fmla="*/ 108027 h 403224"/>
                <a:gd name="connsiteX38" fmla="*/ 301302 w 526593"/>
                <a:gd name="connsiteY38" fmla="*/ 265904 h 403224"/>
                <a:gd name="connsiteX39" fmla="*/ 270879 w 526593"/>
                <a:gd name="connsiteY39" fmla="*/ 274127 h 403224"/>
                <a:gd name="connsiteX40" fmla="*/ 234701 w 526593"/>
                <a:gd name="connsiteY40" fmla="*/ 296328 h 403224"/>
                <a:gd name="connsiteX41" fmla="*/ 231412 w 526593"/>
                <a:gd name="connsiteY41" fmla="*/ 322641 h 403224"/>
                <a:gd name="connsiteX42" fmla="*/ 225657 w 526593"/>
                <a:gd name="connsiteY42" fmla="*/ 395001 h 403224"/>
                <a:gd name="connsiteX43" fmla="*/ 24210 w 526593"/>
                <a:gd name="connsiteY43" fmla="*/ 384312 h 403224"/>
                <a:gd name="connsiteX44" fmla="*/ 5299 w 526593"/>
                <a:gd name="connsiteY44" fmla="*/ 392535 h 403224"/>
                <a:gd name="connsiteX45" fmla="*/ 365 w 526593"/>
                <a:gd name="connsiteY45" fmla="*/ 403224 h 403224"/>
                <a:gd name="connsiteX46" fmla="*/ 365 w 526593"/>
                <a:gd name="connsiteY46" fmla="*/ 395824 h 403224"/>
                <a:gd name="connsiteX47" fmla="*/ 6943 w 526593"/>
                <a:gd name="connsiteY47" fmla="*/ 373622 h 403224"/>
                <a:gd name="connsiteX48" fmla="*/ 63677 w 526593"/>
                <a:gd name="connsiteY48" fmla="*/ 374444 h 403224"/>
                <a:gd name="connsiteX49" fmla="*/ 118767 w 526593"/>
                <a:gd name="connsiteY49" fmla="*/ 381023 h 403224"/>
                <a:gd name="connsiteX50" fmla="*/ 139322 w 526593"/>
                <a:gd name="connsiteY50" fmla="*/ 381023 h 403224"/>
                <a:gd name="connsiteX51" fmla="*/ 139335 w 526593"/>
                <a:gd name="connsiteY51" fmla="*/ 381000 h 403224"/>
                <a:gd name="connsiteX52" fmla="*/ 119082 w 526593"/>
                <a:gd name="connsiteY52" fmla="*/ 381000 h 403224"/>
                <a:gd name="connsiteX53" fmla="*/ 64102 w 526593"/>
                <a:gd name="connsiteY53" fmla="*/ 374417 h 403224"/>
                <a:gd name="connsiteX54" fmla="*/ 7481 w 526593"/>
                <a:gd name="connsiteY54" fmla="*/ 374417 h 403224"/>
                <a:gd name="connsiteX55" fmla="*/ 12405 w 526593"/>
                <a:gd name="connsiteY55" fmla="*/ 353845 h 403224"/>
                <a:gd name="connsiteX56" fmla="*/ 27996 w 526593"/>
                <a:gd name="connsiteY56" fmla="*/ 326689 h 403224"/>
                <a:gd name="connsiteX57" fmla="*/ 41125 w 526593"/>
                <a:gd name="connsiteY57" fmla="*/ 320106 h 403224"/>
                <a:gd name="connsiteX58" fmla="*/ 53434 w 526593"/>
                <a:gd name="connsiteY58" fmla="*/ 302002 h 403224"/>
                <a:gd name="connsiteX59" fmla="*/ 68205 w 526593"/>
                <a:gd name="connsiteY59" fmla="*/ 281430 h 403224"/>
                <a:gd name="connsiteX60" fmla="*/ 69025 w 526593"/>
                <a:gd name="connsiteY60" fmla="*/ 269909 h 403224"/>
                <a:gd name="connsiteX61" fmla="*/ 97746 w 526593"/>
                <a:gd name="connsiteY61" fmla="*/ 234525 h 403224"/>
                <a:gd name="connsiteX62" fmla="*/ 106773 w 526593"/>
                <a:gd name="connsiteY62" fmla="*/ 217244 h 403224"/>
                <a:gd name="connsiteX63" fmla="*/ 144520 w 526593"/>
                <a:gd name="connsiteY63" fmla="*/ 182683 h 403224"/>
                <a:gd name="connsiteX64" fmla="*/ 160932 w 526593"/>
                <a:gd name="connsiteY64" fmla="*/ 161287 h 403224"/>
                <a:gd name="connsiteX65" fmla="*/ 167497 w 526593"/>
                <a:gd name="connsiteY65" fmla="*/ 147298 h 403224"/>
                <a:gd name="connsiteX66" fmla="*/ 177344 w 526593"/>
                <a:gd name="connsiteY66" fmla="*/ 126726 h 403224"/>
                <a:gd name="connsiteX67" fmla="*/ 192935 w 526593"/>
                <a:gd name="connsiteY67" fmla="*/ 94633 h 403224"/>
                <a:gd name="connsiteX68" fmla="*/ 210167 w 526593"/>
                <a:gd name="connsiteY68" fmla="*/ 76529 h 403224"/>
                <a:gd name="connsiteX69" fmla="*/ 225759 w 526593"/>
                <a:gd name="connsiteY69" fmla="*/ 68300 h 403224"/>
                <a:gd name="connsiteX70" fmla="*/ 250376 w 526593"/>
                <a:gd name="connsiteY70" fmla="*/ 54311 h 403224"/>
                <a:gd name="connsiteX71" fmla="*/ 257762 w 526593"/>
                <a:gd name="connsiteY71" fmla="*/ 45259 h 403224"/>
                <a:gd name="connsiteX72" fmla="*/ 273353 w 526593"/>
                <a:gd name="connsiteY72" fmla="*/ 18927 h 403224"/>
                <a:gd name="connsiteX73" fmla="*/ 288124 w 526593"/>
                <a:gd name="connsiteY73" fmla="*/ 823 h 403224"/>
                <a:gd name="connsiteX74" fmla="*/ 288124 w 526593"/>
                <a:gd name="connsiteY74" fmla="*/ 0 h 403224"/>
                <a:gd name="connsiteX0" fmla="*/ 403007 w 526593"/>
                <a:gd name="connsiteY0" fmla="*/ 50197 h 403224"/>
                <a:gd name="connsiteX1" fmla="*/ 370183 w 526593"/>
                <a:gd name="connsiteY1" fmla="*/ 58426 h 403224"/>
                <a:gd name="connsiteX2" fmla="*/ 373055 w 526593"/>
                <a:gd name="connsiteY2" fmla="*/ 67786 h 403224"/>
                <a:gd name="connsiteX3" fmla="*/ 373465 w 526593"/>
                <a:gd name="connsiteY3" fmla="*/ 69123 h 403224"/>
                <a:gd name="connsiteX4" fmla="*/ 346386 w 526593"/>
                <a:gd name="connsiteY4" fmla="*/ 97925 h 403224"/>
                <a:gd name="connsiteX5" fmla="*/ 373658 w 526593"/>
                <a:gd name="connsiteY5" fmla="*/ 69380 h 403224"/>
                <a:gd name="connsiteX6" fmla="*/ 370780 w 526593"/>
                <a:gd name="connsiteY6" fmla="*/ 60026 h 403224"/>
                <a:gd name="connsiteX7" fmla="*/ 370369 w 526593"/>
                <a:gd name="connsiteY7" fmla="*/ 58690 h 403224"/>
                <a:gd name="connsiteX8" fmla="*/ 403258 w 526593"/>
                <a:gd name="connsiteY8" fmla="*/ 50467 h 403224"/>
                <a:gd name="connsiteX9" fmla="*/ 428748 w 526593"/>
                <a:gd name="connsiteY9" fmla="*/ 66091 h 403224"/>
                <a:gd name="connsiteX10" fmla="*/ 442417 w 526593"/>
                <a:gd name="connsiteY10" fmla="*/ 61054 h 403224"/>
                <a:gd name="connsiteX11" fmla="*/ 444340 w 526593"/>
                <a:gd name="connsiteY11" fmla="*/ 60346 h 403224"/>
                <a:gd name="connsiteX12" fmla="*/ 430394 w 526593"/>
                <a:gd name="connsiteY12" fmla="*/ 65112 h 403224"/>
                <a:gd name="connsiteX13" fmla="*/ 428445 w 526593"/>
                <a:gd name="connsiteY13" fmla="*/ 65832 h 403224"/>
                <a:gd name="connsiteX14" fmla="*/ 403007 w 526593"/>
                <a:gd name="connsiteY14" fmla="*/ 50197 h 403224"/>
                <a:gd name="connsiteX15" fmla="*/ 288124 w 526593"/>
                <a:gd name="connsiteY15" fmla="*/ 0 h 403224"/>
                <a:gd name="connsiteX16" fmla="*/ 514607 w 526593"/>
                <a:gd name="connsiteY16" fmla="*/ 13989 h 403224"/>
                <a:gd name="connsiteX17" fmla="*/ 516761 w 526593"/>
                <a:gd name="connsiteY17" fmla="*/ 29110 h 403224"/>
                <a:gd name="connsiteX18" fmla="*/ 517069 w 526593"/>
                <a:gd name="connsiteY18" fmla="*/ 31270 h 403224"/>
                <a:gd name="connsiteX19" fmla="*/ 514197 w 526593"/>
                <a:gd name="connsiteY19" fmla="*/ 43511 h 403224"/>
                <a:gd name="connsiteX20" fmla="*/ 513787 w 526593"/>
                <a:gd name="connsiteY20" fmla="*/ 45259 h 403224"/>
                <a:gd name="connsiteX21" fmla="*/ 513787 w 526593"/>
                <a:gd name="connsiteY21" fmla="*/ 51019 h 403224"/>
                <a:gd name="connsiteX22" fmla="*/ 513787 w 526593"/>
                <a:gd name="connsiteY22" fmla="*/ 51842 h 403224"/>
                <a:gd name="connsiteX23" fmla="*/ 479322 w 526593"/>
                <a:gd name="connsiteY23" fmla="*/ 55134 h 403224"/>
                <a:gd name="connsiteX24" fmla="*/ 452285 w 526593"/>
                <a:gd name="connsiteY24" fmla="*/ 67458 h 403224"/>
                <a:gd name="connsiteX25" fmla="*/ 479726 w 526593"/>
                <a:gd name="connsiteY25" fmla="*/ 55401 h 403224"/>
                <a:gd name="connsiteX26" fmla="*/ 510971 w 526593"/>
                <a:gd name="connsiteY26" fmla="*/ 55401 h 403224"/>
                <a:gd name="connsiteX27" fmla="*/ 514260 w 526593"/>
                <a:gd name="connsiteY27" fmla="*/ 46356 h 403224"/>
                <a:gd name="connsiteX28" fmla="*/ 514260 w 526593"/>
                <a:gd name="connsiteY28" fmla="*/ 45534 h 403224"/>
                <a:gd name="connsiteX29" fmla="*/ 517137 w 526593"/>
                <a:gd name="connsiteY29" fmla="*/ 33302 h 403224"/>
                <a:gd name="connsiteX30" fmla="*/ 517549 w 526593"/>
                <a:gd name="connsiteY30" fmla="*/ 31555 h 403224"/>
                <a:gd name="connsiteX31" fmla="*/ 515390 w 526593"/>
                <a:gd name="connsiteY31" fmla="*/ 16446 h 403224"/>
                <a:gd name="connsiteX32" fmla="*/ 515082 w 526593"/>
                <a:gd name="connsiteY32" fmla="*/ 14287 h 403224"/>
                <a:gd name="connsiteX33" fmla="*/ 526593 w 526593"/>
                <a:gd name="connsiteY33" fmla="*/ 15109 h 403224"/>
                <a:gd name="connsiteX34" fmla="*/ 523304 w 526593"/>
                <a:gd name="connsiteY34" fmla="*/ 38133 h 403224"/>
                <a:gd name="connsiteX35" fmla="*/ 510971 w 526593"/>
                <a:gd name="connsiteY35" fmla="*/ 117894 h 403224"/>
                <a:gd name="connsiteX36" fmla="*/ 325969 w 526593"/>
                <a:gd name="connsiteY36" fmla="*/ 108027 h 403224"/>
                <a:gd name="connsiteX37" fmla="*/ 301302 w 526593"/>
                <a:gd name="connsiteY37" fmla="*/ 265904 h 403224"/>
                <a:gd name="connsiteX38" fmla="*/ 270879 w 526593"/>
                <a:gd name="connsiteY38" fmla="*/ 274127 h 403224"/>
                <a:gd name="connsiteX39" fmla="*/ 234701 w 526593"/>
                <a:gd name="connsiteY39" fmla="*/ 296328 h 403224"/>
                <a:gd name="connsiteX40" fmla="*/ 231412 w 526593"/>
                <a:gd name="connsiteY40" fmla="*/ 322641 h 403224"/>
                <a:gd name="connsiteX41" fmla="*/ 225657 w 526593"/>
                <a:gd name="connsiteY41" fmla="*/ 395001 h 403224"/>
                <a:gd name="connsiteX42" fmla="*/ 24210 w 526593"/>
                <a:gd name="connsiteY42" fmla="*/ 384312 h 403224"/>
                <a:gd name="connsiteX43" fmla="*/ 5299 w 526593"/>
                <a:gd name="connsiteY43" fmla="*/ 392535 h 403224"/>
                <a:gd name="connsiteX44" fmla="*/ 365 w 526593"/>
                <a:gd name="connsiteY44" fmla="*/ 403224 h 403224"/>
                <a:gd name="connsiteX45" fmla="*/ 365 w 526593"/>
                <a:gd name="connsiteY45" fmla="*/ 395824 h 403224"/>
                <a:gd name="connsiteX46" fmla="*/ 6943 w 526593"/>
                <a:gd name="connsiteY46" fmla="*/ 373622 h 403224"/>
                <a:gd name="connsiteX47" fmla="*/ 63677 w 526593"/>
                <a:gd name="connsiteY47" fmla="*/ 374444 h 403224"/>
                <a:gd name="connsiteX48" fmla="*/ 118767 w 526593"/>
                <a:gd name="connsiteY48" fmla="*/ 381023 h 403224"/>
                <a:gd name="connsiteX49" fmla="*/ 139322 w 526593"/>
                <a:gd name="connsiteY49" fmla="*/ 381023 h 403224"/>
                <a:gd name="connsiteX50" fmla="*/ 139335 w 526593"/>
                <a:gd name="connsiteY50" fmla="*/ 381000 h 403224"/>
                <a:gd name="connsiteX51" fmla="*/ 119082 w 526593"/>
                <a:gd name="connsiteY51" fmla="*/ 381000 h 403224"/>
                <a:gd name="connsiteX52" fmla="*/ 64102 w 526593"/>
                <a:gd name="connsiteY52" fmla="*/ 374417 h 403224"/>
                <a:gd name="connsiteX53" fmla="*/ 7481 w 526593"/>
                <a:gd name="connsiteY53" fmla="*/ 374417 h 403224"/>
                <a:gd name="connsiteX54" fmla="*/ 12405 w 526593"/>
                <a:gd name="connsiteY54" fmla="*/ 353845 h 403224"/>
                <a:gd name="connsiteX55" fmla="*/ 27996 w 526593"/>
                <a:gd name="connsiteY55" fmla="*/ 326689 h 403224"/>
                <a:gd name="connsiteX56" fmla="*/ 41125 w 526593"/>
                <a:gd name="connsiteY56" fmla="*/ 320106 h 403224"/>
                <a:gd name="connsiteX57" fmla="*/ 53434 w 526593"/>
                <a:gd name="connsiteY57" fmla="*/ 302002 h 403224"/>
                <a:gd name="connsiteX58" fmla="*/ 68205 w 526593"/>
                <a:gd name="connsiteY58" fmla="*/ 281430 h 403224"/>
                <a:gd name="connsiteX59" fmla="*/ 69025 w 526593"/>
                <a:gd name="connsiteY59" fmla="*/ 269909 h 403224"/>
                <a:gd name="connsiteX60" fmla="*/ 97746 w 526593"/>
                <a:gd name="connsiteY60" fmla="*/ 234525 h 403224"/>
                <a:gd name="connsiteX61" fmla="*/ 106773 w 526593"/>
                <a:gd name="connsiteY61" fmla="*/ 217244 h 403224"/>
                <a:gd name="connsiteX62" fmla="*/ 144520 w 526593"/>
                <a:gd name="connsiteY62" fmla="*/ 182683 h 403224"/>
                <a:gd name="connsiteX63" fmla="*/ 160932 w 526593"/>
                <a:gd name="connsiteY63" fmla="*/ 161287 h 403224"/>
                <a:gd name="connsiteX64" fmla="*/ 167497 w 526593"/>
                <a:gd name="connsiteY64" fmla="*/ 147298 h 403224"/>
                <a:gd name="connsiteX65" fmla="*/ 177344 w 526593"/>
                <a:gd name="connsiteY65" fmla="*/ 126726 h 403224"/>
                <a:gd name="connsiteX66" fmla="*/ 192935 w 526593"/>
                <a:gd name="connsiteY66" fmla="*/ 94633 h 403224"/>
                <a:gd name="connsiteX67" fmla="*/ 210167 w 526593"/>
                <a:gd name="connsiteY67" fmla="*/ 76529 h 403224"/>
                <a:gd name="connsiteX68" fmla="*/ 225759 w 526593"/>
                <a:gd name="connsiteY68" fmla="*/ 68300 h 403224"/>
                <a:gd name="connsiteX69" fmla="*/ 250376 w 526593"/>
                <a:gd name="connsiteY69" fmla="*/ 54311 h 403224"/>
                <a:gd name="connsiteX70" fmla="*/ 257762 w 526593"/>
                <a:gd name="connsiteY70" fmla="*/ 45259 h 403224"/>
                <a:gd name="connsiteX71" fmla="*/ 273353 w 526593"/>
                <a:gd name="connsiteY71" fmla="*/ 18927 h 403224"/>
                <a:gd name="connsiteX72" fmla="*/ 288124 w 526593"/>
                <a:gd name="connsiteY72" fmla="*/ 823 h 403224"/>
                <a:gd name="connsiteX73" fmla="*/ 288124 w 526593"/>
                <a:gd name="connsiteY73" fmla="*/ 0 h 403224"/>
                <a:gd name="connsiteX0" fmla="*/ 403007 w 526593"/>
                <a:gd name="connsiteY0" fmla="*/ 50197 h 403224"/>
                <a:gd name="connsiteX1" fmla="*/ 370183 w 526593"/>
                <a:gd name="connsiteY1" fmla="*/ 58426 h 403224"/>
                <a:gd name="connsiteX2" fmla="*/ 373055 w 526593"/>
                <a:gd name="connsiteY2" fmla="*/ 67786 h 403224"/>
                <a:gd name="connsiteX3" fmla="*/ 373465 w 526593"/>
                <a:gd name="connsiteY3" fmla="*/ 69123 h 403224"/>
                <a:gd name="connsiteX4" fmla="*/ 373658 w 526593"/>
                <a:gd name="connsiteY4" fmla="*/ 69380 h 403224"/>
                <a:gd name="connsiteX5" fmla="*/ 370780 w 526593"/>
                <a:gd name="connsiteY5" fmla="*/ 60026 h 403224"/>
                <a:gd name="connsiteX6" fmla="*/ 370369 w 526593"/>
                <a:gd name="connsiteY6" fmla="*/ 58690 h 403224"/>
                <a:gd name="connsiteX7" fmla="*/ 403258 w 526593"/>
                <a:gd name="connsiteY7" fmla="*/ 50467 h 403224"/>
                <a:gd name="connsiteX8" fmla="*/ 428748 w 526593"/>
                <a:gd name="connsiteY8" fmla="*/ 66091 h 403224"/>
                <a:gd name="connsiteX9" fmla="*/ 442417 w 526593"/>
                <a:gd name="connsiteY9" fmla="*/ 61054 h 403224"/>
                <a:gd name="connsiteX10" fmla="*/ 444340 w 526593"/>
                <a:gd name="connsiteY10" fmla="*/ 60346 h 403224"/>
                <a:gd name="connsiteX11" fmla="*/ 430394 w 526593"/>
                <a:gd name="connsiteY11" fmla="*/ 65112 h 403224"/>
                <a:gd name="connsiteX12" fmla="*/ 428445 w 526593"/>
                <a:gd name="connsiteY12" fmla="*/ 65832 h 403224"/>
                <a:gd name="connsiteX13" fmla="*/ 403007 w 526593"/>
                <a:gd name="connsiteY13" fmla="*/ 50197 h 403224"/>
                <a:gd name="connsiteX14" fmla="*/ 288124 w 526593"/>
                <a:gd name="connsiteY14" fmla="*/ 0 h 403224"/>
                <a:gd name="connsiteX15" fmla="*/ 514607 w 526593"/>
                <a:gd name="connsiteY15" fmla="*/ 13989 h 403224"/>
                <a:gd name="connsiteX16" fmla="*/ 516761 w 526593"/>
                <a:gd name="connsiteY16" fmla="*/ 29110 h 403224"/>
                <a:gd name="connsiteX17" fmla="*/ 517069 w 526593"/>
                <a:gd name="connsiteY17" fmla="*/ 31270 h 403224"/>
                <a:gd name="connsiteX18" fmla="*/ 514197 w 526593"/>
                <a:gd name="connsiteY18" fmla="*/ 43511 h 403224"/>
                <a:gd name="connsiteX19" fmla="*/ 513787 w 526593"/>
                <a:gd name="connsiteY19" fmla="*/ 45259 h 403224"/>
                <a:gd name="connsiteX20" fmla="*/ 513787 w 526593"/>
                <a:gd name="connsiteY20" fmla="*/ 51019 h 403224"/>
                <a:gd name="connsiteX21" fmla="*/ 513787 w 526593"/>
                <a:gd name="connsiteY21" fmla="*/ 51842 h 403224"/>
                <a:gd name="connsiteX22" fmla="*/ 479322 w 526593"/>
                <a:gd name="connsiteY22" fmla="*/ 55134 h 403224"/>
                <a:gd name="connsiteX23" fmla="*/ 452285 w 526593"/>
                <a:gd name="connsiteY23" fmla="*/ 67458 h 403224"/>
                <a:gd name="connsiteX24" fmla="*/ 479726 w 526593"/>
                <a:gd name="connsiteY24" fmla="*/ 55401 h 403224"/>
                <a:gd name="connsiteX25" fmla="*/ 510971 w 526593"/>
                <a:gd name="connsiteY25" fmla="*/ 55401 h 403224"/>
                <a:gd name="connsiteX26" fmla="*/ 514260 w 526593"/>
                <a:gd name="connsiteY26" fmla="*/ 46356 h 403224"/>
                <a:gd name="connsiteX27" fmla="*/ 514260 w 526593"/>
                <a:gd name="connsiteY27" fmla="*/ 45534 h 403224"/>
                <a:gd name="connsiteX28" fmla="*/ 517137 w 526593"/>
                <a:gd name="connsiteY28" fmla="*/ 33302 h 403224"/>
                <a:gd name="connsiteX29" fmla="*/ 517549 w 526593"/>
                <a:gd name="connsiteY29" fmla="*/ 31555 h 403224"/>
                <a:gd name="connsiteX30" fmla="*/ 515390 w 526593"/>
                <a:gd name="connsiteY30" fmla="*/ 16446 h 403224"/>
                <a:gd name="connsiteX31" fmla="*/ 515082 w 526593"/>
                <a:gd name="connsiteY31" fmla="*/ 14287 h 403224"/>
                <a:gd name="connsiteX32" fmla="*/ 526593 w 526593"/>
                <a:gd name="connsiteY32" fmla="*/ 15109 h 403224"/>
                <a:gd name="connsiteX33" fmla="*/ 523304 w 526593"/>
                <a:gd name="connsiteY33" fmla="*/ 38133 h 403224"/>
                <a:gd name="connsiteX34" fmla="*/ 510971 w 526593"/>
                <a:gd name="connsiteY34" fmla="*/ 117894 h 403224"/>
                <a:gd name="connsiteX35" fmla="*/ 325969 w 526593"/>
                <a:gd name="connsiteY35" fmla="*/ 108027 h 403224"/>
                <a:gd name="connsiteX36" fmla="*/ 301302 w 526593"/>
                <a:gd name="connsiteY36" fmla="*/ 265904 h 403224"/>
                <a:gd name="connsiteX37" fmla="*/ 270879 w 526593"/>
                <a:gd name="connsiteY37" fmla="*/ 274127 h 403224"/>
                <a:gd name="connsiteX38" fmla="*/ 234701 w 526593"/>
                <a:gd name="connsiteY38" fmla="*/ 296328 h 403224"/>
                <a:gd name="connsiteX39" fmla="*/ 231412 w 526593"/>
                <a:gd name="connsiteY39" fmla="*/ 322641 h 403224"/>
                <a:gd name="connsiteX40" fmla="*/ 225657 w 526593"/>
                <a:gd name="connsiteY40" fmla="*/ 395001 h 403224"/>
                <a:gd name="connsiteX41" fmla="*/ 24210 w 526593"/>
                <a:gd name="connsiteY41" fmla="*/ 384312 h 403224"/>
                <a:gd name="connsiteX42" fmla="*/ 5299 w 526593"/>
                <a:gd name="connsiteY42" fmla="*/ 392535 h 403224"/>
                <a:gd name="connsiteX43" fmla="*/ 365 w 526593"/>
                <a:gd name="connsiteY43" fmla="*/ 403224 h 403224"/>
                <a:gd name="connsiteX44" fmla="*/ 365 w 526593"/>
                <a:gd name="connsiteY44" fmla="*/ 395824 h 403224"/>
                <a:gd name="connsiteX45" fmla="*/ 6943 w 526593"/>
                <a:gd name="connsiteY45" fmla="*/ 373622 h 403224"/>
                <a:gd name="connsiteX46" fmla="*/ 63677 w 526593"/>
                <a:gd name="connsiteY46" fmla="*/ 374444 h 403224"/>
                <a:gd name="connsiteX47" fmla="*/ 118767 w 526593"/>
                <a:gd name="connsiteY47" fmla="*/ 381023 h 403224"/>
                <a:gd name="connsiteX48" fmla="*/ 139322 w 526593"/>
                <a:gd name="connsiteY48" fmla="*/ 381023 h 403224"/>
                <a:gd name="connsiteX49" fmla="*/ 139335 w 526593"/>
                <a:gd name="connsiteY49" fmla="*/ 381000 h 403224"/>
                <a:gd name="connsiteX50" fmla="*/ 119082 w 526593"/>
                <a:gd name="connsiteY50" fmla="*/ 381000 h 403224"/>
                <a:gd name="connsiteX51" fmla="*/ 64102 w 526593"/>
                <a:gd name="connsiteY51" fmla="*/ 374417 h 403224"/>
                <a:gd name="connsiteX52" fmla="*/ 7481 w 526593"/>
                <a:gd name="connsiteY52" fmla="*/ 374417 h 403224"/>
                <a:gd name="connsiteX53" fmla="*/ 12405 w 526593"/>
                <a:gd name="connsiteY53" fmla="*/ 353845 h 403224"/>
                <a:gd name="connsiteX54" fmla="*/ 27996 w 526593"/>
                <a:gd name="connsiteY54" fmla="*/ 326689 h 403224"/>
                <a:gd name="connsiteX55" fmla="*/ 41125 w 526593"/>
                <a:gd name="connsiteY55" fmla="*/ 320106 h 403224"/>
                <a:gd name="connsiteX56" fmla="*/ 53434 w 526593"/>
                <a:gd name="connsiteY56" fmla="*/ 302002 h 403224"/>
                <a:gd name="connsiteX57" fmla="*/ 68205 w 526593"/>
                <a:gd name="connsiteY57" fmla="*/ 281430 h 403224"/>
                <a:gd name="connsiteX58" fmla="*/ 69025 w 526593"/>
                <a:gd name="connsiteY58" fmla="*/ 269909 h 403224"/>
                <a:gd name="connsiteX59" fmla="*/ 97746 w 526593"/>
                <a:gd name="connsiteY59" fmla="*/ 234525 h 403224"/>
                <a:gd name="connsiteX60" fmla="*/ 106773 w 526593"/>
                <a:gd name="connsiteY60" fmla="*/ 217244 h 403224"/>
                <a:gd name="connsiteX61" fmla="*/ 144520 w 526593"/>
                <a:gd name="connsiteY61" fmla="*/ 182683 h 403224"/>
                <a:gd name="connsiteX62" fmla="*/ 160932 w 526593"/>
                <a:gd name="connsiteY62" fmla="*/ 161287 h 403224"/>
                <a:gd name="connsiteX63" fmla="*/ 167497 w 526593"/>
                <a:gd name="connsiteY63" fmla="*/ 147298 h 403224"/>
                <a:gd name="connsiteX64" fmla="*/ 177344 w 526593"/>
                <a:gd name="connsiteY64" fmla="*/ 126726 h 403224"/>
                <a:gd name="connsiteX65" fmla="*/ 192935 w 526593"/>
                <a:gd name="connsiteY65" fmla="*/ 94633 h 403224"/>
                <a:gd name="connsiteX66" fmla="*/ 210167 w 526593"/>
                <a:gd name="connsiteY66" fmla="*/ 76529 h 403224"/>
                <a:gd name="connsiteX67" fmla="*/ 225759 w 526593"/>
                <a:gd name="connsiteY67" fmla="*/ 68300 h 403224"/>
                <a:gd name="connsiteX68" fmla="*/ 250376 w 526593"/>
                <a:gd name="connsiteY68" fmla="*/ 54311 h 403224"/>
                <a:gd name="connsiteX69" fmla="*/ 257762 w 526593"/>
                <a:gd name="connsiteY69" fmla="*/ 45259 h 403224"/>
                <a:gd name="connsiteX70" fmla="*/ 273353 w 526593"/>
                <a:gd name="connsiteY70" fmla="*/ 18927 h 403224"/>
                <a:gd name="connsiteX71" fmla="*/ 288124 w 526593"/>
                <a:gd name="connsiteY71" fmla="*/ 823 h 403224"/>
                <a:gd name="connsiteX72" fmla="*/ 288124 w 526593"/>
                <a:gd name="connsiteY72" fmla="*/ 0 h 403224"/>
                <a:gd name="connsiteX0" fmla="*/ 403007 w 526593"/>
                <a:gd name="connsiteY0" fmla="*/ 50197 h 403224"/>
                <a:gd name="connsiteX1" fmla="*/ 370183 w 526593"/>
                <a:gd name="connsiteY1" fmla="*/ 58426 h 403224"/>
                <a:gd name="connsiteX2" fmla="*/ 373055 w 526593"/>
                <a:gd name="connsiteY2" fmla="*/ 67786 h 403224"/>
                <a:gd name="connsiteX3" fmla="*/ 373465 w 526593"/>
                <a:gd name="connsiteY3" fmla="*/ 69123 h 403224"/>
                <a:gd name="connsiteX4" fmla="*/ 370780 w 526593"/>
                <a:gd name="connsiteY4" fmla="*/ 60026 h 403224"/>
                <a:gd name="connsiteX5" fmla="*/ 370369 w 526593"/>
                <a:gd name="connsiteY5" fmla="*/ 58690 h 403224"/>
                <a:gd name="connsiteX6" fmla="*/ 403258 w 526593"/>
                <a:gd name="connsiteY6" fmla="*/ 50467 h 403224"/>
                <a:gd name="connsiteX7" fmla="*/ 428748 w 526593"/>
                <a:gd name="connsiteY7" fmla="*/ 66091 h 403224"/>
                <a:gd name="connsiteX8" fmla="*/ 442417 w 526593"/>
                <a:gd name="connsiteY8" fmla="*/ 61054 h 403224"/>
                <a:gd name="connsiteX9" fmla="*/ 444340 w 526593"/>
                <a:gd name="connsiteY9" fmla="*/ 60346 h 403224"/>
                <a:gd name="connsiteX10" fmla="*/ 430394 w 526593"/>
                <a:gd name="connsiteY10" fmla="*/ 65112 h 403224"/>
                <a:gd name="connsiteX11" fmla="*/ 428445 w 526593"/>
                <a:gd name="connsiteY11" fmla="*/ 65832 h 403224"/>
                <a:gd name="connsiteX12" fmla="*/ 403007 w 526593"/>
                <a:gd name="connsiteY12" fmla="*/ 50197 h 403224"/>
                <a:gd name="connsiteX13" fmla="*/ 288124 w 526593"/>
                <a:gd name="connsiteY13" fmla="*/ 0 h 403224"/>
                <a:gd name="connsiteX14" fmla="*/ 514607 w 526593"/>
                <a:gd name="connsiteY14" fmla="*/ 13989 h 403224"/>
                <a:gd name="connsiteX15" fmla="*/ 516761 w 526593"/>
                <a:gd name="connsiteY15" fmla="*/ 29110 h 403224"/>
                <a:gd name="connsiteX16" fmla="*/ 517069 w 526593"/>
                <a:gd name="connsiteY16" fmla="*/ 31270 h 403224"/>
                <a:gd name="connsiteX17" fmla="*/ 514197 w 526593"/>
                <a:gd name="connsiteY17" fmla="*/ 43511 h 403224"/>
                <a:gd name="connsiteX18" fmla="*/ 513787 w 526593"/>
                <a:gd name="connsiteY18" fmla="*/ 45259 h 403224"/>
                <a:gd name="connsiteX19" fmla="*/ 513787 w 526593"/>
                <a:gd name="connsiteY19" fmla="*/ 51019 h 403224"/>
                <a:gd name="connsiteX20" fmla="*/ 513787 w 526593"/>
                <a:gd name="connsiteY20" fmla="*/ 51842 h 403224"/>
                <a:gd name="connsiteX21" fmla="*/ 479322 w 526593"/>
                <a:gd name="connsiteY21" fmla="*/ 55134 h 403224"/>
                <a:gd name="connsiteX22" fmla="*/ 452285 w 526593"/>
                <a:gd name="connsiteY22" fmla="*/ 67458 h 403224"/>
                <a:gd name="connsiteX23" fmla="*/ 479726 w 526593"/>
                <a:gd name="connsiteY23" fmla="*/ 55401 h 403224"/>
                <a:gd name="connsiteX24" fmla="*/ 510971 w 526593"/>
                <a:gd name="connsiteY24" fmla="*/ 55401 h 403224"/>
                <a:gd name="connsiteX25" fmla="*/ 514260 w 526593"/>
                <a:gd name="connsiteY25" fmla="*/ 46356 h 403224"/>
                <a:gd name="connsiteX26" fmla="*/ 514260 w 526593"/>
                <a:gd name="connsiteY26" fmla="*/ 45534 h 403224"/>
                <a:gd name="connsiteX27" fmla="*/ 517137 w 526593"/>
                <a:gd name="connsiteY27" fmla="*/ 33302 h 403224"/>
                <a:gd name="connsiteX28" fmla="*/ 517549 w 526593"/>
                <a:gd name="connsiteY28" fmla="*/ 31555 h 403224"/>
                <a:gd name="connsiteX29" fmla="*/ 515390 w 526593"/>
                <a:gd name="connsiteY29" fmla="*/ 16446 h 403224"/>
                <a:gd name="connsiteX30" fmla="*/ 515082 w 526593"/>
                <a:gd name="connsiteY30" fmla="*/ 14287 h 403224"/>
                <a:gd name="connsiteX31" fmla="*/ 526593 w 526593"/>
                <a:gd name="connsiteY31" fmla="*/ 15109 h 403224"/>
                <a:gd name="connsiteX32" fmla="*/ 523304 w 526593"/>
                <a:gd name="connsiteY32" fmla="*/ 38133 h 403224"/>
                <a:gd name="connsiteX33" fmla="*/ 510971 w 526593"/>
                <a:gd name="connsiteY33" fmla="*/ 117894 h 403224"/>
                <a:gd name="connsiteX34" fmla="*/ 325969 w 526593"/>
                <a:gd name="connsiteY34" fmla="*/ 108027 h 403224"/>
                <a:gd name="connsiteX35" fmla="*/ 301302 w 526593"/>
                <a:gd name="connsiteY35" fmla="*/ 265904 h 403224"/>
                <a:gd name="connsiteX36" fmla="*/ 270879 w 526593"/>
                <a:gd name="connsiteY36" fmla="*/ 274127 h 403224"/>
                <a:gd name="connsiteX37" fmla="*/ 234701 w 526593"/>
                <a:gd name="connsiteY37" fmla="*/ 296328 h 403224"/>
                <a:gd name="connsiteX38" fmla="*/ 231412 w 526593"/>
                <a:gd name="connsiteY38" fmla="*/ 322641 h 403224"/>
                <a:gd name="connsiteX39" fmla="*/ 225657 w 526593"/>
                <a:gd name="connsiteY39" fmla="*/ 395001 h 403224"/>
                <a:gd name="connsiteX40" fmla="*/ 24210 w 526593"/>
                <a:gd name="connsiteY40" fmla="*/ 384312 h 403224"/>
                <a:gd name="connsiteX41" fmla="*/ 5299 w 526593"/>
                <a:gd name="connsiteY41" fmla="*/ 392535 h 403224"/>
                <a:gd name="connsiteX42" fmla="*/ 365 w 526593"/>
                <a:gd name="connsiteY42" fmla="*/ 403224 h 403224"/>
                <a:gd name="connsiteX43" fmla="*/ 365 w 526593"/>
                <a:gd name="connsiteY43" fmla="*/ 395824 h 403224"/>
                <a:gd name="connsiteX44" fmla="*/ 6943 w 526593"/>
                <a:gd name="connsiteY44" fmla="*/ 373622 h 403224"/>
                <a:gd name="connsiteX45" fmla="*/ 63677 w 526593"/>
                <a:gd name="connsiteY45" fmla="*/ 374444 h 403224"/>
                <a:gd name="connsiteX46" fmla="*/ 118767 w 526593"/>
                <a:gd name="connsiteY46" fmla="*/ 381023 h 403224"/>
                <a:gd name="connsiteX47" fmla="*/ 139322 w 526593"/>
                <a:gd name="connsiteY47" fmla="*/ 381023 h 403224"/>
                <a:gd name="connsiteX48" fmla="*/ 139335 w 526593"/>
                <a:gd name="connsiteY48" fmla="*/ 381000 h 403224"/>
                <a:gd name="connsiteX49" fmla="*/ 119082 w 526593"/>
                <a:gd name="connsiteY49" fmla="*/ 381000 h 403224"/>
                <a:gd name="connsiteX50" fmla="*/ 64102 w 526593"/>
                <a:gd name="connsiteY50" fmla="*/ 374417 h 403224"/>
                <a:gd name="connsiteX51" fmla="*/ 7481 w 526593"/>
                <a:gd name="connsiteY51" fmla="*/ 374417 h 403224"/>
                <a:gd name="connsiteX52" fmla="*/ 12405 w 526593"/>
                <a:gd name="connsiteY52" fmla="*/ 353845 h 403224"/>
                <a:gd name="connsiteX53" fmla="*/ 27996 w 526593"/>
                <a:gd name="connsiteY53" fmla="*/ 326689 h 403224"/>
                <a:gd name="connsiteX54" fmla="*/ 41125 w 526593"/>
                <a:gd name="connsiteY54" fmla="*/ 320106 h 403224"/>
                <a:gd name="connsiteX55" fmla="*/ 53434 w 526593"/>
                <a:gd name="connsiteY55" fmla="*/ 302002 h 403224"/>
                <a:gd name="connsiteX56" fmla="*/ 68205 w 526593"/>
                <a:gd name="connsiteY56" fmla="*/ 281430 h 403224"/>
                <a:gd name="connsiteX57" fmla="*/ 69025 w 526593"/>
                <a:gd name="connsiteY57" fmla="*/ 269909 h 403224"/>
                <a:gd name="connsiteX58" fmla="*/ 97746 w 526593"/>
                <a:gd name="connsiteY58" fmla="*/ 234525 h 403224"/>
                <a:gd name="connsiteX59" fmla="*/ 106773 w 526593"/>
                <a:gd name="connsiteY59" fmla="*/ 217244 h 403224"/>
                <a:gd name="connsiteX60" fmla="*/ 144520 w 526593"/>
                <a:gd name="connsiteY60" fmla="*/ 182683 h 403224"/>
                <a:gd name="connsiteX61" fmla="*/ 160932 w 526593"/>
                <a:gd name="connsiteY61" fmla="*/ 161287 h 403224"/>
                <a:gd name="connsiteX62" fmla="*/ 167497 w 526593"/>
                <a:gd name="connsiteY62" fmla="*/ 147298 h 403224"/>
                <a:gd name="connsiteX63" fmla="*/ 177344 w 526593"/>
                <a:gd name="connsiteY63" fmla="*/ 126726 h 403224"/>
                <a:gd name="connsiteX64" fmla="*/ 192935 w 526593"/>
                <a:gd name="connsiteY64" fmla="*/ 94633 h 403224"/>
                <a:gd name="connsiteX65" fmla="*/ 210167 w 526593"/>
                <a:gd name="connsiteY65" fmla="*/ 76529 h 403224"/>
                <a:gd name="connsiteX66" fmla="*/ 225759 w 526593"/>
                <a:gd name="connsiteY66" fmla="*/ 68300 h 403224"/>
                <a:gd name="connsiteX67" fmla="*/ 250376 w 526593"/>
                <a:gd name="connsiteY67" fmla="*/ 54311 h 403224"/>
                <a:gd name="connsiteX68" fmla="*/ 257762 w 526593"/>
                <a:gd name="connsiteY68" fmla="*/ 45259 h 403224"/>
                <a:gd name="connsiteX69" fmla="*/ 273353 w 526593"/>
                <a:gd name="connsiteY69" fmla="*/ 18927 h 403224"/>
                <a:gd name="connsiteX70" fmla="*/ 288124 w 526593"/>
                <a:gd name="connsiteY70" fmla="*/ 823 h 403224"/>
                <a:gd name="connsiteX71" fmla="*/ 288124 w 526593"/>
                <a:gd name="connsiteY71" fmla="*/ 0 h 403224"/>
                <a:gd name="connsiteX0" fmla="*/ 403007 w 526593"/>
                <a:gd name="connsiteY0" fmla="*/ 50197 h 403224"/>
                <a:gd name="connsiteX1" fmla="*/ 370183 w 526593"/>
                <a:gd name="connsiteY1" fmla="*/ 58426 h 403224"/>
                <a:gd name="connsiteX2" fmla="*/ 373055 w 526593"/>
                <a:gd name="connsiteY2" fmla="*/ 67786 h 403224"/>
                <a:gd name="connsiteX3" fmla="*/ 373465 w 526593"/>
                <a:gd name="connsiteY3" fmla="*/ 69123 h 403224"/>
                <a:gd name="connsiteX4" fmla="*/ 370780 w 526593"/>
                <a:gd name="connsiteY4" fmla="*/ 60026 h 403224"/>
                <a:gd name="connsiteX5" fmla="*/ 403258 w 526593"/>
                <a:gd name="connsiteY5" fmla="*/ 50467 h 403224"/>
                <a:gd name="connsiteX6" fmla="*/ 428748 w 526593"/>
                <a:gd name="connsiteY6" fmla="*/ 66091 h 403224"/>
                <a:gd name="connsiteX7" fmla="*/ 442417 w 526593"/>
                <a:gd name="connsiteY7" fmla="*/ 61054 h 403224"/>
                <a:gd name="connsiteX8" fmla="*/ 444340 w 526593"/>
                <a:gd name="connsiteY8" fmla="*/ 60346 h 403224"/>
                <a:gd name="connsiteX9" fmla="*/ 430394 w 526593"/>
                <a:gd name="connsiteY9" fmla="*/ 65112 h 403224"/>
                <a:gd name="connsiteX10" fmla="*/ 428445 w 526593"/>
                <a:gd name="connsiteY10" fmla="*/ 65832 h 403224"/>
                <a:gd name="connsiteX11" fmla="*/ 403007 w 526593"/>
                <a:gd name="connsiteY11" fmla="*/ 50197 h 403224"/>
                <a:gd name="connsiteX12" fmla="*/ 288124 w 526593"/>
                <a:gd name="connsiteY12" fmla="*/ 0 h 403224"/>
                <a:gd name="connsiteX13" fmla="*/ 514607 w 526593"/>
                <a:gd name="connsiteY13" fmla="*/ 13989 h 403224"/>
                <a:gd name="connsiteX14" fmla="*/ 516761 w 526593"/>
                <a:gd name="connsiteY14" fmla="*/ 29110 h 403224"/>
                <a:gd name="connsiteX15" fmla="*/ 517069 w 526593"/>
                <a:gd name="connsiteY15" fmla="*/ 31270 h 403224"/>
                <a:gd name="connsiteX16" fmla="*/ 514197 w 526593"/>
                <a:gd name="connsiteY16" fmla="*/ 43511 h 403224"/>
                <a:gd name="connsiteX17" fmla="*/ 513787 w 526593"/>
                <a:gd name="connsiteY17" fmla="*/ 45259 h 403224"/>
                <a:gd name="connsiteX18" fmla="*/ 513787 w 526593"/>
                <a:gd name="connsiteY18" fmla="*/ 51019 h 403224"/>
                <a:gd name="connsiteX19" fmla="*/ 513787 w 526593"/>
                <a:gd name="connsiteY19" fmla="*/ 51842 h 403224"/>
                <a:gd name="connsiteX20" fmla="*/ 479322 w 526593"/>
                <a:gd name="connsiteY20" fmla="*/ 55134 h 403224"/>
                <a:gd name="connsiteX21" fmla="*/ 452285 w 526593"/>
                <a:gd name="connsiteY21" fmla="*/ 67458 h 403224"/>
                <a:gd name="connsiteX22" fmla="*/ 479726 w 526593"/>
                <a:gd name="connsiteY22" fmla="*/ 55401 h 403224"/>
                <a:gd name="connsiteX23" fmla="*/ 510971 w 526593"/>
                <a:gd name="connsiteY23" fmla="*/ 55401 h 403224"/>
                <a:gd name="connsiteX24" fmla="*/ 514260 w 526593"/>
                <a:gd name="connsiteY24" fmla="*/ 46356 h 403224"/>
                <a:gd name="connsiteX25" fmla="*/ 514260 w 526593"/>
                <a:gd name="connsiteY25" fmla="*/ 45534 h 403224"/>
                <a:gd name="connsiteX26" fmla="*/ 517137 w 526593"/>
                <a:gd name="connsiteY26" fmla="*/ 33302 h 403224"/>
                <a:gd name="connsiteX27" fmla="*/ 517549 w 526593"/>
                <a:gd name="connsiteY27" fmla="*/ 31555 h 403224"/>
                <a:gd name="connsiteX28" fmla="*/ 515390 w 526593"/>
                <a:gd name="connsiteY28" fmla="*/ 16446 h 403224"/>
                <a:gd name="connsiteX29" fmla="*/ 515082 w 526593"/>
                <a:gd name="connsiteY29" fmla="*/ 14287 h 403224"/>
                <a:gd name="connsiteX30" fmla="*/ 526593 w 526593"/>
                <a:gd name="connsiteY30" fmla="*/ 15109 h 403224"/>
                <a:gd name="connsiteX31" fmla="*/ 523304 w 526593"/>
                <a:gd name="connsiteY31" fmla="*/ 38133 h 403224"/>
                <a:gd name="connsiteX32" fmla="*/ 510971 w 526593"/>
                <a:gd name="connsiteY32" fmla="*/ 117894 h 403224"/>
                <a:gd name="connsiteX33" fmla="*/ 325969 w 526593"/>
                <a:gd name="connsiteY33" fmla="*/ 108027 h 403224"/>
                <a:gd name="connsiteX34" fmla="*/ 301302 w 526593"/>
                <a:gd name="connsiteY34" fmla="*/ 265904 h 403224"/>
                <a:gd name="connsiteX35" fmla="*/ 270879 w 526593"/>
                <a:gd name="connsiteY35" fmla="*/ 274127 h 403224"/>
                <a:gd name="connsiteX36" fmla="*/ 234701 w 526593"/>
                <a:gd name="connsiteY36" fmla="*/ 296328 h 403224"/>
                <a:gd name="connsiteX37" fmla="*/ 231412 w 526593"/>
                <a:gd name="connsiteY37" fmla="*/ 322641 h 403224"/>
                <a:gd name="connsiteX38" fmla="*/ 225657 w 526593"/>
                <a:gd name="connsiteY38" fmla="*/ 395001 h 403224"/>
                <a:gd name="connsiteX39" fmla="*/ 24210 w 526593"/>
                <a:gd name="connsiteY39" fmla="*/ 384312 h 403224"/>
                <a:gd name="connsiteX40" fmla="*/ 5299 w 526593"/>
                <a:gd name="connsiteY40" fmla="*/ 392535 h 403224"/>
                <a:gd name="connsiteX41" fmla="*/ 365 w 526593"/>
                <a:gd name="connsiteY41" fmla="*/ 403224 h 403224"/>
                <a:gd name="connsiteX42" fmla="*/ 365 w 526593"/>
                <a:gd name="connsiteY42" fmla="*/ 395824 h 403224"/>
                <a:gd name="connsiteX43" fmla="*/ 6943 w 526593"/>
                <a:gd name="connsiteY43" fmla="*/ 373622 h 403224"/>
                <a:gd name="connsiteX44" fmla="*/ 63677 w 526593"/>
                <a:gd name="connsiteY44" fmla="*/ 374444 h 403224"/>
                <a:gd name="connsiteX45" fmla="*/ 118767 w 526593"/>
                <a:gd name="connsiteY45" fmla="*/ 381023 h 403224"/>
                <a:gd name="connsiteX46" fmla="*/ 139322 w 526593"/>
                <a:gd name="connsiteY46" fmla="*/ 381023 h 403224"/>
                <a:gd name="connsiteX47" fmla="*/ 139335 w 526593"/>
                <a:gd name="connsiteY47" fmla="*/ 381000 h 403224"/>
                <a:gd name="connsiteX48" fmla="*/ 119082 w 526593"/>
                <a:gd name="connsiteY48" fmla="*/ 381000 h 403224"/>
                <a:gd name="connsiteX49" fmla="*/ 64102 w 526593"/>
                <a:gd name="connsiteY49" fmla="*/ 374417 h 403224"/>
                <a:gd name="connsiteX50" fmla="*/ 7481 w 526593"/>
                <a:gd name="connsiteY50" fmla="*/ 374417 h 403224"/>
                <a:gd name="connsiteX51" fmla="*/ 12405 w 526593"/>
                <a:gd name="connsiteY51" fmla="*/ 353845 h 403224"/>
                <a:gd name="connsiteX52" fmla="*/ 27996 w 526593"/>
                <a:gd name="connsiteY52" fmla="*/ 326689 h 403224"/>
                <a:gd name="connsiteX53" fmla="*/ 41125 w 526593"/>
                <a:gd name="connsiteY53" fmla="*/ 320106 h 403224"/>
                <a:gd name="connsiteX54" fmla="*/ 53434 w 526593"/>
                <a:gd name="connsiteY54" fmla="*/ 302002 h 403224"/>
                <a:gd name="connsiteX55" fmla="*/ 68205 w 526593"/>
                <a:gd name="connsiteY55" fmla="*/ 281430 h 403224"/>
                <a:gd name="connsiteX56" fmla="*/ 69025 w 526593"/>
                <a:gd name="connsiteY56" fmla="*/ 269909 h 403224"/>
                <a:gd name="connsiteX57" fmla="*/ 97746 w 526593"/>
                <a:gd name="connsiteY57" fmla="*/ 234525 h 403224"/>
                <a:gd name="connsiteX58" fmla="*/ 106773 w 526593"/>
                <a:gd name="connsiteY58" fmla="*/ 217244 h 403224"/>
                <a:gd name="connsiteX59" fmla="*/ 144520 w 526593"/>
                <a:gd name="connsiteY59" fmla="*/ 182683 h 403224"/>
                <a:gd name="connsiteX60" fmla="*/ 160932 w 526593"/>
                <a:gd name="connsiteY60" fmla="*/ 161287 h 403224"/>
                <a:gd name="connsiteX61" fmla="*/ 167497 w 526593"/>
                <a:gd name="connsiteY61" fmla="*/ 147298 h 403224"/>
                <a:gd name="connsiteX62" fmla="*/ 177344 w 526593"/>
                <a:gd name="connsiteY62" fmla="*/ 126726 h 403224"/>
                <a:gd name="connsiteX63" fmla="*/ 192935 w 526593"/>
                <a:gd name="connsiteY63" fmla="*/ 94633 h 403224"/>
                <a:gd name="connsiteX64" fmla="*/ 210167 w 526593"/>
                <a:gd name="connsiteY64" fmla="*/ 76529 h 403224"/>
                <a:gd name="connsiteX65" fmla="*/ 225759 w 526593"/>
                <a:gd name="connsiteY65" fmla="*/ 68300 h 403224"/>
                <a:gd name="connsiteX66" fmla="*/ 250376 w 526593"/>
                <a:gd name="connsiteY66" fmla="*/ 54311 h 403224"/>
                <a:gd name="connsiteX67" fmla="*/ 257762 w 526593"/>
                <a:gd name="connsiteY67" fmla="*/ 45259 h 403224"/>
                <a:gd name="connsiteX68" fmla="*/ 273353 w 526593"/>
                <a:gd name="connsiteY68" fmla="*/ 18927 h 403224"/>
                <a:gd name="connsiteX69" fmla="*/ 288124 w 526593"/>
                <a:gd name="connsiteY69" fmla="*/ 823 h 403224"/>
                <a:gd name="connsiteX70" fmla="*/ 288124 w 526593"/>
                <a:gd name="connsiteY70" fmla="*/ 0 h 403224"/>
                <a:gd name="connsiteX0" fmla="*/ 428445 w 526593"/>
                <a:gd name="connsiteY0" fmla="*/ 65832 h 403224"/>
                <a:gd name="connsiteX1" fmla="*/ 370183 w 526593"/>
                <a:gd name="connsiteY1" fmla="*/ 58426 h 403224"/>
                <a:gd name="connsiteX2" fmla="*/ 373055 w 526593"/>
                <a:gd name="connsiteY2" fmla="*/ 67786 h 403224"/>
                <a:gd name="connsiteX3" fmla="*/ 373465 w 526593"/>
                <a:gd name="connsiteY3" fmla="*/ 69123 h 403224"/>
                <a:gd name="connsiteX4" fmla="*/ 370780 w 526593"/>
                <a:gd name="connsiteY4" fmla="*/ 60026 h 403224"/>
                <a:gd name="connsiteX5" fmla="*/ 403258 w 526593"/>
                <a:gd name="connsiteY5" fmla="*/ 50467 h 403224"/>
                <a:gd name="connsiteX6" fmla="*/ 428748 w 526593"/>
                <a:gd name="connsiteY6" fmla="*/ 66091 h 403224"/>
                <a:gd name="connsiteX7" fmla="*/ 442417 w 526593"/>
                <a:gd name="connsiteY7" fmla="*/ 61054 h 403224"/>
                <a:gd name="connsiteX8" fmla="*/ 444340 w 526593"/>
                <a:gd name="connsiteY8" fmla="*/ 60346 h 403224"/>
                <a:gd name="connsiteX9" fmla="*/ 430394 w 526593"/>
                <a:gd name="connsiteY9" fmla="*/ 65112 h 403224"/>
                <a:gd name="connsiteX10" fmla="*/ 428445 w 526593"/>
                <a:gd name="connsiteY10" fmla="*/ 65832 h 403224"/>
                <a:gd name="connsiteX11" fmla="*/ 288124 w 526593"/>
                <a:gd name="connsiteY11" fmla="*/ 0 h 403224"/>
                <a:gd name="connsiteX12" fmla="*/ 514607 w 526593"/>
                <a:gd name="connsiteY12" fmla="*/ 13989 h 403224"/>
                <a:gd name="connsiteX13" fmla="*/ 516761 w 526593"/>
                <a:gd name="connsiteY13" fmla="*/ 29110 h 403224"/>
                <a:gd name="connsiteX14" fmla="*/ 517069 w 526593"/>
                <a:gd name="connsiteY14" fmla="*/ 31270 h 403224"/>
                <a:gd name="connsiteX15" fmla="*/ 514197 w 526593"/>
                <a:gd name="connsiteY15" fmla="*/ 43511 h 403224"/>
                <a:gd name="connsiteX16" fmla="*/ 513787 w 526593"/>
                <a:gd name="connsiteY16" fmla="*/ 45259 h 403224"/>
                <a:gd name="connsiteX17" fmla="*/ 513787 w 526593"/>
                <a:gd name="connsiteY17" fmla="*/ 51019 h 403224"/>
                <a:gd name="connsiteX18" fmla="*/ 513787 w 526593"/>
                <a:gd name="connsiteY18" fmla="*/ 51842 h 403224"/>
                <a:gd name="connsiteX19" fmla="*/ 479322 w 526593"/>
                <a:gd name="connsiteY19" fmla="*/ 55134 h 403224"/>
                <a:gd name="connsiteX20" fmla="*/ 452285 w 526593"/>
                <a:gd name="connsiteY20" fmla="*/ 67458 h 403224"/>
                <a:gd name="connsiteX21" fmla="*/ 479726 w 526593"/>
                <a:gd name="connsiteY21" fmla="*/ 55401 h 403224"/>
                <a:gd name="connsiteX22" fmla="*/ 510971 w 526593"/>
                <a:gd name="connsiteY22" fmla="*/ 55401 h 403224"/>
                <a:gd name="connsiteX23" fmla="*/ 514260 w 526593"/>
                <a:gd name="connsiteY23" fmla="*/ 46356 h 403224"/>
                <a:gd name="connsiteX24" fmla="*/ 514260 w 526593"/>
                <a:gd name="connsiteY24" fmla="*/ 45534 h 403224"/>
                <a:gd name="connsiteX25" fmla="*/ 517137 w 526593"/>
                <a:gd name="connsiteY25" fmla="*/ 33302 h 403224"/>
                <a:gd name="connsiteX26" fmla="*/ 517549 w 526593"/>
                <a:gd name="connsiteY26" fmla="*/ 31555 h 403224"/>
                <a:gd name="connsiteX27" fmla="*/ 515390 w 526593"/>
                <a:gd name="connsiteY27" fmla="*/ 16446 h 403224"/>
                <a:gd name="connsiteX28" fmla="*/ 515082 w 526593"/>
                <a:gd name="connsiteY28" fmla="*/ 14287 h 403224"/>
                <a:gd name="connsiteX29" fmla="*/ 526593 w 526593"/>
                <a:gd name="connsiteY29" fmla="*/ 15109 h 403224"/>
                <a:gd name="connsiteX30" fmla="*/ 523304 w 526593"/>
                <a:gd name="connsiteY30" fmla="*/ 38133 h 403224"/>
                <a:gd name="connsiteX31" fmla="*/ 510971 w 526593"/>
                <a:gd name="connsiteY31" fmla="*/ 117894 h 403224"/>
                <a:gd name="connsiteX32" fmla="*/ 325969 w 526593"/>
                <a:gd name="connsiteY32" fmla="*/ 108027 h 403224"/>
                <a:gd name="connsiteX33" fmla="*/ 301302 w 526593"/>
                <a:gd name="connsiteY33" fmla="*/ 265904 h 403224"/>
                <a:gd name="connsiteX34" fmla="*/ 270879 w 526593"/>
                <a:gd name="connsiteY34" fmla="*/ 274127 h 403224"/>
                <a:gd name="connsiteX35" fmla="*/ 234701 w 526593"/>
                <a:gd name="connsiteY35" fmla="*/ 296328 h 403224"/>
                <a:gd name="connsiteX36" fmla="*/ 231412 w 526593"/>
                <a:gd name="connsiteY36" fmla="*/ 322641 h 403224"/>
                <a:gd name="connsiteX37" fmla="*/ 225657 w 526593"/>
                <a:gd name="connsiteY37" fmla="*/ 395001 h 403224"/>
                <a:gd name="connsiteX38" fmla="*/ 24210 w 526593"/>
                <a:gd name="connsiteY38" fmla="*/ 384312 h 403224"/>
                <a:gd name="connsiteX39" fmla="*/ 5299 w 526593"/>
                <a:gd name="connsiteY39" fmla="*/ 392535 h 403224"/>
                <a:gd name="connsiteX40" fmla="*/ 365 w 526593"/>
                <a:gd name="connsiteY40" fmla="*/ 403224 h 403224"/>
                <a:gd name="connsiteX41" fmla="*/ 365 w 526593"/>
                <a:gd name="connsiteY41" fmla="*/ 395824 h 403224"/>
                <a:gd name="connsiteX42" fmla="*/ 6943 w 526593"/>
                <a:gd name="connsiteY42" fmla="*/ 373622 h 403224"/>
                <a:gd name="connsiteX43" fmla="*/ 63677 w 526593"/>
                <a:gd name="connsiteY43" fmla="*/ 374444 h 403224"/>
                <a:gd name="connsiteX44" fmla="*/ 118767 w 526593"/>
                <a:gd name="connsiteY44" fmla="*/ 381023 h 403224"/>
                <a:gd name="connsiteX45" fmla="*/ 139322 w 526593"/>
                <a:gd name="connsiteY45" fmla="*/ 381023 h 403224"/>
                <a:gd name="connsiteX46" fmla="*/ 139335 w 526593"/>
                <a:gd name="connsiteY46" fmla="*/ 381000 h 403224"/>
                <a:gd name="connsiteX47" fmla="*/ 119082 w 526593"/>
                <a:gd name="connsiteY47" fmla="*/ 381000 h 403224"/>
                <a:gd name="connsiteX48" fmla="*/ 64102 w 526593"/>
                <a:gd name="connsiteY48" fmla="*/ 374417 h 403224"/>
                <a:gd name="connsiteX49" fmla="*/ 7481 w 526593"/>
                <a:gd name="connsiteY49" fmla="*/ 374417 h 403224"/>
                <a:gd name="connsiteX50" fmla="*/ 12405 w 526593"/>
                <a:gd name="connsiteY50" fmla="*/ 353845 h 403224"/>
                <a:gd name="connsiteX51" fmla="*/ 27996 w 526593"/>
                <a:gd name="connsiteY51" fmla="*/ 326689 h 403224"/>
                <a:gd name="connsiteX52" fmla="*/ 41125 w 526593"/>
                <a:gd name="connsiteY52" fmla="*/ 320106 h 403224"/>
                <a:gd name="connsiteX53" fmla="*/ 53434 w 526593"/>
                <a:gd name="connsiteY53" fmla="*/ 302002 h 403224"/>
                <a:gd name="connsiteX54" fmla="*/ 68205 w 526593"/>
                <a:gd name="connsiteY54" fmla="*/ 281430 h 403224"/>
                <a:gd name="connsiteX55" fmla="*/ 69025 w 526593"/>
                <a:gd name="connsiteY55" fmla="*/ 269909 h 403224"/>
                <a:gd name="connsiteX56" fmla="*/ 97746 w 526593"/>
                <a:gd name="connsiteY56" fmla="*/ 234525 h 403224"/>
                <a:gd name="connsiteX57" fmla="*/ 106773 w 526593"/>
                <a:gd name="connsiteY57" fmla="*/ 217244 h 403224"/>
                <a:gd name="connsiteX58" fmla="*/ 144520 w 526593"/>
                <a:gd name="connsiteY58" fmla="*/ 182683 h 403224"/>
                <a:gd name="connsiteX59" fmla="*/ 160932 w 526593"/>
                <a:gd name="connsiteY59" fmla="*/ 161287 h 403224"/>
                <a:gd name="connsiteX60" fmla="*/ 167497 w 526593"/>
                <a:gd name="connsiteY60" fmla="*/ 147298 h 403224"/>
                <a:gd name="connsiteX61" fmla="*/ 177344 w 526593"/>
                <a:gd name="connsiteY61" fmla="*/ 126726 h 403224"/>
                <a:gd name="connsiteX62" fmla="*/ 192935 w 526593"/>
                <a:gd name="connsiteY62" fmla="*/ 94633 h 403224"/>
                <a:gd name="connsiteX63" fmla="*/ 210167 w 526593"/>
                <a:gd name="connsiteY63" fmla="*/ 76529 h 403224"/>
                <a:gd name="connsiteX64" fmla="*/ 225759 w 526593"/>
                <a:gd name="connsiteY64" fmla="*/ 68300 h 403224"/>
                <a:gd name="connsiteX65" fmla="*/ 250376 w 526593"/>
                <a:gd name="connsiteY65" fmla="*/ 54311 h 403224"/>
                <a:gd name="connsiteX66" fmla="*/ 257762 w 526593"/>
                <a:gd name="connsiteY66" fmla="*/ 45259 h 403224"/>
                <a:gd name="connsiteX67" fmla="*/ 273353 w 526593"/>
                <a:gd name="connsiteY67" fmla="*/ 18927 h 403224"/>
                <a:gd name="connsiteX68" fmla="*/ 288124 w 526593"/>
                <a:gd name="connsiteY68" fmla="*/ 823 h 403224"/>
                <a:gd name="connsiteX69" fmla="*/ 288124 w 526593"/>
                <a:gd name="connsiteY69" fmla="*/ 0 h 403224"/>
                <a:gd name="connsiteX0" fmla="*/ 428445 w 526593"/>
                <a:gd name="connsiteY0" fmla="*/ 65832 h 403224"/>
                <a:gd name="connsiteX1" fmla="*/ 370183 w 526593"/>
                <a:gd name="connsiteY1" fmla="*/ 58426 h 403224"/>
                <a:gd name="connsiteX2" fmla="*/ 373055 w 526593"/>
                <a:gd name="connsiteY2" fmla="*/ 67786 h 403224"/>
                <a:gd name="connsiteX3" fmla="*/ 373465 w 526593"/>
                <a:gd name="connsiteY3" fmla="*/ 69123 h 403224"/>
                <a:gd name="connsiteX4" fmla="*/ 403258 w 526593"/>
                <a:gd name="connsiteY4" fmla="*/ 50467 h 403224"/>
                <a:gd name="connsiteX5" fmla="*/ 428748 w 526593"/>
                <a:gd name="connsiteY5" fmla="*/ 66091 h 403224"/>
                <a:gd name="connsiteX6" fmla="*/ 442417 w 526593"/>
                <a:gd name="connsiteY6" fmla="*/ 61054 h 403224"/>
                <a:gd name="connsiteX7" fmla="*/ 444340 w 526593"/>
                <a:gd name="connsiteY7" fmla="*/ 60346 h 403224"/>
                <a:gd name="connsiteX8" fmla="*/ 430394 w 526593"/>
                <a:gd name="connsiteY8" fmla="*/ 65112 h 403224"/>
                <a:gd name="connsiteX9" fmla="*/ 428445 w 526593"/>
                <a:gd name="connsiteY9" fmla="*/ 65832 h 403224"/>
                <a:gd name="connsiteX10" fmla="*/ 288124 w 526593"/>
                <a:gd name="connsiteY10" fmla="*/ 0 h 403224"/>
                <a:gd name="connsiteX11" fmla="*/ 514607 w 526593"/>
                <a:gd name="connsiteY11" fmla="*/ 13989 h 403224"/>
                <a:gd name="connsiteX12" fmla="*/ 516761 w 526593"/>
                <a:gd name="connsiteY12" fmla="*/ 29110 h 403224"/>
                <a:gd name="connsiteX13" fmla="*/ 517069 w 526593"/>
                <a:gd name="connsiteY13" fmla="*/ 31270 h 403224"/>
                <a:gd name="connsiteX14" fmla="*/ 514197 w 526593"/>
                <a:gd name="connsiteY14" fmla="*/ 43511 h 403224"/>
                <a:gd name="connsiteX15" fmla="*/ 513787 w 526593"/>
                <a:gd name="connsiteY15" fmla="*/ 45259 h 403224"/>
                <a:gd name="connsiteX16" fmla="*/ 513787 w 526593"/>
                <a:gd name="connsiteY16" fmla="*/ 51019 h 403224"/>
                <a:gd name="connsiteX17" fmla="*/ 513787 w 526593"/>
                <a:gd name="connsiteY17" fmla="*/ 51842 h 403224"/>
                <a:gd name="connsiteX18" fmla="*/ 479322 w 526593"/>
                <a:gd name="connsiteY18" fmla="*/ 55134 h 403224"/>
                <a:gd name="connsiteX19" fmla="*/ 452285 w 526593"/>
                <a:gd name="connsiteY19" fmla="*/ 67458 h 403224"/>
                <a:gd name="connsiteX20" fmla="*/ 479726 w 526593"/>
                <a:gd name="connsiteY20" fmla="*/ 55401 h 403224"/>
                <a:gd name="connsiteX21" fmla="*/ 510971 w 526593"/>
                <a:gd name="connsiteY21" fmla="*/ 55401 h 403224"/>
                <a:gd name="connsiteX22" fmla="*/ 514260 w 526593"/>
                <a:gd name="connsiteY22" fmla="*/ 46356 h 403224"/>
                <a:gd name="connsiteX23" fmla="*/ 514260 w 526593"/>
                <a:gd name="connsiteY23" fmla="*/ 45534 h 403224"/>
                <a:gd name="connsiteX24" fmla="*/ 517137 w 526593"/>
                <a:gd name="connsiteY24" fmla="*/ 33302 h 403224"/>
                <a:gd name="connsiteX25" fmla="*/ 517549 w 526593"/>
                <a:gd name="connsiteY25" fmla="*/ 31555 h 403224"/>
                <a:gd name="connsiteX26" fmla="*/ 515390 w 526593"/>
                <a:gd name="connsiteY26" fmla="*/ 16446 h 403224"/>
                <a:gd name="connsiteX27" fmla="*/ 515082 w 526593"/>
                <a:gd name="connsiteY27" fmla="*/ 14287 h 403224"/>
                <a:gd name="connsiteX28" fmla="*/ 526593 w 526593"/>
                <a:gd name="connsiteY28" fmla="*/ 15109 h 403224"/>
                <a:gd name="connsiteX29" fmla="*/ 523304 w 526593"/>
                <a:gd name="connsiteY29" fmla="*/ 38133 h 403224"/>
                <a:gd name="connsiteX30" fmla="*/ 510971 w 526593"/>
                <a:gd name="connsiteY30" fmla="*/ 117894 h 403224"/>
                <a:gd name="connsiteX31" fmla="*/ 325969 w 526593"/>
                <a:gd name="connsiteY31" fmla="*/ 108027 h 403224"/>
                <a:gd name="connsiteX32" fmla="*/ 301302 w 526593"/>
                <a:gd name="connsiteY32" fmla="*/ 265904 h 403224"/>
                <a:gd name="connsiteX33" fmla="*/ 270879 w 526593"/>
                <a:gd name="connsiteY33" fmla="*/ 274127 h 403224"/>
                <a:gd name="connsiteX34" fmla="*/ 234701 w 526593"/>
                <a:gd name="connsiteY34" fmla="*/ 296328 h 403224"/>
                <a:gd name="connsiteX35" fmla="*/ 231412 w 526593"/>
                <a:gd name="connsiteY35" fmla="*/ 322641 h 403224"/>
                <a:gd name="connsiteX36" fmla="*/ 225657 w 526593"/>
                <a:gd name="connsiteY36" fmla="*/ 395001 h 403224"/>
                <a:gd name="connsiteX37" fmla="*/ 24210 w 526593"/>
                <a:gd name="connsiteY37" fmla="*/ 384312 h 403224"/>
                <a:gd name="connsiteX38" fmla="*/ 5299 w 526593"/>
                <a:gd name="connsiteY38" fmla="*/ 392535 h 403224"/>
                <a:gd name="connsiteX39" fmla="*/ 365 w 526593"/>
                <a:gd name="connsiteY39" fmla="*/ 403224 h 403224"/>
                <a:gd name="connsiteX40" fmla="*/ 365 w 526593"/>
                <a:gd name="connsiteY40" fmla="*/ 395824 h 403224"/>
                <a:gd name="connsiteX41" fmla="*/ 6943 w 526593"/>
                <a:gd name="connsiteY41" fmla="*/ 373622 h 403224"/>
                <a:gd name="connsiteX42" fmla="*/ 63677 w 526593"/>
                <a:gd name="connsiteY42" fmla="*/ 374444 h 403224"/>
                <a:gd name="connsiteX43" fmla="*/ 118767 w 526593"/>
                <a:gd name="connsiteY43" fmla="*/ 381023 h 403224"/>
                <a:gd name="connsiteX44" fmla="*/ 139322 w 526593"/>
                <a:gd name="connsiteY44" fmla="*/ 381023 h 403224"/>
                <a:gd name="connsiteX45" fmla="*/ 139335 w 526593"/>
                <a:gd name="connsiteY45" fmla="*/ 381000 h 403224"/>
                <a:gd name="connsiteX46" fmla="*/ 119082 w 526593"/>
                <a:gd name="connsiteY46" fmla="*/ 381000 h 403224"/>
                <a:gd name="connsiteX47" fmla="*/ 64102 w 526593"/>
                <a:gd name="connsiteY47" fmla="*/ 374417 h 403224"/>
                <a:gd name="connsiteX48" fmla="*/ 7481 w 526593"/>
                <a:gd name="connsiteY48" fmla="*/ 374417 h 403224"/>
                <a:gd name="connsiteX49" fmla="*/ 12405 w 526593"/>
                <a:gd name="connsiteY49" fmla="*/ 353845 h 403224"/>
                <a:gd name="connsiteX50" fmla="*/ 27996 w 526593"/>
                <a:gd name="connsiteY50" fmla="*/ 326689 h 403224"/>
                <a:gd name="connsiteX51" fmla="*/ 41125 w 526593"/>
                <a:gd name="connsiteY51" fmla="*/ 320106 h 403224"/>
                <a:gd name="connsiteX52" fmla="*/ 53434 w 526593"/>
                <a:gd name="connsiteY52" fmla="*/ 302002 h 403224"/>
                <a:gd name="connsiteX53" fmla="*/ 68205 w 526593"/>
                <a:gd name="connsiteY53" fmla="*/ 281430 h 403224"/>
                <a:gd name="connsiteX54" fmla="*/ 69025 w 526593"/>
                <a:gd name="connsiteY54" fmla="*/ 269909 h 403224"/>
                <a:gd name="connsiteX55" fmla="*/ 97746 w 526593"/>
                <a:gd name="connsiteY55" fmla="*/ 234525 h 403224"/>
                <a:gd name="connsiteX56" fmla="*/ 106773 w 526593"/>
                <a:gd name="connsiteY56" fmla="*/ 217244 h 403224"/>
                <a:gd name="connsiteX57" fmla="*/ 144520 w 526593"/>
                <a:gd name="connsiteY57" fmla="*/ 182683 h 403224"/>
                <a:gd name="connsiteX58" fmla="*/ 160932 w 526593"/>
                <a:gd name="connsiteY58" fmla="*/ 161287 h 403224"/>
                <a:gd name="connsiteX59" fmla="*/ 167497 w 526593"/>
                <a:gd name="connsiteY59" fmla="*/ 147298 h 403224"/>
                <a:gd name="connsiteX60" fmla="*/ 177344 w 526593"/>
                <a:gd name="connsiteY60" fmla="*/ 126726 h 403224"/>
                <a:gd name="connsiteX61" fmla="*/ 192935 w 526593"/>
                <a:gd name="connsiteY61" fmla="*/ 94633 h 403224"/>
                <a:gd name="connsiteX62" fmla="*/ 210167 w 526593"/>
                <a:gd name="connsiteY62" fmla="*/ 76529 h 403224"/>
                <a:gd name="connsiteX63" fmla="*/ 225759 w 526593"/>
                <a:gd name="connsiteY63" fmla="*/ 68300 h 403224"/>
                <a:gd name="connsiteX64" fmla="*/ 250376 w 526593"/>
                <a:gd name="connsiteY64" fmla="*/ 54311 h 403224"/>
                <a:gd name="connsiteX65" fmla="*/ 257762 w 526593"/>
                <a:gd name="connsiteY65" fmla="*/ 45259 h 403224"/>
                <a:gd name="connsiteX66" fmla="*/ 273353 w 526593"/>
                <a:gd name="connsiteY66" fmla="*/ 18927 h 403224"/>
                <a:gd name="connsiteX67" fmla="*/ 288124 w 526593"/>
                <a:gd name="connsiteY67" fmla="*/ 823 h 403224"/>
                <a:gd name="connsiteX68" fmla="*/ 288124 w 526593"/>
                <a:gd name="connsiteY68" fmla="*/ 0 h 403224"/>
                <a:gd name="connsiteX0" fmla="*/ 428445 w 526593"/>
                <a:gd name="connsiteY0" fmla="*/ 65832 h 403224"/>
                <a:gd name="connsiteX1" fmla="*/ 370183 w 526593"/>
                <a:gd name="connsiteY1" fmla="*/ 58426 h 403224"/>
                <a:gd name="connsiteX2" fmla="*/ 373055 w 526593"/>
                <a:gd name="connsiteY2" fmla="*/ 67786 h 403224"/>
                <a:gd name="connsiteX3" fmla="*/ 403258 w 526593"/>
                <a:gd name="connsiteY3" fmla="*/ 50467 h 403224"/>
                <a:gd name="connsiteX4" fmla="*/ 428748 w 526593"/>
                <a:gd name="connsiteY4" fmla="*/ 66091 h 403224"/>
                <a:gd name="connsiteX5" fmla="*/ 442417 w 526593"/>
                <a:gd name="connsiteY5" fmla="*/ 61054 h 403224"/>
                <a:gd name="connsiteX6" fmla="*/ 444340 w 526593"/>
                <a:gd name="connsiteY6" fmla="*/ 60346 h 403224"/>
                <a:gd name="connsiteX7" fmla="*/ 430394 w 526593"/>
                <a:gd name="connsiteY7" fmla="*/ 65112 h 403224"/>
                <a:gd name="connsiteX8" fmla="*/ 428445 w 526593"/>
                <a:gd name="connsiteY8" fmla="*/ 65832 h 403224"/>
                <a:gd name="connsiteX9" fmla="*/ 288124 w 526593"/>
                <a:gd name="connsiteY9" fmla="*/ 0 h 403224"/>
                <a:gd name="connsiteX10" fmla="*/ 514607 w 526593"/>
                <a:gd name="connsiteY10" fmla="*/ 13989 h 403224"/>
                <a:gd name="connsiteX11" fmla="*/ 516761 w 526593"/>
                <a:gd name="connsiteY11" fmla="*/ 29110 h 403224"/>
                <a:gd name="connsiteX12" fmla="*/ 517069 w 526593"/>
                <a:gd name="connsiteY12" fmla="*/ 31270 h 403224"/>
                <a:gd name="connsiteX13" fmla="*/ 514197 w 526593"/>
                <a:gd name="connsiteY13" fmla="*/ 43511 h 403224"/>
                <a:gd name="connsiteX14" fmla="*/ 513787 w 526593"/>
                <a:gd name="connsiteY14" fmla="*/ 45259 h 403224"/>
                <a:gd name="connsiteX15" fmla="*/ 513787 w 526593"/>
                <a:gd name="connsiteY15" fmla="*/ 51019 h 403224"/>
                <a:gd name="connsiteX16" fmla="*/ 513787 w 526593"/>
                <a:gd name="connsiteY16" fmla="*/ 51842 h 403224"/>
                <a:gd name="connsiteX17" fmla="*/ 479322 w 526593"/>
                <a:gd name="connsiteY17" fmla="*/ 55134 h 403224"/>
                <a:gd name="connsiteX18" fmla="*/ 452285 w 526593"/>
                <a:gd name="connsiteY18" fmla="*/ 67458 h 403224"/>
                <a:gd name="connsiteX19" fmla="*/ 479726 w 526593"/>
                <a:gd name="connsiteY19" fmla="*/ 55401 h 403224"/>
                <a:gd name="connsiteX20" fmla="*/ 510971 w 526593"/>
                <a:gd name="connsiteY20" fmla="*/ 55401 h 403224"/>
                <a:gd name="connsiteX21" fmla="*/ 514260 w 526593"/>
                <a:gd name="connsiteY21" fmla="*/ 46356 h 403224"/>
                <a:gd name="connsiteX22" fmla="*/ 514260 w 526593"/>
                <a:gd name="connsiteY22" fmla="*/ 45534 h 403224"/>
                <a:gd name="connsiteX23" fmla="*/ 517137 w 526593"/>
                <a:gd name="connsiteY23" fmla="*/ 33302 h 403224"/>
                <a:gd name="connsiteX24" fmla="*/ 517549 w 526593"/>
                <a:gd name="connsiteY24" fmla="*/ 31555 h 403224"/>
                <a:gd name="connsiteX25" fmla="*/ 515390 w 526593"/>
                <a:gd name="connsiteY25" fmla="*/ 16446 h 403224"/>
                <a:gd name="connsiteX26" fmla="*/ 515082 w 526593"/>
                <a:gd name="connsiteY26" fmla="*/ 14287 h 403224"/>
                <a:gd name="connsiteX27" fmla="*/ 526593 w 526593"/>
                <a:gd name="connsiteY27" fmla="*/ 15109 h 403224"/>
                <a:gd name="connsiteX28" fmla="*/ 523304 w 526593"/>
                <a:gd name="connsiteY28" fmla="*/ 38133 h 403224"/>
                <a:gd name="connsiteX29" fmla="*/ 510971 w 526593"/>
                <a:gd name="connsiteY29" fmla="*/ 117894 h 403224"/>
                <a:gd name="connsiteX30" fmla="*/ 325969 w 526593"/>
                <a:gd name="connsiteY30" fmla="*/ 108027 h 403224"/>
                <a:gd name="connsiteX31" fmla="*/ 301302 w 526593"/>
                <a:gd name="connsiteY31" fmla="*/ 265904 h 403224"/>
                <a:gd name="connsiteX32" fmla="*/ 270879 w 526593"/>
                <a:gd name="connsiteY32" fmla="*/ 274127 h 403224"/>
                <a:gd name="connsiteX33" fmla="*/ 234701 w 526593"/>
                <a:gd name="connsiteY33" fmla="*/ 296328 h 403224"/>
                <a:gd name="connsiteX34" fmla="*/ 231412 w 526593"/>
                <a:gd name="connsiteY34" fmla="*/ 322641 h 403224"/>
                <a:gd name="connsiteX35" fmla="*/ 225657 w 526593"/>
                <a:gd name="connsiteY35" fmla="*/ 395001 h 403224"/>
                <a:gd name="connsiteX36" fmla="*/ 24210 w 526593"/>
                <a:gd name="connsiteY36" fmla="*/ 384312 h 403224"/>
                <a:gd name="connsiteX37" fmla="*/ 5299 w 526593"/>
                <a:gd name="connsiteY37" fmla="*/ 392535 h 403224"/>
                <a:gd name="connsiteX38" fmla="*/ 365 w 526593"/>
                <a:gd name="connsiteY38" fmla="*/ 403224 h 403224"/>
                <a:gd name="connsiteX39" fmla="*/ 365 w 526593"/>
                <a:gd name="connsiteY39" fmla="*/ 395824 h 403224"/>
                <a:gd name="connsiteX40" fmla="*/ 6943 w 526593"/>
                <a:gd name="connsiteY40" fmla="*/ 373622 h 403224"/>
                <a:gd name="connsiteX41" fmla="*/ 63677 w 526593"/>
                <a:gd name="connsiteY41" fmla="*/ 374444 h 403224"/>
                <a:gd name="connsiteX42" fmla="*/ 118767 w 526593"/>
                <a:gd name="connsiteY42" fmla="*/ 381023 h 403224"/>
                <a:gd name="connsiteX43" fmla="*/ 139322 w 526593"/>
                <a:gd name="connsiteY43" fmla="*/ 381023 h 403224"/>
                <a:gd name="connsiteX44" fmla="*/ 139335 w 526593"/>
                <a:gd name="connsiteY44" fmla="*/ 381000 h 403224"/>
                <a:gd name="connsiteX45" fmla="*/ 119082 w 526593"/>
                <a:gd name="connsiteY45" fmla="*/ 381000 h 403224"/>
                <a:gd name="connsiteX46" fmla="*/ 64102 w 526593"/>
                <a:gd name="connsiteY46" fmla="*/ 374417 h 403224"/>
                <a:gd name="connsiteX47" fmla="*/ 7481 w 526593"/>
                <a:gd name="connsiteY47" fmla="*/ 374417 h 403224"/>
                <a:gd name="connsiteX48" fmla="*/ 12405 w 526593"/>
                <a:gd name="connsiteY48" fmla="*/ 353845 h 403224"/>
                <a:gd name="connsiteX49" fmla="*/ 27996 w 526593"/>
                <a:gd name="connsiteY49" fmla="*/ 326689 h 403224"/>
                <a:gd name="connsiteX50" fmla="*/ 41125 w 526593"/>
                <a:gd name="connsiteY50" fmla="*/ 320106 h 403224"/>
                <a:gd name="connsiteX51" fmla="*/ 53434 w 526593"/>
                <a:gd name="connsiteY51" fmla="*/ 302002 h 403224"/>
                <a:gd name="connsiteX52" fmla="*/ 68205 w 526593"/>
                <a:gd name="connsiteY52" fmla="*/ 281430 h 403224"/>
                <a:gd name="connsiteX53" fmla="*/ 69025 w 526593"/>
                <a:gd name="connsiteY53" fmla="*/ 269909 h 403224"/>
                <a:gd name="connsiteX54" fmla="*/ 97746 w 526593"/>
                <a:gd name="connsiteY54" fmla="*/ 234525 h 403224"/>
                <a:gd name="connsiteX55" fmla="*/ 106773 w 526593"/>
                <a:gd name="connsiteY55" fmla="*/ 217244 h 403224"/>
                <a:gd name="connsiteX56" fmla="*/ 144520 w 526593"/>
                <a:gd name="connsiteY56" fmla="*/ 182683 h 403224"/>
                <a:gd name="connsiteX57" fmla="*/ 160932 w 526593"/>
                <a:gd name="connsiteY57" fmla="*/ 161287 h 403224"/>
                <a:gd name="connsiteX58" fmla="*/ 167497 w 526593"/>
                <a:gd name="connsiteY58" fmla="*/ 147298 h 403224"/>
                <a:gd name="connsiteX59" fmla="*/ 177344 w 526593"/>
                <a:gd name="connsiteY59" fmla="*/ 126726 h 403224"/>
                <a:gd name="connsiteX60" fmla="*/ 192935 w 526593"/>
                <a:gd name="connsiteY60" fmla="*/ 94633 h 403224"/>
                <a:gd name="connsiteX61" fmla="*/ 210167 w 526593"/>
                <a:gd name="connsiteY61" fmla="*/ 76529 h 403224"/>
                <a:gd name="connsiteX62" fmla="*/ 225759 w 526593"/>
                <a:gd name="connsiteY62" fmla="*/ 68300 h 403224"/>
                <a:gd name="connsiteX63" fmla="*/ 250376 w 526593"/>
                <a:gd name="connsiteY63" fmla="*/ 54311 h 403224"/>
                <a:gd name="connsiteX64" fmla="*/ 257762 w 526593"/>
                <a:gd name="connsiteY64" fmla="*/ 45259 h 403224"/>
                <a:gd name="connsiteX65" fmla="*/ 273353 w 526593"/>
                <a:gd name="connsiteY65" fmla="*/ 18927 h 403224"/>
                <a:gd name="connsiteX66" fmla="*/ 288124 w 526593"/>
                <a:gd name="connsiteY66" fmla="*/ 823 h 403224"/>
                <a:gd name="connsiteX67" fmla="*/ 288124 w 526593"/>
                <a:gd name="connsiteY67" fmla="*/ 0 h 403224"/>
                <a:gd name="connsiteX0" fmla="*/ 428445 w 526593"/>
                <a:gd name="connsiteY0" fmla="*/ 65832 h 403224"/>
                <a:gd name="connsiteX1" fmla="*/ 370183 w 526593"/>
                <a:gd name="connsiteY1" fmla="*/ 58426 h 403224"/>
                <a:gd name="connsiteX2" fmla="*/ 403258 w 526593"/>
                <a:gd name="connsiteY2" fmla="*/ 50467 h 403224"/>
                <a:gd name="connsiteX3" fmla="*/ 428748 w 526593"/>
                <a:gd name="connsiteY3" fmla="*/ 66091 h 403224"/>
                <a:gd name="connsiteX4" fmla="*/ 442417 w 526593"/>
                <a:gd name="connsiteY4" fmla="*/ 61054 h 403224"/>
                <a:gd name="connsiteX5" fmla="*/ 444340 w 526593"/>
                <a:gd name="connsiteY5" fmla="*/ 60346 h 403224"/>
                <a:gd name="connsiteX6" fmla="*/ 430394 w 526593"/>
                <a:gd name="connsiteY6" fmla="*/ 65112 h 403224"/>
                <a:gd name="connsiteX7" fmla="*/ 428445 w 526593"/>
                <a:gd name="connsiteY7" fmla="*/ 65832 h 403224"/>
                <a:gd name="connsiteX8" fmla="*/ 288124 w 526593"/>
                <a:gd name="connsiteY8" fmla="*/ 0 h 403224"/>
                <a:gd name="connsiteX9" fmla="*/ 514607 w 526593"/>
                <a:gd name="connsiteY9" fmla="*/ 13989 h 403224"/>
                <a:gd name="connsiteX10" fmla="*/ 516761 w 526593"/>
                <a:gd name="connsiteY10" fmla="*/ 29110 h 403224"/>
                <a:gd name="connsiteX11" fmla="*/ 517069 w 526593"/>
                <a:gd name="connsiteY11" fmla="*/ 31270 h 403224"/>
                <a:gd name="connsiteX12" fmla="*/ 514197 w 526593"/>
                <a:gd name="connsiteY12" fmla="*/ 43511 h 403224"/>
                <a:gd name="connsiteX13" fmla="*/ 513787 w 526593"/>
                <a:gd name="connsiteY13" fmla="*/ 45259 h 403224"/>
                <a:gd name="connsiteX14" fmla="*/ 513787 w 526593"/>
                <a:gd name="connsiteY14" fmla="*/ 51019 h 403224"/>
                <a:gd name="connsiteX15" fmla="*/ 513787 w 526593"/>
                <a:gd name="connsiteY15" fmla="*/ 51842 h 403224"/>
                <a:gd name="connsiteX16" fmla="*/ 479322 w 526593"/>
                <a:gd name="connsiteY16" fmla="*/ 55134 h 403224"/>
                <a:gd name="connsiteX17" fmla="*/ 452285 w 526593"/>
                <a:gd name="connsiteY17" fmla="*/ 67458 h 403224"/>
                <a:gd name="connsiteX18" fmla="*/ 479726 w 526593"/>
                <a:gd name="connsiteY18" fmla="*/ 55401 h 403224"/>
                <a:gd name="connsiteX19" fmla="*/ 510971 w 526593"/>
                <a:gd name="connsiteY19" fmla="*/ 55401 h 403224"/>
                <a:gd name="connsiteX20" fmla="*/ 514260 w 526593"/>
                <a:gd name="connsiteY20" fmla="*/ 46356 h 403224"/>
                <a:gd name="connsiteX21" fmla="*/ 514260 w 526593"/>
                <a:gd name="connsiteY21" fmla="*/ 45534 h 403224"/>
                <a:gd name="connsiteX22" fmla="*/ 517137 w 526593"/>
                <a:gd name="connsiteY22" fmla="*/ 33302 h 403224"/>
                <a:gd name="connsiteX23" fmla="*/ 517549 w 526593"/>
                <a:gd name="connsiteY23" fmla="*/ 31555 h 403224"/>
                <a:gd name="connsiteX24" fmla="*/ 515390 w 526593"/>
                <a:gd name="connsiteY24" fmla="*/ 16446 h 403224"/>
                <a:gd name="connsiteX25" fmla="*/ 515082 w 526593"/>
                <a:gd name="connsiteY25" fmla="*/ 14287 h 403224"/>
                <a:gd name="connsiteX26" fmla="*/ 526593 w 526593"/>
                <a:gd name="connsiteY26" fmla="*/ 15109 h 403224"/>
                <a:gd name="connsiteX27" fmla="*/ 523304 w 526593"/>
                <a:gd name="connsiteY27" fmla="*/ 38133 h 403224"/>
                <a:gd name="connsiteX28" fmla="*/ 510971 w 526593"/>
                <a:gd name="connsiteY28" fmla="*/ 117894 h 403224"/>
                <a:gd name="connsiteX29" fmla="*/ 325969 w 526593"/>
                <a:gd name="connsiteY29" fmla="*/ 108027 h 403224"/>
                <a:gd name="connsiteX30" fmla="*/ 301302 w 526593"/>
                <a:gd name="connsiteY30" fmla="*/ 265904 h 403224"/>
                <a:gd name="connsiteX31" fmla="*/ 270879 w 526593"/>
                <a:gd name="connsiteY31" fmla="*/ 274127 h 403224"/>
                <a:gd name="connsiteX32" fmla="*/ 234701 w 526593"/>
                <a:gd name="connsiteY32" fmla="*/ 296328 h 403224"/>
                <a:gd name="connsiteX33" fmla="*/ 231412 w 526593"/>
                <a:gd name="connsiteY33" fmla="*/ 322641 h 403224"/>
                <a:gd name="connsiteX34" fmla="*/ 225657 w 526593"/>
                <a:gd name="connsiteY34" fmla="*/ 395001 h 403224"/>
                <a:gd name="connsiteX35" fmla="*/ 24210 w 526593"/>
                <a:gd name="connsiteY35" fmla="*/ 384312 h 403224"/>
                <a:gd name="connsiteX36" fmla="*/ 5299 w 526593"/>
                <a:gd name="connsiteY36" fmla="*/ 392535 h 403224"/>
                <a:gd name="connsiteX37" fmla="*/ 365 w 526593"/>
                <a:gd name="connsiteY37" fmla="*/ 403224 h 403224"/>
                <a:gd name="connsiteX38" fmla="*/ 365 w 526593"/>
                <a:gd name="connsiteY38" fmla="*/ 395824 h 403224"/>
                <a:gd name="connsiteX39" fmla="*/ 6943 w 526593"/>
                <a:gd name="connsiteY39" fmla="*/ 373622 h 403224"/>
                <a:gd name="connsiteX40" fmla="*/ 63677 w 526593"/>
                <a:gd name="connsiteY40" fmla="*/ 374444 h 403224"/>
                <a:gd name="connsiteX41" fmla="*/ 118767 w 526593"/>
                <a:gd name="connsiteY41" fmla="*/ 381023 h 403224"/>
                <a:gd name="connsiteX42" fmla="*/ 139322 w 526593"/>
                <a:gd name="connsiteY42" fmla="*/ 381023 h 403224"/>
                <a:gd name="connsiteX43" fmla="*/ 139335 w 526593"/>
                <a:gd name="connsiteY43" fmla="*/ 381000 h 403224"/>
                <a:gd name="connsiteX44" fmla="*/ 119082 w 526593"/>
                <a:gd name="connsiteY44" fmla="*/ 381000 h 403224"/>
                <a:gd name="connsiteX45" fmla="*/ 64102 w 526593"/>
                <a:gd name="connsiteY45" fmla="*/ 374417 h 403224"/>
                <a:gd name="connsiteX46" fmla="*/ 7481 w 526593"/>
                <a:gd name="connsiteY46" fmla="*/ 374417 h 403224"/>
                <a:gd name="connsiteX47" fmla="*/ 12405 w 526593"/>
                <a:gd name="connsiteY47" fmla="*/ 353845 h 403224"/>
                <a:gd name="connsiteX48" fmla="*/ 27996 w 526593"/>
                <a:gd name="connsiteY48" fmla="*/ 326689 h 403224"/>
                <a:gd name="connsiteX49" fmla="*/ 41125 w 526593"/>
                <a:gd name="connsiteY49" fmla="*/ 320106 h 403224"/>
                <a:gd name="connsiteX50" fmla="*/ 53434 w 526593"/>
                <a:gd name="connsiteY50" fmla="*/ 302002 h 403224"/>
                <a:gd name="connsiteX51" fmla="*/ 68205 w 526593"/>
                <a:gd name="connsiteY51" fmla="*/ 281430 h 403224"/>
                <a:gd name="connsiteX52" fmla="*/ 69025 w 526593"/>
                <a:gd name="connsiteY52" fmla="*/ 269909 h 403224"/>
                <a:gd name="connsiteX53" fmla="*/ 97746 w 526593"/>
                <a:gd name="connsiteY53" fmla="*/ 234525 h 403224"/>
                <a:gd name="connsiteX54" fmla="*/ 106773 w 526593"/>
                <a:gd name="connsiteY54" fmla="*/ 217244 h 403224"/>
                <a:gd name="connsiteX55" fmla="*/ 144520 w 526593"/>
                <a:gd name="connsiteY55" fmla="*/ 182683 h 403224"/>
                <a:gd name="connsiteX56" fmla="*/ 160932 w 526593"/>
                <a:gd name="connsiteY56" fmla="*/ 161287 h 403224"/>
                <a:gd name="connsiteX57" fmla="*/ 167497 w 526593"/>
                <a:gd name="connsiteY57" fmla="*/ 147298 h 403224"/>
                <a:gd name="connsiteX58" fmla="*/ 177344 w 526593"/>
                <a:gd name="connsiteY58" fmla="*/ 126726 h 403224"/>
                <a:gd name="connsiteX59" fmla="*/ 192935 w 526593"/>
                <a:gd name="connsiteY59" fmla="*/ 94633 h 403224"/>
                <a:gd name="connsiteX60" fmla="*/ 210167 w 526593"/>
                <a:gd name="connsiteY60" fmla="*/ 76529 h 403224"/>
                <a:gd name="connsiteX61" fmla="*/ 225759 w 526593"/>
                <a:gd name="connsiteY61" fmla="*/ 68300 h 403224"/>
                <a:gd name="connsiteX62" fmla="*/ 250376 w 526593"/>
                <a:gd name="connsiteY62" fmla="*/ 54311 h 403224"/>
                <a:gd name="connsiteX63" fmla="*/ 257762 w 526593"/>
                <a:gd name="connsiteY63" fmla="*/ 45259 h 403224"/>
                <a:gd name="connsiteX64" fmla="*/ 273353 w 526593"/>
                <a:gd name="connsiteY64" fmla="*/ 18927 h 403224"/>
                <a:gd name="connsiteX65" fmla="*/ 288124 w 526593"/>
                <a:gd name="connsiteY65" fmla="*/ 823 h 403224"/>
                <a:gd name="connsiteX66" fmla="*/ 288124 w 526593"/>
                <a:gd name="connsiteY66" fmla="*/ 0 h 403224"/>
                <a:gd name="connsiteX0" fmla="*/ 428445 w 526593"/>
                <a:gd name="connsiteY0" fmla="*/ 65832 h 403224"/>
                <a:gd name="connsiteX1" fmla="*/ 403258 w 526593"/>
                <a:gd name="connsiteY1" fmla="*/ 50467 h 403224"/>
                <a:gd name="connsiteX2" fmla="*/ 428748 w 526593"/>
                <a:gd name="connsiteY2" fmla="*/ 66091 h 403224"/>
                <a:gd name="connsiteX3" fmla="*/ 442417 w 526593"/>
                <a:gd name="connsiteY3" fmla="*/ 61054 h 403224"/>
                <a:gd name="connsiteX4" fmla="*/ 444340 w 526593"/>
                <a:gd name="connsiteY4" fmla="*/ 60346 h 403224"/>
                <a:gd name="connsiteX5" fmla="*/ 430394 w 526593"/>
                <a:gd name="connsiteY5" fmla="*/ 65112 h 403224"/>
                <a:gd name="connsiteX6" fmla="*/ 428445 w 526593"/>
                <a:gd name="connsiteY6" fmla="*/ 65832 h 403224"/>
                <a:gd name="connsiteX7" fmla="*/ 288124 w 526593"/>
                <a:gd name="connsiteY7" fmla="*/ 0 h 403224"/>
                <a:gd name="connsiteX8" fmla="*/ 514607 w 526593"/>
                <a:gd name="connsiteY8" fmla="*/ 13989 h 403224"/>
                <a:gd name="connsiteX9" fmla="*/ 516761 w 526593"/>
                <a:gd name="connsiteY9" fmla="*/ 29110 h 403224"/>
                <a:gd name="connsiteX10" fmla="*/ 517069 w 526593"/>
                <a:gd name="connsiteY10" fmla="*/ 31270 h 403224"/>
                <a:gd name="connsiteX11" fmla="*/ 514197 w 526593"/>
                <a:gd name="connsiteY11" fmla="*/ 43511 h 403224"/>
                <a:gd name="connsiteX12" fmla="*/ 513787 w 526593"/>
                <a:gd name="connsiteY12" fmla="*/ 45259 h 403224"/>
                <a:gd name="connsiteX13" fmla="*/ 513787 w 526593"/>
                <a:gd name="connsiteY13" fmla="*/ 51019 h 403224"/>
                <a:gd name="connsiteX14" fmla="*/ 513787 w 526593"/>
                <a:gd name="connsiteY14" fmla="*/ 51842 h 403224"/>
                <a:gd name="connsiteX15" fmla="*/ 479322 w 526593"/>
                <a:gd name="connsiteY15" fmla="*/ 55134 h 403224"/>
                <a:gd name="connsiteX16" fmla="*/ 452285 w 526593"/>
                <a:gd name="connsiteY16" fmla="*/ 67458 h 403224"/>
                <a:gd name="connsiteX17" fmla="*/ 479726 w 526593"/>
                <a:gd name="connsiteY17" fmla="*/ 55401 h 403224"/>
                <a:gd name="connsiteX18" fmla="*/ 510971 w 526593"/>
                <a:gd name="connsiteY18" fmla="*/ 55401 h 403224"/>
                <a:gd name="connsiteX19" fmla="*/ 514260 w 526593"/>
                <a:gd name="connsiteY19" fmla="*/ 46356 h 403224"/>
                <a:gd name="connsiteX20" fmla="*/ 514260 w 526593"/>
                <a:gd name="connsiteY20" fmla="*/ 45534 h 403224"/>
                <a:gd name="connsiteX21" fmla="*/ 517137 w 526593"/>
                <a:gd name="connsiteY21" fmla="*/ 33302 h 403224"/>
                <a:gd name="connsiteX22" fmla="*/ 517549 w 526593"/>
                <a:gd name="connsiteY22" fmla="*/ 31555 h 403224"/>
                <a:gd name="connsiteX23" fmla="*/ 515390 w 526593"/>
                <a:gd name="connsiteY23" fmla="*/ 16446 h 403224"/>
                <a:gd name="connsiteX24" fmla="*/ 515082 w 526593"/>
                <a:gd name="connsiteY24" fmla="*/ 14287 h 403224"/>
                <a:gd name="connsiteX25" fmla="*/ 526593 w 526593"/>
                <a:gd name="connsiteY25" fmla="*/ 15109 h 403224"/>
                <a:gd name="connsiteX26" fmla="*/ 523304 w 526593"/>
                <a:gd name="connsiteY26" fmla="*/ 38133 h 403224"/>
                <a:gd name="connsiteX27" fmla="*/ 510971 w 526593"/>
                <a:gd name="connsiteY27" fmla="*/ 117894 h 403224"/>
                <a:gd name="connsiteX28" fmla="*/ 325969 w 526593"/>
                <a:gd name="connsiteY28" fmla="*/ 108027 h 403224"/>
                <a:gd name="connsiteX29" fmla="*/ 301302 w 526593"/>
                <a:gd name="connsiteY29" fmla="*/ 265904 h 403224"/>
                <a:gd name="connsiteX30" fmla="*/ 270879 w 526593"/>
                <a:gd name="connsiteY30" fmla="*/ 274127 h 403224"/>
                <a:gd name="connsiteX31" fmla="*/ 234701 w 526593"/>
                <a:gd name="connsiteY31" fmla="*/ 296328 h 403224"/>
                <a:gd name="connsiteX32" fmla="*/ 231412 w 526593"/>
                <a:gd name="connsiteY32" fmla="*/ 322641 h 403224"/>
                <a:gd name="connsiteX33" fmla="*/ 225657 w 526593"/>
                <a:gd name="connsiteY33" fmla="*/ 395001 h 403224"/>
                <a:gd name="connsiteX34" fmla="*/ 24210 w 526593"/>
                <a:gd name="connsiteY34" fmla="*/ 384312 h 403224"/>
                <a:gd name="connsiteX35" fmla="*/ 5299 w 526593"/>
                <a:gd name="connsiteY35" fmla="*/ 392535 h 403224"/>
                <a:gd name="connsiteX36" fmla="*/ 365 w 526593"/>
                <a:gd name="connsiteY36" fmla="*/ 403224 h 403224"/>
                <a:gd name="connsiteX37" fmla="*/ 365 w 526593"/>
                <a:gd name="connsiteY37" fmla="*/ 395824 h 403224"/>
                <a:gd name="connsiteX38" fmla="*/ 6943 w 526593"/>
                <a:gd name="connsiteY38" fmla="*/ 373622 h 403224"/>
                <a:gd name="connsiteX39" fmla="*/ 63677 w 526593"/>
                <a:gd name="connsiteY39" fmla="*/ 374444 h 403224"/>
                <a:gd name="connsiteX40" fmla="*/ 118767 w 526593"/>
                <a:gd name="connsiteY40" fmla="*/ 381023 h 403224"/>
                <a:gd name="connsiteX41" fmla="*/ 139322 w 526593"/>
                <a:gd name="connsiteY41" fmla="*/ 381023 h 403224"/>
                <a:gd name="connsiteX42" fmla="*/ 139335 w 526593"/>
                <a:gd name="connsiteY42" fmla="*/ 381000 h 403224"/>
                <a:gd name="connsiteX43" fmla="*/ 119082 w 526593"/>
                <a:gd name="connsiteY43" fmla="*/ 381000 h 403224"/>
                <a:gd name="connsiteX44" fmla="*/ 64102 w 526593"/>
                <a:gd name="connsiteY44" fmla="*/ 374417 h 403224"/>
                <a:gd name="connsiteX45" fmla="*/ 7481 w 526593"/>
                <a:gd name="connsiteY45" fmla="*/ 374417 h 403224"/>
                <a:gd name="connsiteX46" fmla="*/ 12405 w 526593"/>
                <a:gd name="connsiteY46" fmla="*/ 353845 h 403224"/>
                <a:gd name="connsiteX47" fmla="*/ 27996 w 526593"/>
                <a:gd name="connsiteY47" fmla="*/ 326689 h 403224"/>
                <a:gd name="connsiteX48" fmla="*/ 41125 w 526593"/>
                <a:gd name="connsiteY48" fmla="*/ 320106 h 403224"/>
                <a:gd name="connsiteX49" fmla="*/ 53434 w 526593"/>
                <a:gd name="connsiteY49" fmla="*/ 302002 h 403224"/>
                <a:gd name="connsiteX50" fmla="*/ 68205 w 526593"/>
                <a:gd name="connsiteY50" fmla="*/ 281430 h 403224"/>
                <a:gd name="connsiteX51" fmla="*/ 69025 w 526593"/>
                <a:gd name="connsiteY51" fmla="*/ 269909 h 403224"/>
                <a:gd name="connsiteX52" fmla="*/ 97746 w 526593"/>
                <a:gd name="connsiteY52" fmla="*/ 234525 h 403224"/>
                <a:gd name="connsiteX53" fmla="*/ 106773 w 526593"/>
                <a:gd name="connsiteY53" fmla="*/ 217244 h 403224"/>
                <a:gd name="connsiteX54" fmla="*/ 144520 w 526593"/>
                <a:gd name="connsiteY54" fmla="*/ 182683 h 403224"/>
                <a:gd name="connsiteX55" fmla="*/ 160932 w 526593"/>
                <a:gd name="connsiteY55" fmla="*/ 161287 h 403224"/>
                <a:gd name="connsiteX56" fmla="*/ 167497 w 526593"/>
                <a:gd name="connsiteY56" fmla="*/ 147298 h 403224"/>
                <a:gd name="connsiteX57" fmla="*/ 177344 w 526593"/>
                <a:gd name="connsiteY57" fmla="*/ 126726 h 403224"/>
                <a:gd name="connsiteX58" fmla="*/ 192935 w 526593"/>
                <a:gd name="connsiteY58" fmla="*/ 94633 h 403224"/>
                <a:gd name="connsiteX59" fmla="*/ 210167 w 526593"/>
                <a:gd name="connsiteY59" fmla="*/ 76529 h 403224"/>
                <a:gd name="connsiteX60" fmla="*/ 225759 w 526593"/>
                <a:gd name="connsiteY60" fmla="*/ 68300 h 403224"/>
                <a:gd name="connsiteX61" fmla="*/ 250376 w 526593"/>
                <a:gd name="connsiteY61" fmla="*/ 54311 h 403224"/>
                <a:gd name="connsiteX62" fmla="*/ 257762 w 526593"/>
                <a:gd name="connsiteY62" fmla="*/ 45259 h 403224"/>
                <a:gd name="connsiteX63" fmla="*/ 273353 w 526593"/>
                <a:gd name="connsiteY63" fmla="*/ 18927 h 403224"/>
                <a:gd name="connsiteX64" fmla="*/ 288124 w 526593"/>
                <a:gd name="connsiteY64" fmla="*/ 823 h 403224"/>
                <a:gd name="connsiteX65" fmla="*/ 288124 w 526593"/>
                <a:gd name="connsiteY65" fmla="*/ 0 h 403224"/>
                <a:gd name="connsiteX0" fmla="*/ 428445 w 526593"/>
                <a:gd name="connsiteY0" fmla="*/ 65832 h 403224"/>
                <a:gd name="connsiteX1" fmla="*/ 428748 w 526593"/>
                <a:gd name="connsiteY1" fmla="*/ 66091 h 403224"/>
                <a:gd name="connsiteX2" fmla="*/ 442417 w 526593"/>
                <a:gd name="connsiteY2" fmla="*/ 61054 h 403224"/>
                <a:gd name="connsiteX3" fmla="*/ 444340 w 526593"/>
                <a:gd name="connsiteY3" fmla="*/ 60346 h 403224"/>
                <a:gd name="connsiteX4" fmla="*/ 430394 w 526593"/>
                <a:gd name="connsiteY4" fmla="*/ 65112 h 403224"/>
                <a:gd name="connsiteX5" fmla="*/ 428445 w 526593"/>
                <a:gd name="connsiteY5" fmla="*/ 65832 h 403224"/>
                <a:gd name="connsiteX6" fmla="*/ 288124 w 526593"/>
                <a:gd name="connsiteY6" fmla="*/ 0 h 403224"/>
                <a:gd name="connsiteX7" fmla="*/ 514607 w 526593"/>
                <a:gd name="connsiteY7" fmla="*/ 13989 h 403224"/>
                <a:gd name="connsiteX8" fmla="*/ 516761 w 526593"/>
                <a:gd name="connsiteY8" fmla="*/ 29110 h 403224"/>
                <a:gd name="connsiteX9" fmla="*/ 517069 w 526593"/>
                <a:gd name="connsiteY9" fmla="*/ 31270 h 403224"/>
                <a:gd name="connsiteX10" fmla="*/ 514197 w 526593"/>
                <a:gd name="connsiteY10" fmla="*/ 43511 h 403224"/>
                <a:gd name="connsiteX11" fmla="*/ 513787 w 526593"/>
                <a:gd name="connsiteY11" fmla="*/ 45259 h 403224"/>
                <a:gd name="connsiteX12" fmla="*/ 513787 w 526593"/>
                <a:gd name="connsiteY12" fmla="*/ 51019 h 403224"/>
                <a:gd name="connsiteX13" fmla="*/ 513787 w 526593"/>
                <a:gd name="connsiteY13" fmla="*/ 51842 h 403224"/>
                <a:gd name="connsiteX14" fmla="*/ 479322 w 526593"/>
                <a:gd name="connsiteY14" fmla="*/ 55134 h 403224"/>
                <a:gd name="connsiteX15" fmla="*/ 452285 w 526593"/>
                <a:gd name="connsiteY15" fmla="*/ 67458 h 403224"/>
                <a:gd name="connsiteX16" fmla="*/ 479726 w 526593"/>
                <a:gd name="connsiteY16" fmla="*/ 55401 h 403224"/>
                <a:gd name="connsiteX17" fmla="*/ 510971 w 526593"/>
                <a:gd name="connsiteY17" fmla="*/ 55401 h 403224"/>
                <a:gd name="connsiteX18" fmla="*/ 514260 w 526593"/>
                <a:gd name="connsiteY18" fmla="*/ 46356 h 403224"/>
                <a:gd name="connsiteX19" fmla="*/ 514260 w 526593"/>
                <a:gd name="connsiteY19" fmla="*/ 45534 h 403224"/>
                <a:gd name="connsiteX20" fmla="*/ 517137 w 526593"/>
                <a:gd name="connsiteY20" fmla="*/ 33302 h 403224"/>
                <a:gd name="connsiteX21" fmla="*/ 517549 w 526593"/>
                <a:gd name="connsiteY21" fmla="*/ 31555 h 403224"/>
                <a:gd name="connsiteX22" fmla="*/ 515390 w 526593"/>
                <a:gd name="connsiteY22" fmla="*/ 16446 h 403224"/>
                <a:gd name="connsiteX23" fmla="*/ 515082 w 526593"/>
                <a:gd name="connsiteY23" fmla="*/ 14287 h 403224"/>
                <a:gd name="connsiteX24" fmla="*/ 526593 w 526593"/>
                <a:gd name="connsiteY24" fmla="*/ 15109 h 403224"/>
                <a:gd name="connsiteX25" fmla="*/ 523304 w 526593"/>
                <a:gd name="connsiteY25" fmla="*/ 38133 h 403224"/>
                <a:gd name="connsiteX26" fmla="*/ 510971 w 526593"/>
                <a:gd name="connsiteY26" fmla="*/ 117894 h 403224"/>
                <a:gd name="connsiteX27" fmla="*/ 325969 w 526593"/>
                <a:gd name="connsiteY27" fmla="*/ 108027 h 403224"/>
                <a:gd name="connsiteX28" fmla="*/ 301302 w 526593"/>
                <a:gd name="connsiteY28" fmla="*/ 265904 h 403224"/>
                <a:gd name="connsiteX29" fmla="*/ 270879 w 526593"/>
                <a:gd name="connsiteY29" fmla="*/ 274127 h 403224"/>
                <a:gd name="connsiteX30" fmla="*/ 234701 w 526593"/>
                <a:gd name="connsiteY30" fmla="*/ 296328 h 403224"/>
                <a:gd name="connsiteX31" fmla="*/ 231412 w 526593"/>
                <a:gd name="connsiteY31" fmla="*/ 322641 h 403224"/>
                <a:gd name="connsiteX32" fmla="*/ 225657 w 526593"/>
                <a:gd name="connsiteY32" fmla="*/ 395001 h 403224"/>
                <a:gd name="connsiteX33" fmla="*/ 24210 w 526593"/>
                <a:gd name="connsiteY33" fmla="*/ 384312 h 403224"/>
                <a:gd name="connsiteX34" fmla="*/ 5299 w 526593"/>
                <a:gd name="connsiteY34" fmla="*/ 392535 h 403224"/>
                <a:gd name="connsiteX35" fmla="*/ 365 w 526593"/>
                <a:gd name="connsiteY35" fmla="*/ 403224 h 403224"/>
                <a:gd name="connsiteX36" fmla="*/ 365 w 526593"/>
                <a:gd name="connsiteY36" fmla="*/ 395824 h 403224"/>
                <a:gd name="connsiteX37" fmla="*/ 6943 w 526593"/>
                <a:gd name="connsiteY37" fmla="*/ 373622 h 403224"/>
                <a:gd name="connsiteX38" fmla="*/ 63677 w 526593"/>
                <a:gd name="connsiteY38" fmla="*/ 374444 h 403224"/>
                <a:gd name="connsiteX39" fmla="*/ 118767 w 526593"/>
                <a:gd name="connsiteY39" fmla="*/ 381023 h 403224"/>
                <a:gd name="connsiteX40" fmla="*/ 139322 w 526593"/>
                <a:gd name="connsiteY40" fmla="*/ 381023 h 403224"/>
                <a:gd name="connsiteX41" fmla="*/ 139335 w 526593"/>
                <a:gd name="connsiteY41" fmla="*/ 381000 h 403224"/>
                <a:gd name="connsiteX42" fmla="*/ 119082 w 526593"/>
                <a:gd name="connsiteY42" fmla="*/ 381000 h 403224"/>
                <a:gd name="connsiteX43" fmla="*/ 64102 w 526593"/>
                <a:gd name="connsiteY43" fmla="*/ 374417 h 403224"/>
                <a:gd name="connsiteX44" fmla="*/ 7481 w 526593"/>
                <a:gd name="connsiteY44" fmla="*/ 374417 h 403224"/>
                <a:gd name="connsiteX45" fmla="*/ 12405 w 526593"/>
                <a:gd name="connsiteY45" fmla="*/ 353845 h 403224"/>
                <a:gd name="connsiteX46" fmla="*/ 27996 w 526593"/>
                <a:gd name="connsiteY46" fmla="*/ 326689 h 403224"/>
                <a:gd name="connsiteX47" fmla="*/ 41125 w 526593"/>
                <a:gd name="connsiteY47" fmla="*/ 320106 h 403224"/>
                <a:gd name="connsiteX48" fmla="*/ 53434 w 526593"/>
                <a:gd name="connsiteY48" fmla="*/ 302002 h 403224"/>
                <a:gd name="connsiteX49" fmla="*/ 68205 w 526593"/>
                <a:gd name="connsiteY49" fmla="*/ 281430 h 403224"/>
                <a:gd name="connsiteX50" fmla="*/ 69025 w 526593"/>
                <a:gd name="connsiteY50" fmla="*/ 269909 h 403224"/>
                <a:gd name="connsiteX51" fmla="*/ 97746 w 526593"/>
                <a:gd name="connsiteY51" fmla="*/ 234525 h 403224"/>
                <a:gd name="connsiteX52" fmla="*/ 106773 w 526593"/>
                <a:gd name="connsiteY52" fmla="*/ 217244 h 403224"/>
                <a:gd name="connsiteX53" fmla="*/ 144520 w 526593"/>
                <a:gd name="connsiteY53" fmla="*/ 182683 h 403224"/>
                <a:gd name="connsiteX54" fmla="*/ 160932 w 526593"/>
                <a:gd name="connsiteY54" fmla="*/ 161287 h 403224"/>
                <a:gd name="connsiteX55" fmla="*/ 167497 w 526593"/>
                <a:gd name="connsiteY55" fmla="*/ 147298 h 403224"/>
                <a:gd name="connsiteX56" fmla="*/ 177344 w 526593"/>
                <a:gd name="connsiteY56" fmla="*/ 126726 h 403224"/>
                <a:gd name="connsiteX57" fmla="*/ 192935 w 526593"/>
                <a:gd name="connsiteY57" fmla="*/ 94633 h 403224"/>
                <a:gd name="connsiteX58" fmla="*/ 210167 w 526593"/>
                <a:gd name="connsiteY58" fmla="*/ 76529 h 403224"/>
                <a:gd name="connsiteX59" fmla="*/ 225759 w 526593"/>
                <a:gd name="connsiteY59" fmla="*/ 68300 h 403224"/>
                <a:gd name="connsiteX60" fmla="*/ 250376 w 526593"/>
                <a:gd name="connsiteY60" fmla="*/ 54311 h 403224"/>
                <a:gd name="connsiteX61" fmla="*/ 257762 w 526593"/>
                <a:gd name="connsiteY61" fmla="*/ 45259 h 403224"/>
                <a:gd name="connsiteX62" fmla="*/ 273353 w 526593"/>
                <a:gd name="connsiteY62" fmla="*/ 18927 h 403224"/>
                <a:gd name="connsiteX63" fmla="*/ 288124 w 526593"/>
                <a:gd name="connsiteY63" fmla="*/ 823 h 403224"/>
                <a:gd name="connsiteX64" fmla="*/ 288124 w 526593"/>
                <a:gd name="connsiteY64" fmla="*/ 0 h 403224"/>
                <a:gd name="connsiteX0" fmla="*/ 430394 w 526593"/>
                <a:gd name="connsiteY0" fmla="*/ 65112 h 403224"/>
                <a:gd name="connsiteX1" fmla="*/ 428748 w 526593"/>
                <a:gd name="connsiteY1" fmla="*/ 66091 h 403224"/>
                <a:gd name="connsiteX2" fmla="*/ 442417 w 526593"/>
                <a:gd name="connsiteY2" fmla="*/ 61054 h 403224"/>
                <a:gd name="connsiteX3" fmla="*/ 444340 w 526593"/>
                <a:gd name="connsiteY3" fmla="*/ 60346 h 403224"/>
                <a:gd name="connsiteX4" fmla="*/ 430394 w 526593"/>
                <a:gd name="connsiteY4" fmla="*/ 65112 h 403224"/>
                <a:gd name="connsiteX5" fmla="*/ 288124 w 526593"/>
                <a:gd name="connsiteY5" fmla="*/ 0 h 403224"/>
                <a:gd name="connsiteX6" fmla="*/ 514607 w 526593"/>
                <a:gd name="connsiteY6" fmla="*/ 13989 h 403224"/>
                <a:gd name="connsiteX7" fmla="*/ 516761 w 526593"/>
                <a:gd name="connsiteY7" fmla="*/ 29110 h 403224"/>
                <a:gd name="connsiteX8" fmla="*/ 517069 w 526593"/>
                <a:gd name="connsiteY8" fmla="*/ 31270 h 403224"/>
                <a:gd name="connsiteX9" fmla="*/ 514197 w 526593"/>
                <a:gd name="connsiteY9" fmla="*/ 43511 h 403224"/>
                <a:gd name="connsiteX10" fmla="*/ 513787 w 526593"/>
                <a:gd name="connsiteY10" fmla="*/ 45259 h 403224"/>
                <a:gd name="connsiteX11" fmla="*/ 513787 w 526593"/>
                <a:gd name="connsiteY11" fmla="*/ 51019 h 403224"/>
                <a:gd name="connsiteX12" fmla="*/ 513787 w 526593"/>
                <a:gd name="connsiteY12" fmla="*/ 51842 h 403224"/>
                <a:gd name="connsiteX13" fmla="*/ 479322 w 526593"/>
                <a:gd name="connsiteY13" fmla="*/ 55134 h 403224"/>
                <a:gd name="connsiteX14" fmla="*/ 452285 w 526593"/>
                <a:gd name="connsiteY14" fmla="*/ 67458 h 403224"/>
                <a:gd name="connsiteX15" fmla="*/ 479726 w 526593"/>
                <a:gd name="connsiteY15" fmla="*/ 55401 h 403224"/>
                <a:gd name="connsiteX16" fmla="*/ 510971 w 526593"/>
                <a:gd name="connsiteY16" fmla="*/ 55401 h 403224"/>
                <a:gd name="connsiteX17" fmla="*/ 514260 w 526593"/>
                <a:gd name="connsiteY17" fmla="*/ 46356 h 403224"/>
                <a:gd name="connsiteX18" fmla="*/ 514260 w 526593"/>
                <a:gd name="connsiteY18" fmla="*/ 45534 h 403224"/>
                <a:gd name="connsiteX19" fmla="*/ 517137 w 526593"/>
                <a:gd name="connsiteY19" fmla="*/ 33302 h 403224"/>
                <a:gd name="connsiteX20" fmla="*/ 517549 w 526593"/>
                <a:gd name="connsiteY20" fmla="*/ 31555 h 403224"/>
                <a:gd name="connsiteX21" fmla="*/ 515390 w 526593"/>
                <a:gd name="connsiteY21" fmla="*/ 16446 h 403224"/>
                <a:gd name="connsiteX22" fmla="*/ 515082 w 526593"/>
                <a:gd name="connsiteY22" fmla="*/ 14287 h 403224"/>
                <a:gd name="connsiteX23" fmla="*/ 526593 w 526593"/>
                <a:gd name="connsiteY23" fmla="*/ 15109 h 403224"/>
                <a:gd name="connsiteX24" fmla="*/ 523304 w 526593"/>
                <a:gd name="connsiteY24" fmla="*/ 38133 h 403224"/>
                <a:gd name="connsiteX25" fmla="*/ 510971 w 526593"/>
                <a:gd name="connsiteY25" fmla="*/ 117894 h 403224"/>
                <a:gd name="connsiteX26" fmla="*/ 325969 w 526593"/>
                <a:gd name="connsiteY26" fmla="*/ 108027 h 403224"/>
                <a:gd name="connsiteX27" fmla="*/ 301302 w 526593"/>
                <a:gd name="connsiteY27" fmla="*/ 265904 h 403224"/>
                <a:gd name="connsiteX28" fmla="*/ 270879 w 526593"/>
                <a:gd name="connsiteY28" fmla="*/ 274127 h 403224"/>
                <a:gd name="connsiteX29" fmla="*/ 234701 w 526593"/>
                <a:gd name="connsiteY29" fmla="*/ 296328 h 403224"/>
                <a:gd name="connsiteX30" fmla="*/ 231412 w 526593"/>
                <a:gd name="connsiteY30" fmla="*/ 322641 h 403224"/>
                <a:gd name="connsiteX31" fmla="*/ 225657 w 526593"/>
                <a:gd name="connsiteY31" fmla="*/ 395001 h 403224"/>
                <a:gd name="connsiteX32" fmla="*/ 24210 w 526593"/>
                <a:gd name="connsiteY32" fmla="*/ 384312 h 403224"/>
                <a:gd name="connsiteX33" fmla="*/ 5299 w 526593"/>
                <a:gd name="connsiteY33" fmla="*/ 392535 h 403224"/>
                <a:gd name="connsiteX34" fmla="*/ 365 w 526593"/>
                <a:gd name="connsiteY34" fmla="*/ 403224 h 403224"/>
                <a:gd name="connsiteX35" fmla="*/ 365 w 526593"/>
                <a:gd name="connsiteY35" fmla="*/ 395824 h 403224"/>
                <a:gd name="connsiteX36" fmla="*/ 6943 w 526593"/>
                <a:gd name="connsiteY36" fmla="*/ 373622 h 403224"/>
                <a:gd name="connsiteX37" fmla="*/ 63677 w 526593"/>
                <a:gd name="connsiteY37" fmla="*/ 374444 h 403224"/>
                <a:gd name="connsiteX38" fmla="*/ 118767 w 526593"/>
                <a:gd name="connsiteY38" fmla="*/ 381023 h 403224"/>
                <a:gd name="connsiteX39" fmla="*/ 139322 w 526593"/>
                <a:gd name="connsiteY39" fmla="*/ 381023 h 403224"/>
                <a:gd name="connsiteX40" fmla="*/ 139335 w 526593"/>
                <a:gd name="connsiteY40" fmla="*/ 381000 h 403224"/>
                <a:gd name="connsiteX41" fmla="*/ 119082 w 526593"/>
                <a:gd name="connsiteY41" fmla="*/ 381000 h 403224"/>
                <a:gd name="connsiteX42" fmla="*/ 64102 w 526593"/>
                <a:gd name="connsiteY42" fmla="*/ 374417 h 403224"/>
                <a:gd name="connsiteX43" fmla="*/ 7481 w 526593"/>
                <a:gd name="connsiteY43" fmla="*/ 374417 h 403224"/>
                <a:gd name="connsiteX44" fmla="*/ 12405 w 526593"/>
                <a:gd name="connsiteY44" fmla="*/ 353845 h 403224"/>
                <a:gd name="connsiteX45" fmla="*/ 27996 w 526593"/>
                <a:gd name="connsiteY45" fmla="*/ 326689 h 403224"/>
                <a:gd name="connsiteX46" fmla="*/ 41125 w 526593"/>
                <a:gd name="connsiteY46" fmla="*/ 320106 h 403224"/>
                <a:gd name="connsiteX47" fmla="*/ 53434 w 526593"/>
                <a:gd name="connsiteY47" fmla="*/ 302002 h 403224"/>
                <a:gd name="connsiteX48" fmla="*/ 68205 w 526593"/>
                <a:gd name="connsiteY48" fmla="*/ 281430 h 403224"/>
                <a:gd name="connsiteX49" fmla="*/ 69025 w 526593"/>
                <a:gd name="connsiteY49" fmla="*/ 269909 h 403224"/>
                <a:gd name="connsiteX50" fmla="*/ 97746 w 526593"/>
                <a:gd name="connsiteY50" fmla="*/ 234525 h 403224"/>
                <a:gd name="connsiteX51" fmla="*/ 106773 w 526593"/>
                <a:gd name="connsiteY51" fmla="*/ 217244 h 403224"/>
                <a:gd name="connsiteX52" fmla="*/ 144520 w 526593"/>
                <a:gd name="connsiteY52" fmla="*/ 182683 h 403224"/>
                <a:gd name="connsiteX53" fmla="*/ 160932 w 526593"/>
                <a:gd name="connsiteY53" fmla="*/ 161287 h 403224"/>
                <a:gd name="connsiteX54" fmla="*/ 167497 w 526593"/>
                <a:gd name="connsiteY54" fmla="*/ 147298 h 403224"/>
                <a:gd name="connsiteX55" fmla="*/ 177344 w 526593"/>
                <a:gd name="connsiteY55" fmla="*/ 126726 h 403224"/>
                <a:gd name="connsiteX56" fmla="*/ 192935 w 526593"/>
                <a:gd name="connsiteY56" fmla="*/ 94633 h 403224"/>
                <a:gd name="connsiteX57" fmla="*/ 210167 w 526593"/>
                <a:gd name="connsiteY57" fmla="*/ 76529 h 403224"/>
                <a:gd name="connsiteX58" fmla="*/ 225759 w 526593"/>
                <a:gd name="connsiteY58" fmla="*/ 68300 h 403224"/>
                <a:gd name="connsiteX59" fmla="*/ 250376 w 526593"/>
                <a:gd name="connsiteY59" fmla="*/ 54311 h 403224"/>
                <a:gd name="connsiteX60" fmla="*/ 257762 w 526593"/>
                <a:gd name="connsiteY60" fmla="*/ 45259 h 403224"/>
                <a:gd name="connsiteX61" fmla="*/ 273353 w 526593"/>
                <a:gd name="connsiteY61" fmla="*/ 18927 h 403224"/>
                <a:gd name="connsiteX62" fmla="*/ 288124 w 526593"/>
                <a:gd name="connsiteY62" fmla="*/ 823 h 403224"/>
                <a:gd name="connsiteX63" fmla="*/ 288124 w 526593"/>
                <a:gd name="connsiteY63" fmla="*/ 0 h 403224"/>
                <a:gd name="connsiteX0" fmla="*/ 444340 w 526593"/>
                <a:gd name="connsiteY0" fmla="*/ 60346 h 403224"/>
                <a:gd name="connsiteX1" fmla="*/ 428748 w 526593"/>
                <a:gd name="connsiteY1" fmla="*/ 66091 h 403224"/>
                <a:gd name="connsiteX2" fmla="*/ 442417 w 526593"/>
                <a:gd name="connsiteY2" fmla="*/ 61054 h 403224"/>
                <a:gd name="connsiteX3" fmla="*/ 444340 w 526593"/>
                <a:gd name="connsiteY3" fmla="*/ 60346 h 403224"/>
                <a:gd name="connsiteX4" fmla="*/ 288124 w 526593"/>
                <a:gd name="connsiteY4" fmla="*/ 0 h 403224"/>
                <a:gd name="connsiteX5" fmla="*/ 514607 w 526593"/>
                <a:gd name="connsiteY5" fmla="*/ 13989 h 403224"/>
                <a:gd name="connsiteX6" fmla="*/ 516761 w 526593"/>
                <a:gd name="connsiteY6" fmla="*/ 29110 h 403224"/>
                <a:gd name="connsiteX7" fmla="*/ 517069 w 526593"/>
                <a:gd name="connsiteY7" fmla="*/ 31270 h 403224"/>
                <a:gd name="connsiteX8" fmla="*/ 514197 w 526593"/>
                <a:gd name="connsiteY8" fmla="*/ 43511 h 403224"/>
                <a:gd name="connsiteX9" fmla="*/ 513787 w 526593"/>
                <a:gd name="connsiteY9" fmla="*/ 45259 h 403224"/>
                <a:gd name="connsiteX10" fmla="*/ 513787 w 526593"/>
                <a:gd name="connsiteY10" fmla="*/ 51019 h 403224"/>
                <a:gd name="connsiteX11" fmla="*/ 513787 w 526593"/>
                <a:gd name="connsiteY11" fmla="*/ 51842 h 403224"/>
                <a:gd name="connsiteX12" fmla="*/ 479322 w 526593"/>
                <a:gd name="connsiteY12" fmla="*/ 55134 h 403224"/>
                <a:gd name="connsiteX13" fmla="*/ 452285 w 526593"/>
                <a:gd name="connsiteY13" fmla="*/ 67458 h 403224"/>
                <a:gd name="connsiteX14" fmla="*/ 479726 w 526593"/>
                <a:gd name="connsiteY14" fmla="*/ 55401 h 403224"/>
                <a:gd name="connsiteX15" fmla="*/ 510971 w 526593"/>
                <a:gd name="connsiteY15" fmla="*/ 55401 h 403224"/>
                <a:gd name="connsiteX16" fmla="*/ 514260 w 526593"/>
                <a:gd name="connsiteY16" fmla="*/ 46356 h 403224"/>
                <a:gd name="connsiteX17" fmla="*/ 514260 w 526593"/>
                <a:gd name="connsiteY17" fmla="*/ 45534 h 403224"/>
                <a:gd name="connsiteX18" fmla="*/ 517137 w 526593"/>
                <a:gd name="connsiteY18" fmla="*/ 33302 h 403224"/>
                <a:gd name="connsiteX19" fmla="*/ 517549 w 526593"/>
                <a:gd name="connsiteY19" fmla="*/ 31555 h 403224"/>
                <a:gd name="connsiteX20" fmla="*/ 515390 w 526593"/>
                <a:gd name="connsiteY20" fmla="*/ 16446 h 403224"/>
                <a:gd name="connsiteX21" fmla="*/ 515082 w 526593"/>
                <a:gd name="connsiteY21" fmla="*/ 14287 h 403224"/>
                <a:gd name="connsiteX22" fmla="*/ 526593 w 526593"/>
                <a:gd name="connsiteY22" fmla="*/ 15109 h 403224"/>
                <a:gd name="connsiteX23" fmla="*/ 523304 w 526593"/>
                <a:gd name="connsiteY23" fmla="*/ 38133 h 403224"/>
                <a:gd name="connsiteX24" fmla="*/ 510971 w 526593"/>
                <a:gd name="connsiteY24" fmla="*/ 117894 h 403224"/>
                <a:gd name="connsiteX25" fmla="*/ 325969 w 526593"/>
                <a:gd name="connsiteY25" fmla="*/ 108027 h 403224"/>
                <a:gd name="connsiteX26" fmla="*/ 301302 w 526593"/>
                <a:gd name="connsiteY26" fmla="*/ 265904 h 403224"/>
                <a:gd name="connsiteX27" fmla="*/ 270879 w 526593"/>
                <a:gd name="connsiteY27" fmla="*/ 274127 h 403224"/>
                <a:gd name="connsiteX28" fmla="*/ 234701 w 526593"/>
                <a:gd name="connsiteY28" fmla="*/ 296328 h 403224"/>
                <a:gd name="connsiteX29" fmla="*/ 231412 w 526593"/>
                <a:gd name="connsiteY29" fmla="*/ 322641 h 403224"/>
                <a:gd name="connsiteX30" fmla="*/ 225657 w 526593"/>
                <a:gd name="connsiteY30" fmla="*/ 395001 h 403224"/>
                <a:gd name="connsiteX31" fmla="*/ 24210 w 526593"/>
                <a:gd name="connsiteY31" fmla="*/ 384312 h 403224"/>
                <a:gd name="connsiteX32" fmla="*/ 5299 w 526593"/>
                <a:gd name="connsiteY32" fmla="*/ 392535 h 403224"/>
                <a:gd name="connsiteX33" fmla="*/ 365 w 526593"/>
                <a:gd name="connsiteY33" fmla="*/ 403224 h 403224"/>
                <a:gd name="connsiteX34" fmla="*/ 365 w 526593"/>
                <a:gd name="connsiteY34" fmla="*/ 395824 h 403224"/>
                <a:gd name="connsiteX35" fmla="*/ 6943 w 526593"/>
                <a:gd name="connsiteY35" fmla="*/ 373622 h 403224"/>
                <a:gd name="connsiteX36" fmla="*/ 63677 w 526593"/>
                <a:gd name="connsiteY36" fmla="*/ 374444 h 403224"/>
                <a:gd name="connsiteX37" fmla="*/ 118767 w 526593"/>
                <a:gd name="connsiteY37" fmla="*/ 381023 h 403224"/>
                <a:gd name="connsiteX38" fmla="*/ 139322 w 526593"/>
                <a:gd name="connsiteY38" fmla="*/ 381023 h 403224"/>
                <a:gd name="connsiteX39" fmla="*/ 139335 w 526593"/>
                <a:gd name="connsiteY39" fmla="*/ 381000 h 403224"/>
                <a:gd name="connsiteX40" fmla="*/ 119082 w 526593"/>
                <a:gd name="connsiteY40" fmla="*/ 381000 h 403224"/>
                <a:gd name="connsiteX41" fmla="*/ 64102 w 526593"/>
                <a:gd name="connsiteY41" fmla="*/ 374417 h 403224"/>
                <a:gd name="connsiteX42" fmla="*/ 7481 w 526593"/>
                <a:gd name="connsiteY42" fmla="*/ 374417 h 403224"/>
                <a:gd name="connsiteX43" fmla="*/ 12405 w 526593"/>
                <a:gd name="connsiteY43" fmla="*/ 353845 h 403224"/>
                <a:gd name="connsiteX44" fmla="*/ 27996 w 526593"/>
                <a:gd name="connsiteY44" fmla="*/ 326689 h 403224"/>
                <a:gd name="connsiteX45" fmla="*/ 41125 w 526593"/>
                <a:gd name="connsiteY45" fmla="*/ 320106 h 403224"/>
                <a:gd name="connsiteX46" fmla="*/ 53434 w 526593"/>
                <a:gd name="connsiteY46" fmla="*/ 302002 h 403224"/>
                <a:gd name="connsiteX47" fmla="*/ 68205 w 526593"/>
                <a:gd name="connsiteY47" fmla="*/ 281430 h 403224"/>
                <a:gd name="connsiteX48" fmla="*/ 69025 w 526593"/>
                <a:gd name="connsiteY48" fmla="*/ 269909 h 403224"/>
                <a:gd name="connsiteX49" fmla="*/ 97746 w 526593"/>
                <a:gd name="connsiteY49" fmla="*/ 234525 h 403224"/>
                <a:gd name="connsiteX50" fmla="*/ 106773 w 526593"/>
                <a:gd name="connsiteY50" fmla="*/ 217244 h 403224"/>
                <a:gd name="connsiteX51" fmla="*/ 144520 w 526593"/>
                <a:gd name="connsiteY51" fmla="*/ 182683 h 403224"/>
                <a:gd name="connsiteX52" fmla="*/ 160932 w 526593"/>
                <a:gd name="connsiteY52" fmla="*/ 161287 h 403224"/>
                <a:gd name="connsiteX53" fmla="*/ 167497 w 526593"/>
                <a:gd name="connsiteY53" fmla="*/ 147298 h 403224"/>
                <a:gd name="connsiteX54" fmla="*/ 177344 w 526593"/>
                <a:gd name="connsiteY54" fmla="*/ 126726 h 403224"/>
                <a:gd name="connsiteX55" fmla="*/ 192935 w 526593"/>
                <a:gd name="connsiteY55" fmla="*/ 94633 h 403224"/>
                <a:gd name="connsiteX56" fmla="*/ 210167 w 526593"/>
                <a:gd name="connsiteY56" fmla="*/ 76529 h 403224"/>
                <a:gd name="connsiteX57" fmla="*/ 225759 w 526593"/>
                <a:gd name="connsiteY57" fmla="*/ 68300 h 403224"/>
                <a:gd name="connsiteX58" fmla="*/ 250376 w 526593"/>
                <a:gd name="connsiteY58" fmla="*/ 54311 h 403224"/>
                <a:gd name="connsiteX59" fmla="*/ 257762 w 526593"/>
                <a:gd name="connsiteY59" fmla="*/ 45259 h 403224"/>
                <a:gd name="connsiteX60" fmla="*/ 273353 w 526593"/>
                <a:gd name="connsiteY60" fmla="*/ 18927 h 403224"/>
                <a:gd name="connsiteX61" fmla="*/ 288124 w 526593"/>
                <a:gd name="connsiteY61" fmla="*/ 823 h 403224"/>
                <a:gd name="connsiteX62" fmla="*/ 288124 w 526593"/>
                <a:gd name="connsiteY62" fmla="*/ 0 h 403224"/>
                <a:gd name="connsiteX0" fmla="*/ 444340 w 526593"/>
                <a:gd name="connsiteY0" fmla="*/ 60346 h 403224"/>
                <a:gd name="connsiteX1" fmla="*/ 442417 w 526593"/>
                <a:gd name="connsiteY1" fmla="*/ 61054 h 403224"/>
                <a:gd name="connsiteX2" fmla="*/ 444340 w 526593"/>
                <a:gd name="connsiteY2" fmla="*/ 60346 h 403224"/>
                <a:gd name="connsiteX3" fmla="*/ 288124 w 526593"/>
                <a:gd name="connsiteY3" fmla="*/ 0 h 403224"/>
                <a:gd name="connsiteX4" fmla="*/ 514607 w 526593"/>
                <a:gd name="connsiteY4" fmla="*/ 13989 h 403224"/>
                <a:gd name="connsiteX5" fmla="*/ 516761 w 526593"/>
                <a:gd name="connsiteY5" fmla="*/ 29110 h 403224"/>
                <a:gd name="connsiteX6" fmla="*/ 517069 w 526593"/>
                <a:gd name="connsiteY6" fmla="*/ 31270 h 403224"/>
                <a:gd name="connsiteX7" fmla="*/ 514197 w 526593"/>
                <a:gd name="connsiteY7" fmla="*/ 43511 h 403224"/>
                <a:gd name="connsiteX8" fmla="*/ 513787 w 526593"/>
                <a:gd name="connsiteY8" fmla="*/ 45259 h 403224"/>
                <a:gd name="connsiteX9" fmla="*/ 513787 w 526593"/>
                <a:gd name="connsiteY9" fmla="*/ 51019 h 403224"/>
                <a:gd name="connsiteX10" fmla="*/ 513787 w 526593"/>
                <a:gd name="connsiteY10" fmla="*/ 51842 h 403224"/>
                <a:gd name="connsiteX11" fmla="*/ 479322 w 526593"/>
                <a:gd name="connsiteY11" fmla="*/ 55134 h 403224"/>
                <a:gd name="connsiteX12" fmla="*/ 452285 w 526593"/>
                <a:gd name="connsiteY12" fmla="*/ 67458 h 403224"/>
                <a:gd name="connsiteX13" fmla="*/ 479726 w 526593"/>
                <a:gd name="connsiteY13" fmla="*/ 55401 h 403224"/>
                <a:gd name="connsiteX14" fmla="*/ 510971 w 526593"/>
                <a:gd name="connsiteY14" fmla="*/ 55401 h 403224"/>
                <a:gd name="connsiteX15" fmla="*/ 514260 w 526593"/>
                <a:gd name="connsiteY15" fmla="*/ 46356 h 403224"/>
                <a:gd name="connsiteX16" fmla="*/ 514260 w 526593"/>
                <a:gd name="connsiteY16" fmla="*/ 45534 h 403224"/>
                <a:gd name="connsiteX17" fmla="*/ 517137 w 526593"/>
                <a:gd name="connsiteY17" fmla="*/ 33302 h 403224"/>
                <a:gd name="connsiteX18" fmla="*/ 517549 w 526593"/>
                <a:gd name="connsiteY18" fmla="*/ 31555 h 403224"/>
                <a:gd name="connsiteX19" fmla="*/ 515390 w 526593"/>
                <a:gd name="connsiteY19" fmla="*/ 16446 h 403224"/>
                <a:gd name="connsiteX20" fmla="*/ 515082 w 526593"/>
                <a:gd name="connsiteY20" fmla="*/ 14287 h 403224"/>
                <a:gd name="connsiteX21" fmla="*/ 526593 w 526593"/>
                <a:gd name="connsiteY21" fmla="*/ 15109 h 403224"/>
                <a:gd name="connsiteX22" fmla="*/ 523304 w 526593"/>
                <a:gd name="connsiteY22" fmla="*/ 38133 h 403224"/>
                <a:gd name="connsiteX23" fmla="*/ 510971 w 526593"/>
                <a:gd name="connsiteY23" fmla="*/ 117894 h 403224"/>
                <a:gd name="connsiteX24" fmla="*/ 325969 w 526593"/>
                <a:gd name="connsiteY24" fmla="*/ 108027 h 403224"/>
                <a:gd name="connsiteX25" fmla="*/ 301302 w 526593"/>
                <a:gd name="connsiteY25" fmla="*/ 265904 h 403224"/>
                <a:gd name="connsiteX26" fmla="*/ 270879 w 526593"/>
                <a:gd name="connsiteY26" fmla="*/ 274127 h 403224"/>
                <a:gd name="connsiteX27" fmla="*/ 234701 w 526593"/>
                <a:gd name="connsiteY27" fmla="*/ 296328 h 403224"/>
                <a:gd name="connsiteX28" fmla="*/ 231412 w 526593"/>
                <a:gd name="connsiteY28" fmla="*/ 322641 h 403224"/>
                <a:gd name="connsiteX29" fmla="*/ 225657 w 526593"/>
                <a:gd name="connsiteY29" fmla="*/ 395001 h 403224"/>
                <a:gd name="connsiteX30" fmla="*/ 24210 w 526593"/>
                <a:gd name="connsiteY30" fmla="*/ 384312 h 403224"/>
                <a:gd name="connsiteX31" fmla="*/ 5299 w 526593"/>
                <a:gd name="connsiteY31" fmla="*/ 392535 h 403224"/>
                <a:gd name="connsiteX32" fmla="*/ 365 w 526593"/>
                <a:gd name="connsiteY32" fmla="*/ 403224 h 403224"/>
                <a:gd name="connsiteX33" fmla="*/ 365 w 526593"/>
                <a:gd name="connsiteY33" fmla="*/ 395824 h 403224"/>
                <a:gd name="connsiteX34" fmla="*/ 6943 w 526593"/>
                <a:gd name="connsiteY34" fmla="*/ 373622 h 403224"/>
                <a:gd name="connsiteX35" fmla="*/ 63677 w 526593"/>
                <a:gd name="connsiteY35" fmla="*/ 374444 h 403224"/>
                <a:gd name="connsiteX36" fmla="*/ 118767 w 526593"/>
                <a:gd name="connsiteY36" fmla="*/ 381023 h 403224"/>
                <a:gd name="connsiteX37" fmla="*/ 139322 w 526593"/>
                <a:gd name="connsiteY37" fmla="*/ 381023 h 403224"/>
                <a:gd name="connsiteX38" fmla="*/ 139335 w 526593"/>
                <a:gd name="connsiteY38" fmla="*/ 381000 h 403224"/>
                <a:gd name="connsiteX39" fmla="*/ 119082 w 526593"/>
                <a:gd name="connsiteY39" fmla="*/ 381000 h 403224"/>
                <a:gd name="connsiteX40" fmla="*/ 64102 w 526593"/>
                <a:gd name="connsiteY40" fmla="*/ 374417 h 403224"/>
                <a:gd name="connsiteX41" fmla="*/ 7481 w 526593"/>
                <a:gd name="connsiteY41" fmla="*/ 374417 h 403224"/>
                <a:gd name="connsiteX42" fmla="*/ 12405 w 526593"/>
                <a:gd name="connsiteY42" fmla="*/ 353845 h 403224"/>
                <a:gd name="connsiteX43" fmla="*/ 27996 w 526593"/>
                <a:gd name="connsiteY43" fmla="*/ 326689 h 403224"/>
                <a:gd name="connsiteX44" fmla="*/ 41125 w 526593"/>
                <a:gd name="connsiteY44" fmla="*/ 320106 h 403224"/>
                <a:gd name="connsiteX45" fmla="*/ 53434 w 526593"/>
                <a:gd name="connsiteY45" fmla="*/ 302002 h 403224"/>
                <a:gd name="connsiteX46" fmla="*/ 68205 w 526593"/>
                <a:gd name="connsiteY46" fmla="*/ 281430 h 403224"/>
                <a:gd name="connsiteX47" fmla="*/ 69025 w 526593"/>
                <a:gd name="connsiteY47" fmla="*/ 269909 h 403224"/>
                <a:gd name="connsiteX48" fmla="*/ 97746 w 526593"/>
                <a:gd name="connsiteY48" fmla="*/ 234525 h 403224"/>
                <a:gd name="connsiteX49" fmla="*/ 106773 w 526593"/>
                <a:gd name="connsiteY49" fmla="*/ 217244 h 403224"/>
                <a:gd name="connsiteX50" fmla="*/ 144520 w 526593"/>
                <a:gd name="connsiteY50" fmla="*/ 182683 h 403224"/>
                <a:gd name="connsiteX51" fmla="*/ 160932 w 526593"/>
                <a:gd name="connsiteY51" fmla="*/ 161287 h 403224"/>
                <a:gd name="connsiteX52" fmla="*/ 167497 w 526593"/>
                <a:gd name="connsiteY52" fmla="*/ 147298 h 403224"/>
                <a:gd name="connsiteX53" fmla="*/ 177344 w 526593"/>
                <a:gd name="connsiteY53" fmla="*/ 126726 h 403224"/>
                <a:gd name="connsiteX54" fmla="*/ 192935 w 526593"/>
                <a:gd name="connsiteY54" fmla="*/ 94633 h 403224"/>
                <a:gd name="connsiteX55" fmla="*/ 210167 w 526593"/>
                <a:gd name="connsiteY55" fmla="*/ 76529 h 403224"/>
                <a:gd name="connsiteX56" fmla="*/ 225759 w 526593"/>
                <a:gd name="connsiteY56" fmla="*/ 68300 h 403224"/>
                <a:gd name="connsiteX57" fmla="*/ 250376 w 526593"/>
                <a:gd name="connsiteY57" fmla="*/ 54311 h 403224"/>
                <a:gd name="connsiteX58" fmla="*/ 257762 w 526593"/>
                <a:gd name="connsiteY58" fmla="*/ 45259 h 403224"/>
                <a:gd name="connsiteX59" fmla="*/ 273353 w 526593"/>
                <a:gd name="connsiteY59" fmla="*/ 18927 h 403224"/>
                <a:gd name="connsiteX60" fmla="*/ 288124 w 526593"/>
                <a:gd name="connsiteY60" fmla="*/ 823 h 403224"/>
                <a:gd name="connsiteX61" fmla="*/ 288124 w 526593"/>
                <a:gd name="connsiteY61" fmla="*/ 0 h 403224"/>
                <a:gd name="connsiteX0" fmla="*/ 444340 w 526593"/>
                <a:gd name="connsiteY0" fmla="*/ 60346 h 403224"/>
                <a:gd name="connsiteX1" fmla="*/ 442417 w 526593"/>
                <a:gd name="connsiteY1" fmla="*/ 61054 h 403224"/>
                <a:gd name="connsiteX2" fmla="*/ 444340 w 526593"/>
                <a:gd name="connsiteY2" fmla="*/ 60346 h 403224"/>
                <a:gd name="connsiteX3" fmla="*/ 288124 w 526593"/>
                <a:gd name="connsiteY3" fmla="*/ 0 h 403224"/>
                <a:gd name="connsiteX4" fmla="*/ 514607 w 526593"/>
                <a:gd name="connsiteY4" fmla="*/ 13989 h 403224"/>
                <a:gd name="connsiteX5" fmla="*/ 516761 w 526593"/>
                <a:gd name="connsiteY5" fmla="*/ 29110 h 403224"/>
                <a:gd name="connsiteX6" fmla="*/ 517069 w 526593"/>
                <a:gd name="connsiteY6" fmla="*/ 31270 h 403224"/>
                <a:gd name="connsiteX7" fmla="*/ 514197 w 526593"/>
                <a:gd name="connsiteY7" fmla="*/ 43511 h 403224"/>
                <a:gd name="connsiteX8" fmla="*/ 513787 w 526593"/>
                <a:gd name="connsiteY8" fmla="*/ 45259 h 403224"/>
                <a:gd name="connsiteX9" fmla="*/ 513787 w 526593"/>
                <a:gd name="connsiteY9" fmla="*/ 51019 h 403224"/>
                <a:gd name="connsiteX10" fmla="*/ 513787 w 526593"/>
                <a:gd name="connsiteY10" fmla="*/ 51842 h 403224"/>
                <a:gd name="connsiteX11" fmla="*/ 479322 w 526593"/>
                <a:gd name="connsiteY11" fmla="*/ 55134 h 403224"/>
                <a:gd name="connsiteX12" fmla="*/ 452285 w 526593"/>
                <a:gd name="connsiteY12" fmla="*/ 67458 h 403224"/>
                <a:gd name="connsiteX13" fmla="*/ 479726 w 526593"/>
                <a:gd name="connsiteY13" fmla="*/ 55401 h 403224"/>
                <a:gd name="connsiteX14" fmla="*/ 510971 w 526593"/>
                <a:gd name="connsiteY14" fmla="*/ 55401 h 403224"/>
                <a:gd name="connsiteX15" fmla="*/ 514260 w 526593"/>
                <a:gd name="connsiteY15" fmla="*/ 46356 h 403224"/>
                <a:gd name="connsiteX16" fmla="*/ 514260 w 526593"/>
                <a:gd name="connsiteY16" fmla="*/ 45534 h 403224"/>
                <a:gd name="connsiteX17" fmla="*/ 517137 w 526593"/>
                <a:gd name="connsiteY17" fmla="*/ 33302 h 403224"/>
                <a:gd name="connsiteX18" fmla="*/ 517549 w 526593"/>
                <a:gd name="connsiteY18" fmla="*/ 31555 h 403224"/>
                <a:gd name="connsiteX19" fmla="*/ 515390 w 526593"/>
                <a:gd name="connsiteY19" fmla="*/ 16446 h 403224"/>
                <a:gd name="connsiteX20" fmla="*/ 515082 w 526593"/>
                <a:gd name="connsiteY20" fmla="*/ 14287 h 403224"/>
                <a:gd name="connsiteX21" fmla="*/ 526593 w 526593"/>
                <a:gd name="connsiteY21" fmla="*/ 15109 h 403224"/>
                <a:gd name="connsiteX22" fmla="*/ 523304 w 526593"/>
                <a:gd name="connsiteY22" fmla="*/ 38133 h 403224"/>
                <a:gd name="connsiteX23" fmla="*/ 510971 w 526593"/>
                <a:gd name="connsiteY23" fmla="*/ 117894 h 403224"/>
                <a:gd name="connsiteX24" fmla="*/ 325969 w 526593"/>
                <a:gd name="connsiteY24" fmla="*/ 108027 h 403224"/>
                <a:gd name="connsiteX25" fmla="*/ 301302 w 526593"/>
                <a:gd name="connsiteY25" fmla="*/ 265904 h 403224"/>
                <a:gd name="connsiteX26" fmla="*/ 270879 w 526593"/>
                <a:gd name="connsiteY26" fmla="*/ 274127 h 403224"/>
                <a:gd name="connsiteX27" fmla="*/ 234701 w 526593"/>
                <a:gd name="connsiteY27" fmla="*/ 296328 h 403224"/>
                <a:gd name="connsiteX28" fmla="*/ 231412 w 526593"/>
                <a:gd name="connsiteY28" fmla="*/ 322641 h 403224"/>
                <a:gd name="connsiteX29" fmla="*/ 225657 w 526593"/>
                <a:gd name="connsiteY29" fmla="*/ 395001 h 403224"/>
                <a:gd name="connsiteX30" fmla="*/ 24210 w 526593"/>
                <a:gd name="connsiteY30" fmla="*/ 384312 h 403224"/>
                <a:gd name="connsiteX31" fmla="*/ 5299 w 526593"/>
                <a:gd name="connsiteY31" fmla="*/ 392535 h 403224"/>
                <a:gd name="connsiteX32" fmla="*/ 365 w 526593"/>
                <a:gd name="connsiteY32" fmla="*/ 403224 h 403224"/>
                <a:gd name="connsiteX33" fmla="*/ 365 w 526593"/>
                <a:gd name="connsiteY33" fmla="*/ 395824 h 403224"/>
                <a:gd name="connsiteX34" fmla="*/ 6943 w 526593"/>
                <a:gd name="connsiteY34" fmla="*/ 373622 h 403224"/>
                <a:gd name="connsiteX35" fmla="*/ 63677 w 526593"/>
                <a:gd name="connsiteY35" fmla="*/ 374444 h 403224"/>
                <a:gd name="connsiteX36" fmla="*/ 118767 w 526593"/>
                <a:gd name="connsiteY36" fmla="*/ 381023 h 403224"/>
                <a:gd name="connsiteX37" fmla="*/ 139322 w 526593"/>
                <a:gd name="connsiteY37" fmla="*/ 381023 h 403224"/>
                <a:gd name="connsiteX38" fmla="*/ 160766 w 526593"/>
                <a:gd name="connsiteY38" fmla="*/ 311943 h 403224"/>
                <a:gd name="connsiteX39" fmla="*/ 119082 w 526593"/>
                <a:gd name="connsiteY39" fmla="*/ 381000 h 403224"/>
                <a:gd name="connsiteX40" fmla="*/ 64102 w 526593"/>
                <a:gd name="connsiteY40" fmla="*/ 374417 h 403224"/>
                <a:gd name="connsiteX41" fmla="*/ 7481 w 526593"/>
                <a:gd name="connsiteY41" fmla="*/ 374417 h 403224"/>
                <a:gd name="connsiteX42" fmla="*/ 12405 w 526593"/>
                <a:gd name="connsiteY42" fmla="*/ 353845 h 403224"/>
                <a:gd name="connsiteX43" fmla="*/ 27996 w 526593"/>
                <a:gd name="connsiteY43" fmla="*/ 326689 h 403224"/>
                <a:gd name="connsiteX44" fmla="*/ 41125 w 526593"/>
                <a:gd name="connsiteY44" fmla="*/ 320106 h 403224"/>
                <a:gd name="connsiteX45" fmla="*/ 53434 w 526593"/>
                <a:gd name="connsiteY45" fmla="*/ 302002 h 403224"/>
                <a:gd name="connsiteX46" fmla="*/ 68205 w 526593"/>
                <a:gd name="connsiteY46" fmla="*/ 281430 h 403224"/>
                <a:gd name="connsiteX47" fmla="*/ 69025 w 526593"/>
                <a:gd name="connsiteY47" fmla="*/ 269909 h 403224"/>
                <a:gd name="connsiteX48" fmla="*/ 97746 w 526593"/>
                <a:gd name="connsiteY48" fmla="*/ 234525 h 403224"/>
                <a:gd name="connsiteX49" fmla="*/ 106773 w 526593"/>
                <a:gd name="connsiteY49" fmla="*/ 217244 h 403224"/>
                <a:gd name="connsiteX50" fmla="*/ 144520 w 526593"/>
                <a:gd name="connsiteY50" fmla="*/ 182683 h 403224"/>
                <a:gd name="connsiteX51" fmla="*/ 160932 w 526593"/>
                <a:gd name="connsiteY51" fmla="*/ 161287 h 403224"/>
                <a:gd name="connsiteX52" fmla="*/ 167497 w 526593"/>
                <a:gd name="connsiteY52" fmla="*/ 147298 h 403224"/>
                <a:gd name="connsiteX53" fmla="*/ 177344 w 526593"/>
                <a:gd name="connsiteY53" fmla="*/ 126726 h 403224"/>
                <a:gd name="connsiteX54" fmla="*/ 192935 w 526593"/>
                <a:gd name="connsiteY54" fmla="*/ 94633 h 403224"/>
                <a:gd name="connsiteX55" fmla="*/ 210167 w 526593"/>
                <a:gd name="connsiteY55" fmla="*/ 76529 h 403224"/>
                <a:gd name="connsiteX56" fmla="*/ 225759 w 526593"/>
                <a:gd name="connsiteY56" fmla="*/ 68300 h 403224"/>
                <a:gd name="connsiteX57" fmla="*/ 250376 w 526593"/>
                <a:gd name="connsiteY57" fmla="*/ 54311 h 403224"/>
                <a:gd name="connsiteX58" fmla="*/ 257762 w 526593"/>
                <a:gd name="connsiteY58" fmla="*/ 45259 h 403224"/>
                <a:gd name="connsiteX59" fmla="*/ 273353 w 526593"/>
                <a:gd name="connsiteY59" fmla="*/ 18927 h 403224"/>
                <a:gd name="connsiteX60" fmla="*/ 288124 w 526593"/>
                <a:gd name="connsiteY60" fmla="*/ 823 h 403224"/>
                <a:gd name="connsiteX61" fmla="*/ 288124 w 526593"/>
                <a:gd name="connsiteY61" fmla="*/ 0 h 403224"/>
                <a:gd name="connsiteX0" fmla="*/ 444340 w 526593"/>
                <a:gd name="connsiteY0" fmla="*/ 60346 h 403224"/>
                <a:gd name="connsiteX1" fmla="*/ 442417 w 526593"/>
                <a:gd name="connsiteY1" fmla="*/ 61054 h 403224"/>
                <a:gd name="connsiteX2" fmla="*/ 444340 w 526593"/>
                <a:gd name="connsiteY2" fmla="*/ 60346 h 403224"/>
                <a:gd name="connsiteX3" fmla="*/ 288124 w 526593"/>
                <a:gd name="connsiteY3" fmla="*/ 0 h 403224"/>
                <a:gd name="connsiteX4" fmla="*/ 514607 w 526593"/>
                <a:gd name="connsiteY4" fmla="*/ 13989 h 403224"/>
                <a:gd name="connsiteX5" fmla="*/ 516761 w 526593"/>
                <a:gd name="connsiteY5" fmla="*/ 29110 h 403224"/>
                <a:gd name="connsiteX6" fmla="*/ 517069 w 526593"/>
                <a:gd name="connsiteY6" fmla="*/ 31270 h 403224"/>
                <a:gd name="connsiteX7" fmla="*/ 514197 w 526593"/>
                <a:gd name="connsiteY7" fmla="*/ 43511 h 403224"/>
                <a:gd name="connsiteX8" fmla="*/ 513787 w 526593"/>
                <a:gd name="connsiteY8" fmla="*/ 45259 h 403224"/>
                <a:gd name="connsiteX9" fmla="*/ 513787 w 526593"/>
                <a:gd name="connsiteY9" fmla="*/ 51019 h 403224"/>
                <a:gd name="connsiteX10" fmla="*/ 513787 w 526593"/>
                <a:gd name="connsiteY10" fmla="*/ 51842 h 403224"/>
                <a:gd name="connsiteX11" fmla="*/ 479322 w 526593"/>
                <a:gd name="connsiteY11" fmla="*/ 55134 h 403224"/>
                <a:gd name="connsiteX12" fmla="*/ 452285 w 526593"/>
                <a:gd name="connsiteY12" fmla="*/ 67458 h 403224"/>
                <a:gd name="connsiteX13" fmla="*/ 479726 w 526593"/>
                <a:gd name="connsiteY13" fmla="*/ 55401 h 403224"/>
                <a:gd name="connsiteX14" fmla="*/ 510971 w 526593"/>
                <a:gd name="connsiteY14" fmla="*/ 55401 h 403224"/>
                <a:gd name="connsiteX15" fmla="*/ 514260 w 526593"/>
                <a:gd name="connsiteY15" fmla="*/ 46356 h 403224"/>
                <a:gd name="connsiteX16" fmla="*/ 514260 w 526593"/>
                <a:gd name="connsiteY16" fmla="*/ 45534 h 403224"/>
                <a:gd name="connsiteX17" fmla="*/ 517137 w 526593"/>
                <a:gd name="connsiteY17" fmla="*/ 33302 h 403224"/>
                <a:gd name="connsiteX18" fmla="*/ 517549 w 526593"/>
                <a:gd name="connsiteY18" fmla="*/ 31555 h 403224"/>
                <a:gd name="connsiteX19" fmla="*/ 515390 w 526593"/>
                <a:gd name="connsiteY19" fmla="*/ 16446 h 403224"/>
                <a:gd name="connsiteX20" fmla="*/ 515082 w 526593"/>
                <a:gd name="connsiteY20" fmla="*/ 14287 h 403224"/>
                <a:gd name="connsiteX21" fmla="*/ 526593 w 526593"/>
                <a:gd name="connsiteY21" fmla="*/ 15109 h 403224"/>
                <a:gd name="connsiteX22" fmla="*/ 523304 w 526593"/>
                <a:gd name="connsiteY22" fmla="*/ 38133 h 403224"/>
                <a:gd name="connsiteX23" fmla="*/ 510971 w 526593"/>
                <a:gd name="connsiteY23" fmla="*/ 117894 h 403224"/>
                <a:gd name="connsiteX24" fmla="*/ 325969 w 526593"/>
                <a:gd name="connsiteY24" fmla="*/ 108027 h 403224"/>
                <a:gd name="connsiteX25" fmla="*/ 301302 w 526593"/>
                <a:gd name="connsiteY25" fmla="*/ 265904 h 403224"/>
                <a:gd name="connsiteX26" fmla="*/ 270879 w 526593"/>
                <a:gd name="connsiteY26" fmla="*/ 274127 h 403224"/>
                <a:gd name="connsiteX27" fmla="*/ 234701 w 526593"/>
                <a:gd name="connsiteY27" fmla="*/ 296328 h 403224"/>
                <a:gd name="connsiteX28" fmla="*/ 231412 w 526593"/>
                <a:gd name="connsiteY28" fmla="*/ 322641 h 403224"/>
                <a:gd name="connsiteX29" fmla="*/ 225657 w 526593"/>
                <a:gd name="connsiteY29" fmla="*/ 395001 h 403224"/>
                <a:gd name="connsiteX30" fmla="*/ 24210 w 526593"/>
                <a:gd name="connsiteY30" fmla="*/ 384312 h 403224"/>
                <a:gd name="connsiteX31" fmla="*/ 5299 w 526593"/>
                <a:gd name="connsiteY31" fmla="*/ 392535 h 403224"/>
                <a:gd name="connsiteX32" fmla="*/ 365 w 526593"/>
                <a:gd name="connsiteY32" fmla="*/ 403224 h 403224"/>
                <a:gd name="connsiteX33" fmla="*/ 365 w 526593"/>
                <a:gd name="connsiteY33" fmla="*/ 395824 h 403224"/>
                <a:gd name="connsiteX34" fmla="*/ 6943 w 526593"/>
                <a:gd name="connsiteY34" fmla="*/ 373622 h 403224"/>
                <a:gd name="connsiteX35" fmla="*/ 63677 w 526593"/>
                <a:gd name="connsiteY35" fmla="*/ 374444 h 403224"/>
                <a:gd name="connsiteX36" fmla="*/ 118767 w 526593"/>
                <a:gd name="connsiteY36" fmla="*/ 381023 h 403224"/>
                <a:gd name="connsiteX37" fmla="*/ 139322 w 526593"/>
                <a:gd name="connsiteY37" fmla="*/ 381023 h 403224"/>
                <a:gd name="connsiteX38" fmla="*/ 160766 w 526593"/>
                <a:gd name="connsiteY38" fmla="*/ 311943 h 403224"/>
                <a:gd name="connsiteX39" fmla="*/ 95270 w 526593"/>
                <a:gd name="connsiteY39" fmla="*/ 326231 h 403224"/>
                <a:gd name="connsiteX40" fmla="*/ 64102 w 526593"/>
                <a:gd name="connsiteY40" fmla="*/ 374417 h 403224"/>
                <a:gd name="connsiteX41" fmla="*/ 7481 w 526593"/>
                <a:gd name="connsiteY41" fmla="*/ 374417 h 403224"/>
                <a:gd name="connsiteX42" fmla="*/ 12405 w 526593"/>
                <a:gd name="connsiteY42" fmla="*/ 353845 h 403224"/>
                <a:gd name="connsiteX43" fmla="*/ 27996 w 526593"/>
                <a:gd name="connsiteY43" fmla="*/ 326689 h 403224"/>
                <a:gd name="connsiteX44" fmla="*/ 41125 w 526593"/>
                <a:gd name="connsiteY44" fmla="*/ 320106 h 403224"/>
                <a:gd name="connsiteX45" fmla="*/ 53434 w 526593"/>
                <a:gd name="connsiteY45" fmla="*/ 302002 h 403224"/>
                <a:gd name="connsiteX46" fmla="*/ 68205 w 526593"/>
                <a:gd name="connsiteY46" fmla="*/ 281430 h 403224"/>
                <a:gd name="connsiteX47" fmla="*/ 69025 w 526593"/>
                <a:gd name="connsiteY47" fmla="*/ 269909 h 403224"/>
                <a:gd name="connsiteX48" fmla="*/ 97746 w 526593"/>
                <a:gd name="connsiteY48" fmla="*/ 234525 h 403224"/>
                <a:gd name="connsiteX49" fmla="*/ 106773 w 526593"/>
                <a:gd name="connsiteY49" fmla="*/ 217244 h 403224"/>
                <a:gd name="connsiteX50" fmla="*/ 144520 w 526593"/>
                <a:gd name="connsiteY50" fmla="*/ 182683 h 403224"/>
                <a:gd name="connsiteX51" fmla="*/ 160932 w 526593"/>
                <a:gd name="connsiteY51" fmla="*/ 161287 h 403224"/>
                <a:gd name="connsiteX52" fmla="*/ 167497 w 526593"/>
                <a:gd name="connsiteY52" fmla="*/ 147298 h 403224"/>
                <a:gd name="connsiteX53" fmla="*/ 177344 w 526593"/>
                <a:gd name="connsiteY53" fmla="*/ 126726 h 403224"/>
                <a:gd name="connsiteX54" fmla="*/ 192935 w 526593"/>
                <a:gd name="connsiteY54" fmla="*/ 94633 h 403224"/>
                <a:gd name="connsiteX55" fmla="*/ 210167 w 526593"/>
                <a:gd name="connsiteY55" fmla="*/ 76529 h 403224"/>
                <a:gd name="connsiteX56" fmla="*/ 225759 w 526593"/>
                <a:gd name="connsiteY56" fmla="*/ 68300 h 403224"/>
                <a:gd name="connsiteX57" fmla="*/ 250376 w 526593"/>
                <a:gd name="connsiteY57" fmla="*/ 54311 h 403224"/>
                <a:gd name="connsiteX58" fmla="*/ 257762 w 526593"/>
                <a:gd name="connsiteY58" fmla="*/ 45259 h 403224"/>
                <a:gd name="connsiteX59" fmla="*/ 273353 w 526593"/>
                <a:gd name="connsiteY59" fmla="*/ 18927 h 403224"/>
                <a:gd name="connsiteX60" fmla="*/ 288124 w 526593"/>
                <a:gd name="connsiteY60" fmla="*/ 823 h 403224"/>
                <a:gd name="connsiteX61" fmla="*/ 288124 w 526593"/>
                <a:gd name="connsiteY61" fmla="*/ 0 h 403224"/>
                <a:gd name="connsiteX0" fmla="*/ 444340 w 526593"/>
                <a:gd name="connsiteY0" fmla="*/ 60346 h 403224"/>
                <a:gd name="connsiteX1" fmla="*/ 442417 w 526593"/>
                <a:gd name="connsiteY1" fmla="*/ 61054 h 403224"/>
                <a:gd name="connsiteX2" fmla="*/ 444340 w 526593"/>
                <a:gd name="connsiteY2" fmla="*/ 60346 h 403224"/>
                <a:gd name="connsiteX3" fmla="*/ 288124 w 526593"/>
                <a:gd name="connsiteY3" fmla="*/ 0 h 403224"/>
                <a:gd name="connsiteX4" fmla="*/ 514607 w 526593"/>
                <a:gd name="connsiteY4" fmla="*/ 13989 h 403224"/>
                <a:gd name="connsiteX5" fmla="*/ 516761 w 526593"/>
                <a:gd name="connsiteY5" fmla="*/ 29110 h 403224"/>
                <a:gd name="connsiteX6" fmla="*/ 517069 w 526593"/>
                <a:gd name="connsiteY6" fmla="*/ 31270 h 403224"/>
                <a:gd name="connsiteX7" fmla="*/ 514197 w 526593"/>
                <a:gd name="connsiteY7" fmla="*/ 43511 h 403224"/>
                <a:gd name="connsiteX8" fmla="*/ 513787 w 526593"/>
                <a:gd name="connsiteY8" fmla="*/ 45259 h 403224"/>
                <a:gd name="connsiteX9" fmla="*/ 513787 w 526593"/>
                <a:gd name="connsiteY9" fmla="*/ 51019 h 403224"/>
                <a:gd name="connsiteX10" fmla="*/ 513787 w 526593"/>
                <a:gd name="connsiteY10" fmla="*/ 51842 h 403224"/>
                <a:gd name="connsiteX11" fmla="*/ 479322 w 526593"/>
                <a:gd name="connsiteY11" fmla="*/ 55134 h 403224"/>
                <a:gd name="connsiteX12" fmla="*/ 452285 w 526593"/>
                <a:gd name="connsiteY12" fmla="*/ 67458 h 403224"/>
                <a:gd name="connsiteX13" fmla="*/ 479726 w 526593"/>
                <a:gd name="connsiteY13" fmla="*/ 55401 h 403224"/>
                <a:gd name="connsiteX14" fmla="*/ 510971 w 526593"/>
                <a:gd name="connsiteY14" fmla="*/ 55401 h 403224"/>
                <a:gd name="connsiteX15" fmla="*/ 514260 w 526593"/>
                <a:gd name="connsiteY15" fmla="*/ 46356 h 403224"/>
                <a:gd name="connsiteX16" fmla="*/ 514260 w 526593"/>
                <a:gd name="connsiteY16" fmla="*/ 45534 h 403224"/>
                <a:gd name="connsiteX17" fmla="*/ 517137 w 526593"/>
                <a:gd name="connsiteY17" fmla="*/ 33302 h 403224"/>
                <a:gd name="connsiteX18" fmla="*/ 517549 w 526593"/>
                <a:gd name="connsiteY18" fmla="*/ 31555 h 403224"/>
                <a:gd name="connsiteX19" fmla="*/ 515390 w 526593"/>
                <a:gd name="connsiteY19" fmla="*/ 16446 h 403224"/>
                <a:gd name="connsiteX20" fmla="*/ 515082 w 526593"/>
                <a:gd name="connsiteY20" fmla="*/ 14287 h 403224"/>
                <a:gd name="connsiteX21" fmla="*/ 526593 w 526593"/>
                <a:gd name="connsiteY21" fmla="*/ 15109 h 403224"/>
                <a:gd name="connsiteX22" fmla="*/ 523304 w 526593"/>
                <a:gd name="connsiteY22" fmla="*/ 38133 h 403224"/>
                <a:gd name="connsiteX23" fmla="*/ 510971 w 526593"/>
                <a:gd name="connsiteY23" fmla="*/ 117894 h 403224"/>
                <a:gd name="connsiteX24" fmla="*/ 325969 w 526593"/>
                <a:gd name="connsiteY24" fmla="*/ 108027 h 403224"/>
                <a:gd name="connsiteX25" fmla="*/ 301302 w 526593"/>
                <a:gd name="connsiteY25" fmla="*/ 265904 h 403224"/>
                <a:gd name="connsiteX26" fmla="*/ 270879 w 526593"/>
                <a:gd name="connsiteY26" fmla="*/ 274127 h 403224"/>
                <a:gd name="connsiteX27" fmla="*/ 234701 w 526593"/>
                <a:gd name="connsiteY27" fmla="*/ 296328 h 403224"/>
                <a:gd name="connsiteX28" fmla="*/ 231412 w 526593"/>
                <a:gd name="connsiteY28" fmla="*/ 322641 h 403224"/>
                <a:gd name="connsiteX29" fmla="*/ 225657 w 526593"/>
                <a:gd name="connsiteY29" fmla="*/ 395001 h 403224"/>
                <a:gd name="connsiteX30" fmla="*/ 24210 w 526593"/>
                <a:gd name="connsiteY30" fmla="*/ 384312 h 403224"/>
                <a:gd name="connsiteX31" fmla="*/ 5299 w 526593"/>
                <a:gd name="connsiteY31" fmla="*/ 392535 h 403224"/>
                <a:gd name="connsiteX32" fmla="*/ 365 w 526593"/>
                <a:gd name="connsiteY32" fmla="*/ 403224 h 403224"/>
                <a:gd name="connsiteX33" fmla="*/ 365 w 526593"/>
                <a:gd name="connsiteY33" fmla="*/ 395824 h 403224"/>
                <a:gd name="connsiteX34" fmla="*/ 6943 w 526593"/>
                <a:gd name="connsiteY34" fmla="*/ 373622 h 403224"/>
                <a:gd name="connsiteX35" fmla="*/ 63677 w 526593"/>
                <a:gd name="connsiteY35" fmla="*/ 374444 h 403224"/>
                <a:gd name="connsiteX36" fmla="*/ 118767 w 526593"/>
                <a:gd name="connsiteY36" fmla="*/ 381023 h 403224"/>
                <a:gd name="connsiteX37" fmla="*/ 189328 w 526593"/>
                <a:gd name="connsiteY37" fmla="*/ 345304 h 403224"/>
                <a:gd name="connsiteX38" fmla="*/ 160766 w 526593"/>
                <a:gd name="connsiteY38" fmla="*/ 311943 h 403224"/>
                <a:gd name="connsiteX39" fmla="*/ 95270 w 526593"/>
                <a:gd name="connsiteY39" fmla="*/ 326231 h 403224"/>
                <a:gd name="connsiteX40" fmla="*/ 64102 w 526593"/>
                <a:gd name="connsiteY40" fmla="*/ 374417 h 403224"/>
                <a:gd name="connsiteX41" fmla="*/ 7481 w 526593"/>
                <a:gd name="connsiteY41" fmla="*/ 374417 h 403224"/>
                <a:gd name="connsiteX42" fmla="*/ 12405 w 526593"/>
                <a:gd name="connsiteY42" fmla="*/ 353845 h 403224"/>
                <a:gd name="connsiteX43" fmla="*/ 27996 w 526593"/>
                <a:gd name="connsiteY43" fmla="*/ 326689 h 403224"/>
                <a:gd name="connsiteX44" fmla="*/ 41125 w 526593"/>
                <a:gd name="connsiteY44" fmla="*/ 320106 h 403224"/>
                <a:gd name="connsiteX45" fmla="*/ 53434 w 526593"/>
                <a:gd name="connsiteY45" fmla="*/ 302002 h 403224"/>
                <a:gd name="connsiteX46" fmla="*/ 68205 w 526593"/>
                <a:gd name="connsiteY46" fmla="*/ 281430 h 403224"/>
                <a:gd name="connsiteX47" fmla="*/ 69025 w 526593"/>
                <a:gd name="connsiteY47" fmla="*/ 269909 h 403224"/>
                <a:gd name="connsiteX48" fmla="*/ 97746 w 526593"/>
                <a:gd name="connsiteY48" fmla="*/ 234525 h 403224"/>
                <a:gd name="connsiteX49" fmla="*/ 106773 w 526593"/>
                <a:gd name="connsiteY49" fmla="*/ 217244 h 403224"/>
                <a:gd name="connsiteX50" fmla="*/ 144520 w 526593"/>
                <a:gd name="connsiteY50" fmla="*/ 182683 h 403224"/>
                <a:gd name="connsiteX51" fmla="*/ 160932 w 526593"/>
                <a:gd name="connsiteY51" fmla="*/ 161287 h 403224"/>
                <a:gd name="connsiteX52" fmla="*/ 167497 w 526593"/>
                <a:gd name="connsiteY52" fmla="*/ 147298 h 403224"/>
                <a:gd name="connsiteX53" fmla="*/ 177344 w 526593"/>
                <a:gd name="connsiteY53" fmla="*/ 126726 h 403224"/>
                <a:gd name="connsiteX54" fmla="*/ 192935 w 526593"/>
                <a:gd name="connsiteY54" fmla="*/ 94633 h 403224"/>
                <a:gd name="connsiteX55" fmla="*/ 210167 w 526593"/>
                <a:gd name="connsiteY55" fmla="*/ 76529 h 403224"/>
                <a:gd name="connsiteX56" fmla="*/ 225759 w 526593"/>
                <a:gd name="connsiteY56" fmla="*/ 68300 h 403224"/>
                <a:gd name="connsiteX57" fmla="*/ 250376 w 526593"/>
                <a:gd name="connsiteY57" fmla="*/ 54311 h 403224"/>
                <a:gd name="connsiteX58" fmla="*/ 257762 w 526593"/>
                <a:gd name="connsiteY58" fmla="*/ 45259 h 403224"/>
                <a:gd name="connsiteX59" fmla="*/ 273353 w 526593"/>
                <a:gd name="connsiteY59" fmla="*/ 18927 h 403224"/>
                <a:gd name="connsiteX60" fmla="*/ 288124 w 526593"/>
                <a:gd name="connsiteY60" fmla="*/ 823 h 403224"/>
                <a:gd name="connsiteX61" fmla="*/ 288124 w 526593"/>
                <a:gd name="connsiteY61" fmla="*/ 0 h 403224"/>
                <a:gd name="connsiteX0" fmla="*/ 444340 w 526593"/>
                <a:gd name="connsiteY0" fmla="*/ 60346 h 403224"/>
                <a:gd name="connsiteX1" fmla="*/ 442417 w 526593"/>
                <a:gd name="connsiteY1" fmla="*/ 61054 h 403224"/>
                <a:gd name="connsiteX2" fmla="*/ 444340 w 526593"/>
                <a:gd name="connsiteY2" fmla="*/ 60346 h 403224"/>
                <a:gd name="connsiteX3" fmla="*/ 288124 w 526593"/>
                <a:gd name="connsiteY3" fmla="*/ 0 h 403224"/>
                <a:gd name="connsiteX4" fmla="*/ 514607 w 526593"/>
                <a:gd name="connsiteY4" fmla="*/ 13989 h 403224"/>
                <a:gd name="connsiteX5" fmla="*/ 516761 w 526593"/>
                <a:gd name="connsiteY5" fmla="*/ 29110 h 403224"/>
                <a:gd name="connsiteX6" fmla="*/ 517069 w 526593"/>
                <a:gd name="connsiteY6" fmla="*/ 31270 h 403224"/>
                <a:gd name="connsiteX7" fmla="*/ 514197 w 526593"/>
                <a:gd name="connsiteY7" fmla="*/ 43511 h 403224"/>
                <a:gd name="connsiteX8" fmla="*/ 513787 w 526593"/>
                <a:gd name="connsiteY8" fmla="*/ 45259 h 403224"/>
                <a:gd name="connsiteX9" fmla="*/ 513787 w 526593"/>
                <a:gd name="connsiteY9" fmla="*/ 51019 h 403224"/>
                <a:gd name="connsiteX10" fmla="*/ 513787 w 526593"/>
                <a:gd name="connsiteY10" fmla="*/ 51842 h 403224"/>
                <a:gd name="connsiteX11" fmla="*/ 479322 w 526593"/>
                <a:gd name="connsiteY11" fmla="*/ 55134 h 403224"/>
                <a:gd name="connsiteX12" fmla="*/ 452285 w 526593"/>
                <a:gd name="connsiteY12" fmla="*/ 67458 h 403224"/>
                <a:gd name="connsiteX13" fmla="*/ 479726 w 526593"/>
                <a:gd name="connsiteY13" fmla="*/ 55401 h 403224"/>
                <a:gd name="connsiteX14" fmla="*/ 510971 w 526593"/>
                <a:gd name="connsiteY14" fmla="*/ 55401 h 403224"/>
                <a:gd name="connsiteX15" fmla="*/ 514260 w 526593"/>
                <a:gd name="connsiteY15" fmla="*/ 46356 h 403224"/>
                <a:gd name="connsiteX16" fmla="*/ 514260 w 526593"/>
                <a:gd name="connsiteY16" fmla="*/ 45534 h 403224"/>
                <a:gd name="connsiteX17" fmla="*/ 517137 w 526593"/>
                <a:gd name="connsiteY17" fmla="*/ 33302 h 403224"/>
                <a:gd name="connsiteX18" fmla="*/ 517549 w 526593"/>
                <a:gd name="connsiteY18" fmla="*/ 31555 h 403224"/>
                <a:gd name="connsiteX19" fmla="*/ 515390 w 526593"/>
                <a:gd name="connsiteY19" fmla="*/ 16446 h 403224"/>
                <a:gd name="connsiteX20" fmla="*/ 515082 w 526593"/>
                <a:gd name="connsiteY20" fmla="*/ 14287 h 403224"/>
                <a:gd name="connsiteX21" fmla="*/ 526593 w 526593"/>
                <a:gd name="connsiteY21" fmla="*/ 15109 h 403224"/>
                <a:gd name="connsiteX22" fmla="*/ 523304 w 526593"/>
                <a:gd name="connsiteY22" fmla="*/ 38133 h 403224"/>
                <a:gd name="connsiteX23" fmla="*/ 510971 w 526593"/>
                <a:gd name="connsiteY23" fmla="*/ 117894 h 403224"/>
                <a:gd name="connsiteX24" fmla="*/ 325969 w 526593"/>
                <a:gd name="connsiteY24" fmla="*/ 108027 h 403224"/>
                <a:gd name="connsiteX25" fmla="*/ 301302 w 526593"/>
                <a:gd name="connsiteY25" fmla="*/ 265904 h 403224"/>
                <a:gd name="connsiteX26" fmla="*/ 270879 w 526593"/>
                <a:gd name="connsiteY26" fmla="*/ 274127 h 403224"/>
                <a:gd name="connsiteX27" fmla="*/ 234701 w 526593"/>
                <a:gd name="connsiteY27" fmla="*/ 296328 h 403224"/>
                <a:gd name="connsiteX28" fmla="*/ 231412 w 526593"/>
                <a:gd name="connsiteY28" fmla="*/ 322641 h 403224"/>
                <a:gd name="connsiteX29" fmla="*/ 225657 w 526593"/>
                <a:gd name="connsiteY29" fmla="*/ 395001 h 403224"/>
                <a:gd name="connsiteX30" fmla="*/ 24210 w 526593"/>
                <a:gd name="connsiteY30" fmla="*/ 384312 h 403224"/>
                <a:gd name="connsiteX31" fmla="*/ 5299 w 526593"/>
                <a:gd name="connsiteY31" fmla="*/ 392535 h 403224"/>
                <a:gd name="connsiteX32" fmla="*/ 365 w 526593"/>
                <a:gd name="connsiteY32" fmla="*/ 403224 h 403224"/>
                <a:gd name="connsiteX33" fmla="*/ 365 w 526593"/>
                <a:gd name="connsiteY33" fmla="*/ 395824 h 403224"/>
                <a:gd name="connsiteX34" fmla="*/ 6943 w 526593"/>
                <a:gd name="connsiteY34" fmla="*/ 373622 h 403224"/>
                <a:gd name="connsiteX35" fmla="*/ 63677 w 526593"/>
                <a:gd name="connsiteY35" fmla="*/ 374444 h 403224"/>
                <a:gd name="connsiteX36" fmla="*/ 118767 w 526593"/>
                <a:gd name="connsiteY36" fmla="*/ 381023 h 403224"/>
                <a:gd name="connsiteX37" fmla="*/ 189328 w 526593"/>
                <a:gd name="connsiteY37" fmla="*/ 345304 h 403224"/>
                <a:gd name="connsiteX38" fmla="*/ 95270 w 526593"/>
                <a:gd name="connsiteY38" fmla="*/ 326231 h 403224"/>
                <a:gd name="connsiteX39" fmla="*/ 64102 w 526593"/>
                <a:gd name="connsiteY39" fmla="*/ 374417 h 403224"/>
                <a:gd name="connsiteX40" fmla="*/ 7481 w 526593"/>
                <a:gd name="connsiteY40" fmla="*/ 374417 h 403224"/>
                <a:gd name="connsiteX41" fmla="*/ 12405 w 526593"/>
                <a:gd name="connsiteY41" fmla="*/ 353845 h 403224"/>
                <a:gd name="connsiteX42" fmla="*/ 27996 w 526593"/>
                <a:gd name="connsiteY42" fmla="*/ 326689 h 403224"/>
                <a:gd name="connsiteX43" fmla="*/ 41125 w 526593"/>
                <a:gd name="connsiteY43" fmla="*/ 320106 h 403224"/>
                <a:gd name="connsiteX44" fmla="*/ 53434 w 526593"/>
                <a:gd name="connsiteY44" fmla="*/ 302002 h 403224"/>
                <a:gd name="connsiteX45" fmla="*/ 68205 w 526593"/>
                <a:gd name="connsiteY45" fmla="*/ 281430 h 403224"/>
                <a:gd name="connsiteX46" fmla="*/ 69025 w 526593"/>
                <a:gd name="connsiteY46" fmla="*/ 269909 h 403224"/>
                <a:gd name="connsiteX47" fmla="*/ 97746 w 526593"/>
                <a:gd name="connsiteY47" fmla="*/ 234525 h 403224"/>
                <a:gd name="connsiteX48" fmla="*/ 106773 w 526593"/>
                <a:gd name="connsiteY48" fmla="*/ 217244 h 403224"/>
                <a:gd name="connsiteX49" fmla="*/ 144520 w 526593"/>
                <a:gd name="connsiteY49" fmla="*/ 182683 h 403224"/>
                <a:gd name="connsiteX50" fmla="*/ 160932 w 526593"/>
                <a:gd name="connsiteY50" fmla="*/ 161287 h 403224"/>
                <a:gd name="connsiteX51" fmla="*/ 167497 w 526593"/>
                <a:gd name="connsiteY51" fmla="*/ 147298 h 403224"/>
                <a:gd name="connsiteX52" fmla="*/ 177344 w 526593"/>
                <a:gd name="connsiteY52" fmla="*/ 126726 h 403224"/>
                <a:gd name="connsiteX53" fmla="*/ 192935 w 526593"/>
                <a:gd name="connsiteY53" fmla="*/ 94633 h 403224"/>
                <a:gd name="connsiteX54" fmla="*/ 210167 w 526593"/>
                <a:gd name="connsiteY54" fmla="*/ 76529 h 403224"/>
                <a:gd name="connsiteX55" fmla="*/ 225759 w 526593"/>
                <a:gd name="connsiteY55" fmla="*/ 68300 h 403224"/>
                <a:gd name="connsiteX56" fmla="*/ 250376 w 526593"/>
                <a:gd name="connsiteY56" fmla="*/ 54311 h 403224"/>
                <a:gd name="connsiteX57" fmla="*/ 257762 w 526593"/>
                <a:gd name="connsiteY57" fmla="*/ 45259 h 403224"/>
                <a:gd name="connsiteX58" fmla="*/ 273353 w 526593"/>
                <a:gd name="connsiteY58" fmla="*/ 18927 h 403224"/>
                <a:gd name="connsiteX59" fmla="*/ 288124 w 526593"/>
                <a:gd name="connsiteY59" fmla="*/ 823 h 403224"/>
                <a:gd name="connsiteX60" fmla="*/ 288124 w 526593"/>
                <a:gd name="connsiteY60" fmla="*/ 0 h 403224"/>
                <a:gd name="connsiteX0" fmla="*/ 444340 w 526593"/>
                <a:gd name="connsiteY0" fmla="*/ 60346 h 403224"/>
                <a:gd name="connsiteX1" fmla="*/ 442417 w 526593"/>
                <a:gd name="connsiteY1" fmla="*/ 61054 h 403224"/>
                <a:gd name="connsiteX2" fmla="*/ 444340 w 526593"/>
                <a:gd name="connsiteY2" fmla="*/ 60346 h 403224"/>
                <a:gd name="connsiteX3" fmla="*/ 288124 w 526593"/>
                <a:gd name="connsiteY3" fmla="*/ 0 h 403224"/>
                <a:gd name="connsiteX4" fmla="*/ 514607 w 526593"/>
                <a:gd name="connsiteY4" fmla="*/ 13989 h 403224"/>
                <a:gd name="connsiteX5" fmla="*/ 516761 w 526593"/>
                <a:gd name="connsiteY5" fmla="*/ 29110 h 403224"/>
                <a:gd name="connsiteX6" fmla="*/ 517069 w 526593"/>
                <a:gd name="connsiteY6" fmla="*/ 31270 h 403224"/>
                <a:gd name="connsiteX7" fmla="*/ 514197 w 526593"/>
                <a:gd name="connsiteY7" fmla="*/ 43511 h 403224"/>
                <a:gd name="connsiteX8" fmla="*/ 513787 w 526593"/>
                <a:gd name="connsiteY8" fmla="*/ 45259 h 403224"/>
                <a:gd name="connsiteX9" fmla="*/ 513787 w 526593"/>
                <a:gd name="connsiteY9" fmla="*/ 51019 h 403224"/>
                <a:gd name="connsiteX10" fmla="*/ 513787 w 526593"/>
                <a:gd name="connsiteY10" fmla="*/ 51842 h 403224"/>
                <a:gd name="connsiteX11" fmla="*/ 479322 w 526593"/>
                <a:gd name="connsiteY11" fmla="*/ 55134 h 403224"/>
                <a:gd name="connsiteX12" fmla="*/ 452285 w 526593"/>
                <a:gd name="connsiteY12" fmla="*/ 67458 h 403224"/>
                <a:gd name="connsiteX13" fmla="*/ 479726 w 526593"/>
                <a:gd name="connsiteY13" fmla="*/ 55401 h 403224"/>
                <a:gd name="connsiteX14" fmla="*/ 510971 w 526593"/>
                <a:gd name="connsiteY14" fmla="*/ 55401 h 403224"/>
                <a:gd name="connsiteX15" fmla="*/ 514260 w 526593"/>
                <a:gd name="connsiteY15" fmla="*/ 46356 h 403224"/>
                <a:gd name="connsiteX16" fmla="*/ 514260 w 526593"/>
                <a:gd name="connsiteY16" fmla="*/ 45534 h 403224"/>
                <a:gd name="connsiteX17" fmla="*/ 517137 w 526593"/>
                <a:gd name="connsiteY17" fmla="*/ 33302 h 403224"/>
                <a:gd name="connsiteX18" fmla="*/ 517549 w 526593"/>
                <a:gd name="connsiteY18" fmla="*/ 31555 h 403224"/>
                <a:gd name="connsiteX19" fmla="*/ 515390 w 526593"/>
                <a:gd name="connsiteY19" fmla="*/ 16446 h 403224"/>
                <a:gd name="connsiteX20" fmla="*/ 515082 w 526593"/>
                <a:gd name="connsiteY20" fmla="*/ 14287 h 403224"/>
                <a:gd name="connsiteX21" fmla="*/ 526593 w 526593"/>
                <a:gd name="connsiteY21" fmla="*/ 15109 h 403224"/>
                <a:gd name="connsiteX22" fmla="*/ 523304 w 526593"/>
                <a:gd name="connsiteY22" fmla="*/ 38133 h 403224"/>
                <a:gd name="connsiteX23" fmla="*/ 510971 w 526593"/>
                <a:gd name="connsiteY23" fmla="*/ 117894 h 403224"/>
                <a:gd name="connsiteX24" fmla="*/ 325969 w 526593"/>
                <a:gd name="connsiteY24" fmla="*/ 108027 h 403224"/>
                <a:gd name="connsiteX25" fmla="*/ 301302 w 526593"/>
                <a:gd name="connsiteY25" fmla="*/ 265904 h 403224"/>
                <a:gd name="connsiteX26" fmla="*/ 270879 w 526593"/>
                <a:gd name="connsiteY26" fmla="*/ 274127 h 403224"/>
                <a:gd name="connsiteX27" fmla="*/ 234701 w 526593"/>
                <a:gd name="connsiteY27" fmla="*/ 296328 h 403224"/>
                <a:gd name="connsiteX28" fmla="*/ 231412 w 526593"/>
                <a:gd name="connsiteY28" fmla="*/ 322641 h 403224"/>
                <a:gd name="connsiteX29" fmla="*/ 225657 w 526593"/>
                <a:gd name="connsiteY29" fmla="*/ 395001 h 403224"/>
                <a:gd name="connsiteX30" fmla="*/ 24210 w 526593"/>
                <a:gd name="connsiteY30" fmla="*/ 384312 h 403224"/>
                <a:gd name="connsiteX31" fmla="*/ 5299 w 526593"/>
                <a:gd name="connsiteY31" fmla="*/ 392535 h 403224"/>
                <a:gd name="connsiteX32" fmla="*/ 365 w 526593"/>
                <a:gd name="connsiteY32" fmla="*/ 403224 h 403224"/>
                <a:gd name="connsiteX33" fmla="*/ 365 w 526593"/>
                <a:gd name="connsiteY33" fmla="*/ 395824 h 403224"/>
                <a:gd name="connsiteX34" fmla="*/ 6943 w 526593"/>
                <a:gd name="connsiteY34" fmla="*/ 373622 h 403224"/>
                <a:gd name="connsiteX35" fmla="*/ 63677 w 526593"/>
                <a:gd name="connsiteY35" fmla="*/ 374444 h 403224"/>
                <a:gd name="connsiteX36" fmla="*/ 118767 w 526593"/>
                <a:gd name="connsiteY36" fmla="*/ 381023 h 403224"/>
                <a:gd name="connsiteX37" fmla="*/ 95270 w 526593"/>
                <a:gd name="connsiteY37" fmla="*/ 326231 h 403224"/>
                <a:gd name="connsiteX38" fmla="*/ 64102 w 526593"/>
                <a:gd name="connsiteY38" fmla="*/ 374417 h 403224"/>
                <a:gd name="connsiteX39" fmla="*/ 7481 w 526593"/>
                <a:gd name="connsiteY39" fmla="*/ 374417 h 403224"/>
                <a:gd name="connsiteX40" fmla="*/ 12405 w 526593"/>
                <a:gd name="connsiteY40" fmla="*/ 353845 h 403224"/>
                <a:gd name="connsiteX41" fmla="*/ 27996 w 526593"/>
                <a:gd name="connsiteY41" fmla="*/ 326689 h 403224"/>
                <a:gd name="connsiteX42" fmla="*/ 41125 w 526593"/>
                <a:gd name="connsiteY42" fmla="*/ 320106 h 403224"/>
                <a:gd name="connsiteX43" fmla="*/ 53434 w 526593"/>
                <a:gd name="connsiteY43" fmla="*/ 302002 h 403224"/>
                <a:gd name="connsiteX44" fmla="*/ 68205 w 526593"/>
                <a:gd name="connsiteY44" fmla="*/ 281430 h 403224"/>
                <a:gd name="connsiteX45" fmla="*/ 69025 w 526593"/>
                <a:gd name="connsiteY45" fmla="*/ 269909 h 403224"/>
                <a:gd name="connsiteX46" fmla="*/ 97746 w 526593"/>
                <a:gd name="connsiteY46" fmla="*/ 234525 h 403224"/>
                <a:gd name="connsiteX47" fmla="*/ 106773 w 526593"/>
                <a:gd name="connsiteY47" fmla="*/ 217244 h 403224"/>
                <a:gd name="connsiteX48" fmla="*/ 144520 w 526593"/>
                <a:gd name="connsiteY48" fmla="*/ 182683 h 403224"/>
                <a:gd name="connsiteX49" fmla="*/ 160932 w 526593"/>
                <a:gd name="connsiteY49" fmla="*/ 161287 h 403224"/>
                <a:gd name="connsiteX50" fmla="*/ 167497 w 526593"/>
                <a:gd name="connsiteY50" fmla="*/ 147298 h 403224"/>
                <a:gd name="connsiteX51" fmla="*/ 177344 w 526593"/>
                <a:gd name="connsiteY51" fmla="*/ 126726 h 403224"/>
                <a:gd name="connsiteX52" fmla="*/ 192935 w 526593"/>
                <a:gd name="connsiteY52" fmla="*/ 94633 h 403224"/>
                <a:gd name="connsiteX53" fmla="*/ 210167 w 526593"/>
                <a:gd name="connsiteY53" fmla="*/ 76529 h 403224"/>
                <a:gd name="connsiteX54" fmla="*/ 225759 w 526593"/>
                <a:gd name="connsiteY54" fmla="*/ 68300 h 403224"/>
                <a:gd name="connsiteX55" fmla="*/ 250376 w 526593"/>
                <a:gd name="connsiteY55" fmla="*/ 54311 h 403224"/>
                <a:gd name="connsiteX56" fmla="*/ 257762 w 526593"/>
                <a:gd name="connsiteY56" fmla="*/ 45259 h 403224"/>
                <a:gd name="connsiteX57" fmla="*/ 273353 w 526593"/>
                <a:gd name="connsiteY57" fmla="*/ 18927 h 403224"/>
                <a:gd name="connsiteX58" fmla="*/ 288124 w 526593"/>
                <a:gd name="connsiteY58" fmla="*/ 823 h 403224"/>
                <a:gd name="connsiteX59" fmla="*/ 288124 w 526593"/>
                <a:gd name="connsiteY59" fmla="*/ 0 h 403224"/>
                <a:gd name="connsiteX0" fmla="*/ 444340 w 526593"/>
                <a:gd name="connsiteY0" fmla="*/ 60346 h 403224"/>
                <a:gd name="connsiteX1" fmla="*/ 442417 w 526593"/>
                <a:gd name="connsiteY1" fmla="*/ 61054 h 403224"/>
                <a:gd name="connsiteX2" fmla="*/ 444340 w 526593"/>
                <a:gd name="connsiteY2" fmla="*/ 60346 h 403224"/>
                <a:gd name="connsiteX3" fmla="*/ 288124 w 526593"/>
                <a:gd name="connsiteY3" fmla="*/ 0 h 403224"/>
                <a:gd name="connsiteX4" fmla="*/ 514607 w 526593"/>
                <a:gd name="connsiteY4" fmla="*/ 13989 h 403224"/>
                <a:gd name="connsiteX5" fmla="*/ 516761 w 526593"/>
                <a:gd name="connsiteY5" fmla="*/ 29110 h 403224"/>
                <a:gd name="connsiteX6" fmla="*/ 517069 w 526593"/>
                <a:gd name="connsiteY6" fmla="*/ 31270 h 403224"/>
                <a:gd name="connsiteX7" fmla="*/ 514197 w 526593"/>
                <a:gd name="connsiteY7" fmla="*/ 43511 h 403224"/>
                <a:gd name="connsiteX8" fmla="*/ 513787 w 526593"/>
                <a:gd name="connsiteY8" fmla="*/ 45259 h 403224"/>
                <a:gd name="connsiteX9" fmla="*/ 513787 w 526593"/>
                <a:gd name="connsiteY9" fmla="*/ 51019 h 403224"/>
                <a:gd name="connsiteX10" fmla="*/ 513787 w 526593"/>
                <a:gd name="connsiteY10" fmla="*/ 51842 h 403224"/>
                <a:gd name="connsiteX11" fmla="*/ 479322 w 526593"/>
                <a:gd name="connsiteY11" fmla="*/ 55134 h 403224"/>
                <a:gd name="connsiteX12" fmla="*/ 452285 w 526593"/>
                <a:gd name="connsiteY12" fmla="*/ 67458 h 403224"/>
                <a:gd name="connsiteX13" fmla="*/ 479726 w 526593"/>
                <a:gd name="connsiteY13" fmla="*/ 55401 h 403224"/>
                <a:gd name="connsiteX14" fmla="*/ 510971 w 526593"/>
                <a:gd name="connsiteY14" fmla="*/ 55401 h 403224"/>
                <a:gd name="connsiteX15" fmla="*/ 514260 w 526593"/>
                <a:gd name="connsiteY15" fmla="*/ 46356 h 403224"/>
                <a:gd name="connsiteX16" fmla="*/ 514260 w 526593"/>
                <a:gd name="connsiteY16" fmla="*/ 45534 h 403224"/>
                <a:gd name="connsiteX17" fmla="*/ 517137 w 526593"/>
                <a:gd name="connsiteY17" fmla="*/ 33302 h 403224"/>
                <a:gd name="connsiteX18" fmla="*/ 517549 w 526593"/>
                <a:gd name="connsiteY18" fmla="*/ 31555 h 403224"/>
                <a:gd name="connsiteX19" fmla="*/ 515390 w 526593"/>
                <a:gd name="connsiteY19" fmla="*/ 16446 h 403224"/>
                <a:gd name="connsiteX20" fmla="*/ 515082 w 526593"/>
                <a:gd name="connsiteY20" fmla="*/ 14287 h 403224"/>
                <a:gd name="connsiteX21" fmla="*/ 526593 w 526593"/>
                <a:gd name="connsiteY21" fmla="*/ 15109 h 403224"/>
                <a:gd name="connsiteX22" fmla="*/ 523304 w 526593"/>
                <a:gd name="connsiteY22" fmla="*/ 38133 h 403224"/>
                <a:gd name="connsiteX23" fmla="*/ 510971 w 526593"/>
                <a:gd name="connsiteY23" fmla="*/ 117894 h 403224"/>
                <a:gd name="connsiteX24" fmla="*/ 325969 w 526593"/>
                <a:gd name="connsiteY24" fmla="*/ 108027 h 403224"/>
                <a:gd name="connsiteX25" fmla="*/ 301302 w 526593"/>
                <a:gd name="connsiteY25" fmla="*/ 265904 h 403224"/>
                <a:gd name="connsiteX26" fmla="*/ 270879 w 526593"/>
                <a:gd name="connsiteY26" fmla="*/ 274127 h 403224"/>
                <a:gd name="connsiteX27" fmla="*/ 234701 w 526593"/>
                <a:gd name="connsiteY27" fmla="*/ 296328 h 403224"/>
                <a:gd name="connsiteX28" fmla="*/ 231412 w 526593"/>
                <a:gd name="connsiteY28" fmla="*/ 322641 h 403224"/>
                <a:gd name="connsiteX29" fmla="*/ 225657 w 526593"/>
                <a:gd name="connsiteY29" fmla="*/ 395001 h 403224"/>
                <a:gd name="connsiteX30" fmla="*/ 24210 w 526593"/>
                <a:gd name="connsiteY30" fmla="*/ 384312 h 403224"/>
                <a:gd name="connsiteX31" fmla="*/ 5299 w 526593"/>
                <a:gd name="connsiteY31" fmla="*/ 392535 h 403224"/>
                <a:gd name="connsiteX32" fmla="*/ 365 w 526593"/>
                <a:gd name="connsiteY32" fmla="*/ 403224 h 403224"/>
                <a:gd name="connsiteX33" fmla="*/ 365 w 526593"/>
                <a:gd name="connsiteY33" fmla="*/ 395824 h 403224"/>
                <a:gd name="connsiteX34" fmla="*/ 6943 w 526593"/>
                <a:gd name="connsiteY34" fmla="*/ 373622 h 403224"/>
                <a:gd name="connsiteX35" fmla="*/ 63677 w 526593"/>
                <a:gd name="connsiteY35" fmla="*/ 374444 h 403224"/>
                <a:gd name="connsiteX36" fmla="*/ 95270 w 526593"/>
                <a:gd name="connsiteY36" fmla="*/ 326231 h 403224"/>
                <a:gd name="connsiteX37" fmla="*/ 64102 w 526593"/>
                <a:gd name="connsiteY37" fmla="*/ 374417 h 403224"/>
                <a:gd name="connsiteX38" fmla="*/ 7481 w 526593"/>
                <a:gd name="connsiteY38" fmla="*/ 374417 h 403224"/>
                <a:gd name="connsiteX39" fmla="*/ 12405 w 526593"/>
                <a:gd name="connsiteY39" fmla="*/ 353845 h 403224"/>
                <a:gd name="connsiteX40" fmla="*/ 27996 w 526593"/>
                <a:gd name="connsiteY40" fmla="*/ 326689 h 403224"/>
                <a:gd name="connsiteX41" fmla="*/ 41125 w 526593"/>
                <a:gd name="connsiteY41" fmla="*/ 320106 h 403224"/>
                <a:gd name="connsiteX42" fmla="*/ 53434 w 526593"/>
                <a:gd name="connsiteY42" fmla="*/ 302002 h 403224"/>
                <a:gd name="connsiteX43" fmla="*/ 68205 w 526593"/>
                <a:gd name="connsiteY43" fmla="*/ 281430 h 403224"/>
                <a:gd name="connsiteX44" fmla="*/ 69025 w 526593"/>
                <a:gd name="connsiteY44" fmla="*/ 269909 h 403224"/>
                <a:gd name="connsiteX45" fmla="*/ 97746 w 526593"/>
                <a:gd name="connsiteY45" fmla="*/ 234525 h 403224"/>
                <a:gd name="connsiteX46" fmla="*/ 106773 w 526593"/>
                <a:gd name="connsiteY46" fmla="*/ 217244 h 403224"/>
                <a:gd name="connsiteX47" fmla="*/ 144520 w 526593"/>
                <a:gd name="connsiteY47" fmla="*/ 182683 h 403224"/>
                <a:gd name="connsiteX48" fmla="*/ 160932 w 526593"/>
                <a:gd name="connsiteY48" fmla="*/ 161287 h 403224"/>
                <a:gd name="connsiteX49" fmla="*/ 167497 w 526593"/>
                <a:gd name="connsiteY49" fmla="*/ 147298 h 403224"/>
                <a:gd name="connsiteX50" fmla="*/ 177344 w 526593"/>
                <a:gd name="connsiteY50" fmla="*/ 126726 h 403224"/>
                <a:gd name="connsiteX51" fmla="*/ 192935 w 526593"/>
                <a:gd name="connsiteY51" fmla="*/ 94633 h 403224"/>
                <a:gd name="connsiteX52" fmla="*/ 210167 w 526593"/>
                <a:gd name="connsiteY52" fmla="*/ 76529 h 403224"/>
                <a:gd name="connsiteX53" fmla="*/ 225759 w 526593"/>
                <a:gd name="connsiteY53" fmla="*/ 68300 h 403224"/>
                <a:gd name="connsiteX54" fmla="*/ 250376 w 526593"/>
                <a:gd name="connsiteY54" fmla="*/ 54311 h 403224"/>
                <a:gd name="connsiteX55" fmla="*/ 257762 w 526593"/>
                <a:gd name="connsiteY55" fmla="*/ 45259 h 403224"/>
                <a:gd name="connsiteX56" fmla="*/ 273353 w 526593"/>
                <a:gd name="connsiteY56" fmla="*/ 18927 h 403224"/>
                <a:gd name="connsiteX57" fmla="*/ 288124 w 526593"/>
                <a:gd name="connsiteY57" fmla="*/ 823 h 403224"/>
                <a:gd name="connsiteX58" fmla="*/ 288124 w 526593"/>
                <a:gd name="connsiteY58" fmla="*/ 0 h 403224"/>
                <a:gd name="connsiteX0" fmla="*/ 444340 w 526593"/>
                <a:gd name="connsiteY0" fmla="*/ 60346 h 403224"/>
                <a:gd name="connsiteX1" fmla="*/ 442417 w 526593"/>
                <a:gd name="connsiteY1" fmla="*/ 61054 h 403224"/>
                <a:gd name="connsiteX2" fmla="*/ 444340 w 526593"/>
                <a:gd name="connsiteY2" fmla="*/ 60346 h 403224"/>
                <a:gd name="connsiteX3" fmla="*/ 288124 w 526593"/>
                <a:gd name="connsiteY3" fmla="*/ 0 h 403224"/>
                <a:gd name="connsiteX4" fmla="*/ 514607 w 526593"/>
                <a:gd name="connsiteY4" fmla="*/ 13989 h 403224"/>
                <a:gd name="connsiteX5" fmla="*/ 516761 w 526593"/>
                <a:gd name="connsiteY5" fmla="*/ 29110 h 403224"/>
                <a:gd name="connsiteX6" fmla="*/ 517069 w 526593"/>
                <a:gd name="connsiteY6" fmla="*/ 31270 h 403224"/>
                <a:gd name="connsiteX7" fmla="*/ 514197 w 526593"/>
                <a:gd name="connsiteY7" fmla="*/ 43511 h 403224"/>
                <a:gd name="connsiteX8" fmla="*/ 513787 w 526593"/>
                <a:gd name="connsiteY8" fmla="*/ 45259 h 403224"/>
                <a:gd name="connsiteX9" fmla="*/ 513787 w 526593"/>
                <a:gd name="connsiteY9" fmla="*/ 51019 h 403224"/>
                <a:gd name="connsiteX10" fmla="*/ 513787 w 526593"/>
                <a:gd name="connsiteY10" fmla="*/ 51842 h 403224"/>
                <a:gd name="connsiteX11" fmla="*/ 479322 w 526593"/>
                <a:gd name="connsiteY11" fmla="*/ 55134 h 403224"/>
                <a:gd name="connsiteX12" fmla="*/ 452285 w 526593"/>
                <a:gd name="connsiteY12" fmla="*/ 67458 h 403224"/>
                <a:gd name="connsiteX13" fmla="*/ 479726 w 526593"/>
                <a:gd name="connsiteY13" fmla="*/ 55401 h 403224"/>
                <a:gd name="connsiteX14" fmla="*/ 510971 w 526593"/>
                <a:gd name="connsiteY14" fmla="*/ 55401 h 403224"/>
                <a:gd name="connsiteX15" fmla="*/ 514260 w 526593"/>
                <a:gd name="connsiteY15" fmla="*/ 46356 h 403224"/>
                <a:gd name="connsiteX16" fmla="*/ 514260 w 526593"/>
                <a:gd name="connsiteY16" fmla="*/ 45534 h 403224"/>
                <a:gd name="connsiteX17" fmla="*/ 517137 w 526593"/>
                <a:gd name="connsiteY17" fmla="*/ 33302 h 403224"/>
                <a:gd name="connsiteX18" fmla="*/ 517549 w 526593"/>
                <a:gd name="connsiteY18" fmla="*/ 31555 h 403224"/>
                <a:gd name="connsiteX19" fmla="*/ 515390 w 526593"/>
                <a:gd name="connsiteY19" fmla="*/ 16446 h 403224"/>
                <a:gd name="connsiteX20" fmla="*/ 515082 w 526593"/>
                <a:gd name="connsiteY20" fmla="*/ 14287 h 403224"/>
                <a:gd name="connsiteX21" fmla="*/ 526593 w 526593"/>
                <a:gd name="connsiteY21" fmla="*/ 15109 h 403224"/>
                <a:gd name="connsiteX22" fmla="*/ 523304 w 526593"/>
                <a:gd name="connsiteY22" fmla="*/ 38133 h 403224"/>
                <a:gd name="connsiteX23" fmla="*/ 510971 w 526593"/>
                <a:gd name="connsiteY23" fmla="*/ 117894 h 403224"/>
                <a:gd name="connsiteX24" fmla="*/ 325969 w 526593"/>
                <a:gd name="connsiteY24" fmla="*/ 108027 h 403224"/>
                <a:gd name="connsiteX25" fmla="*/ 301302 w 526593"/>
                <a:gd name="connsiteY25" fmla="*/ 265904 h 403224"/>
                <a:gd name="connsiteX26" fmla="*/ 270879 w 526593"/>
                <a:gd name="connsiteY26" fmla="*/ 274127 h 403224"/>
                <a:gd name="connsiteX27" fmla="*/ 234701 w 526593"/>
                <a:gd name="connsiteY27" fmla="*/ 296328 h 403224"/>
                <a:gd name="connsiteX28" fmla="*/ 231412 w 526593"/>
                <a:gd name="connsiteY28" fmla="*/ 322641 h 403224"/>
                <a:gd name="connsiteX29" fmla="*/ 225657 w 526593"/>
                <a:gd name="connsiteY29" fmla="*/ 395001 h 403224"/>
                <a:gd name="connsiteX30" fmla="*/ 24210 w 526593"/>
                <a:gd name="connsiteY30" fmla="*/ 384312 h 403224"/>
                <a:gd name="connsiteX31" fmla="*/ 5299 w 526593"/>
                <a:gd name="connsiteY31" fmla="*/ 392535 h 403224"/>
                <a:gd name="connsiteX32" fmla="*/ 365 w 526593"/>
                <a:gd name="connsiteY32" fmla="*/ 403224 h 403224"/>
                <a:gd name="connsiteX33" fmla="*/ 365 w 526593"/>
                <a:gd name="connsiteY33" fmla="*/ 395824 h 403224"/>
                <a:gd name="connsiteX34" fmla="*/ 6943 w 526593"/>
                <a:gd name="connsiteY34" fmla="*/ 373622 h 403224"/>
                <a:gd name="connsiteX35" fmla="*/ 63677 w 526593"/>
                <a:gd name="connsiteY35" fmla="*/ 374444 h 403224"/>
                <a:gd name="connsiteX36" fmla="*/ 64102 w 526593"/>
                <a:gd name="connsiteY36" fmla="*/ 374417 h 403224"/>
                <a:gd name="connsiteX37" fmla="*/ 7481 w 526593"/>
                <a:gd name="connsiteY37" fmla="*/ 374417 h 403224"/>
                <a:gd name="connsiteX38" fmla="*/ 12405 w 526593"/>
                <a:gd name="connsiteY38" fmla="*/ 353845 h 403224"/>
                <a:gd name="connsiteX39" fmla="*/ 27996 w 526593"/>
                <a:gd name="connsiteY39" fmla="*/ 326689 h 403224"/>
                <a:gd name="connsiteX40" fmla="*/ 41125 w 526593"/>
                <a:gd name="connsiteY40" fmla="*/ 320106 h 403224"/>
                <a:gd name="connsiteX41" fmla="*/ 53434 w 526593"/>
                <a:gd name="connsiteY41" fmla="*/ 302002 h 403224"/>
                <a:gd name="connsiteX42" fmla="*/ 68205 w 526593"/>
                <a:gd name="connsiteY42" fmla="*/ 281430 h 403224"/>
                <a:gd name="connsiteX43" fmla="*/ 69025 w 526593"/>
                <a:gd name="connsiteY43" fmla="*/ 269909 h 403224"/>
                <a:gd name="connsiteX44" fmla="*/ 97746 w 526593"/>
                <a:gd name="connsiteY44" fmla="*/ 234525 h 403224"/>
                <a:gd name="connsiteX45" fmla="*/ 106773 w 526593"/>
                <a:gd name="connsiteY45" fmla="*/ 217244 h 403224"/>
                <a:gd name="connsiteX46" fmla="*/ 144520 w 526593"/>
                <a:gd name="connsiteY46" fmla="*/ 182683 h 403224"/>
                <a:gd name="connsiteX47" fmla="*/ 160932 w 526593"/>
                <a:gd name="connsiteY47" fmla="*/ 161287 h 403224"/>
                <a:gd name="connsiteX48" fmla="*/ 167497 w 526593"/>
                <a:gd name="connsiteY48" fmla="*/ 147298 h 403224"/>
                <a:gd name="connsiteX49" fmla="*/ 177344 w 526593"/>
                <a:gd name="connsiteY49" fmla="*/ 126726 h 403224"/>
                <a:gd name="connsiteX50" fmla="*/ 192935 w 526593"/>
                <a:gd name="connsiteY50" fmla="*/ 94633 h 403224"/>
                <a:gd name="connsiteX51" fmla="*/ 210167 w 526593"/>
                <a:gd name="connsiteY51" fmla="*/ 76529 h 403224"/>
                <a:gd name="connsiteX52" fmla="*/ 225759 w 526593"/>
                <a:gd name="connsiteY52" fmla="*/ 68300 h 403224"/>
                <a:gd name="connsiteX53" fmla="*/ 250376 w 526593"/>
                <a:gd name="connsiteY53" fmla="*/ 54311 h 403224"/>
                <a:gd name="connsiteX54" fmla="*/ 257762 w 526593"/>
                <a:gd name="connsiteY54" fmla="*/ 45259 h 403224"/>
                <a:gd name="connsiteX55" fmla="*/ 273353 w 526593"/>
                <a:gd name="connsiteY55" fmla="*/ 18927 h 403224"/>
                <a:gd name="connsiteX56" fmla="*/ 288124 w 526593"/>
                <a:gd name="connsiteY56" fmla="*/ 823 h 403224"/>
                <a:gd name="connsiteX57" fmla="*/ 288124 w 526593"/>
                <a:gd name="connsiteY57" fmla="*/ 0 h 403224"/>
                <a:gd name="connsiteX0" fmla="*/ 444340 w 526593"/>
                <a:gd name="connsiteY0" fmla="*/ 60346 h 403224"/>
                <a:gd name="connsiteX1" fmla="*/ 442417 w 526593"/>
                <a:gd name="connsiteY1" fmla="*/ 61054 h 403224"/>
                <a:gd name="connsiteX2" fmla="*/ 444340 w 526593"/>
                <a:gd name="connsiteY2" fmla="*/ 60346 h 403224"/>
                <a:gd name="connsiteX3" fmla="*/ 288124 w 526593"/>
                <a:gd name="connsiteY3" fmla="*/ 0 h 403224"/>
                <a:gd name="connsiteX4" fmla="*/ 514607 w 526593"/>
                <a:gd name="connsiteY4" fmla="*/ 13989 h 403224"/>
                <a:gd name="connsiteX5" fmla="*/ 516761 w 526593"/>
                <a:gd name="connsiteY5" fmla="*/ 29110 h 403224"/>
                <a:gd name="connsiteX6" fmla="*/ 517069 w 526593"/>
                <a:gd name="connsiteY6" fmla="*/ 31270 h 403224"/>
                <a:gd name="connsiteX7" fmla="*/ 514197 w 526593"/>
                <a:gd name="connsiteY7" fmla="*/ 43511 h 403224"/>
                <a:gd name="connsiteX8" fmla="*/ 513787 w 526593"/>
                <a:gd name="connsiteY8" fmla="*/ 45259 h 403224"/>
                <a:gd name="connsiteX9" fmla="*/ 513787 w 526593"/>
                <a:gd name="connsiteY9" fmla="*/ 51019 h 403224"/>
                <a:gd name="connsiteX10" fmla="*/ 513787 w 526593"/>
                <a:gd name="connsiteY10" fmla="*/ 51842 h 403224"/>
                <a:gd name="connsiteX11" fmla="*/ 479322 w 526593"/>
                <a:gd name="connsiteY11" fmla="*/ 55134 h 403224"/>
                <a:gd name="connsiteX12" fmla="*/ 452285 w 526593"/>
                <a:gd name="connsiteY12" fmla="*/ 67458 h 403224"/>
                <a:gd name="connsiteX13" fmla="*/ 479726 w 526593"/>
                <a:gd name="connsiteY13" fmla="*/ 55401 h 403224"/>
                <a:gd name="connsiteX14" fmla="*/ 510971 w 526593"/>
                <a:gd name="connsiteY14" fmla="*/ 55401 h 403224"/>
                <a:gd name="connsiteX15" fmla="*/ 514260 w 526593"/>
                <a:gd name="connsiteY15" fmla="*/ 46356 h 403224"/>
                <a:gd name="connsiteX16" fmla="*/ 514260 w 526593"/>
                <a:gd name="connsiteY16" fmla="*/ 45534 h 403224"/>
                <a:gd name="connsiteX17" fmla="*/ 517137 w 526593"/>
                <a:gd name="connsiteY17" fmla="*/ 33302 h 403224"/>
                <a:gd name="connsiteX18" fmla="*/ 517549 w 526593"/>
                <a:gd name="connsiteY18" fmla="*/ 31555 h 403224"/>
                <a:gd name="connsiteX19" fmla="*/ 515390 w 526593"/>
                <a:gd name="connsiteY19" fmla="*/ 16446 h 403224"/>
                <a:gd name="connsiteX20" fmla="*/ 515082 w 526593"/>
                <a:gd name="connsiteY20" fmla="*/ 14287 h 403224"/>
                <a:gd name="connsiteX21" fmla="*/ 526593 w 526593"/>
                <a:gd name="connsiteY21" fmla="*/ 15109 h 403224"/>
                <a:gd name="connsiteX22" fmla="*/ 523304 w 526593"/>
                <a:gd name="connsiteY22" fmla="*/ 38133 h 403224"/>
                <a:gd name="connsiteX23" fmla="*/ 510971 w 526593"/>
                <a:gd name="connsiteY23" fmla="*/ 117894 h 403224"/>
                <a:gd name="connsiteX24" fmla="*/ 325969 w 526593"/>
                <a:gd name="connsiteY24" fmla="*/ 108027 h 403224"/>
                <a:gd name="connsiteX25" fmla="*/ 301302 w 526593"/>
                <a:gd name="connsiteY25" fmla="*/ 265904 h 403224"/>
                <a:gd name="connsiteX26" fmla="*/ 270879 w 526593"/>
                <a:gd name="connsiteY26" fmla="*/ 274127 h 403224"/>
                <a:gd name="connsiteX27" fmla="*/ 234701 w 526593"/>
                <a:gd name="connsiteY27" fmla="*/ 296328 h 403224"/>
                <a:gd name="connsiteX28" fmla="*/ 231412 w 526593"/>
                <a:gd name="connsiteY28" fmla="*/ 322641 h 403224"/>
                <a:gd name="connsiteX29" fmla="*/ 225657 w 526593"/>
                <a:gd name="connsiteY29" fmla="*/ 395001 h 403224"/>
                <a:gd name="connsiteX30" fmla="*/ 24210 w 526593"/>
                <a:gd name="connsiteY30" fmla="*/ 384312 h 403224"/>
                <a:gd name="connsiteX31" fmla="*/ 5299 w 526593"/>
                <a:gd name="connsiteY31" fmla="*/ 392535 h 403224"/>
                <a:gd name="connsiteX32" fmla="*/ 365 w 526593"/>
                <a:gd name="connsiteY32" fmla="*/ 403224 h 403224"/>
                <a:gd name="connsiteX33" fmla="*/ 365 w 526593"/>
                <a:gd name="connsiteY33" fmla="*/ 395824 h 403224"/>
                <a:gd name="connsiteX34" fmla="*/ 6943 w 526593"/>
                <a:gd name="connsiteY34" fmla="*/ 373622 h 403224"/>
                <a:gd name="connsiteX35" fmla="*/ 63677 w 526593"/>
                <a:gd name="connsiteY35" fmla="*/ 374444 h 403224"/>
                <a:gd name="connsiteX36" fmla="*/ 7481 w 526593"/>
                <a:gd name="connsiteY36" fmla="*/ 374417 h 403224"/>
                <a:gd name="connsiteX37" fmla="*/ 12405 w 526593"/>
                <a:gd name="connsiteY37" fmla="*/ 353845 h 403224"/>
                <a:gd name="connsiteX38" fmla="*/ 27996 w 526593"/>
                <a:gd name="connsiteY38" fmla="*/ 326689 h 403224"/>
                <a:gd name="connsiteX39" fmla="*/ 41125 w 526593"/>
                <a:gd name="connsiteY39" fmla="*/ 320106 h 403224"/>
                <a:gd name="connsiteX40" fmla="*/ 53434 w 526593"/>
                <a:gd name="connsiteY40" fmla="*/ 302002 h 403224"/>
                <a:gd name="connsiteX41" fmla="*/ 68205 w 526593"/>
                <a:gd name="connsiteY41" fmla="*/ 281430 h 403224"/>
                <a:gd name="connsiteX42" fmla="*/ 69025 w 526593"/>
                <a:gd name="connsiteY42" fmla="*/ 269909 h 403224"/>
                <a:gd name="connsiteX43" fmla="*/ 97746 w 526593"/>
                <a:gd name="connsiteY43" fmla="*/ 234525 h 403224"/>
                <a:gd name="connsiteX44" fmla="*/ 106773 w 526593"/>
                <a:gd name="connsiteY44" fmla="*/ 217244 h 403224"/>
                <a:gd name="connsiteX45" fmla="*/ 144520 w 526593"/>
                <a:gd name="connsiteY45" fmla="*/ 182683 h 403224"/>
                <a:gd name="connsiteX46" fmla="*/ 160932 w 526593"/>
                <a:gd name="connsiteY46" fmla="*/ 161287 h 403224"/>
                <a:gd name="connsiteX47" fmla="*/ 167497 w 526593"/>
                <a:gd name="connsiteY47" fmla="*/ 147298 h 403224"/>
                <a:gd name="connsiteX48" fmla="*/ 177344 w 526593"/>
                <a:gd name="connsiteY48" fmla="*/ 126726 h 403224"/>
                <a:gd name="connsiteX49" fmla="*/ 192935 w 526593"/>
                <a:gd name="connsiteY49" fmla="*/ 94633 h 403224"/>
                <a:gd name="connsiteX50" fmla="*/ 210167 w 526593"/>
                <a:gd name="connsiteY50" fmla="*/ 76529 h 403224"/>
                <a:gd name="connsiteX51" fmla="*/ 225759 w 526593"/>
                <a:gd name="connsiteY51" fmla="*/ 68300 h 403224"/>
                <a:gd name="connsiteX52" fmla="*/ 250376 w 526593"/>
                <a:gd name="connsiteY52" fmla="*/ 54311 h 403224"/>
                <a:gd name="connsiteX53" fmla="*/ 257762 w 526593"/>
                <a:gd name="connsiteY53" fmla="*/ 45259 h 403224"/>
                <a:gd name="connsiteX54" fmla="*/ 273353 w 526593"/>
                <a:gd name="connsiteY54" fmla="*/ 18927 h 403224"/>
                <a:gd name="connsiteX55" fmla="*/ 288124 w 526593"/>
                <a:gd name="connsiteY55" fmla="*/ 823 h 403224"/>
                <a:gd name="connsiteX56" fmla="*/ 288124 w 526593"/>
                <a:gd name="connsiteY56" fmla="*/ 0 h 403224"/>
                <a:gd name="connsiteX0" fmla="*/ 444340 w 526593"/>
                <a:gd name="connsiteY0" fmla="*/ 60346 h 403224"/>
                <a:gd name="connsiteX1" fmla="*/ 442417 w 526593"/>
                <a:gd name="connsiteY1" fmla="*/ 61054 h 403224"/>
                <a:gd name="connsiteX2" fmla="*/ 444340 w 526593"/>
                <a:gd name="connsiteY2" fmla="*/ 60346 h 403224"/>
                <a:gd name="connsiteX3" fmla="*/ 288124 w 526593"/>
                <a:gd name="connsiteY3" fmla="*/ 0 h 403224"/>
                <a:gd name="connsiteX4" fmla="*/ 514607 w 526593"/>
                <a:gd name="connsiteY4" fmla="*/ 13989 h 403224"/>
                <a:gd name="connsiteX5" fmla="*/ 516761 w 526593"/>
                <a:gd name="connsiteY5" fmla="*/ 29110 h 403224"/>
                <a:gd name="connsiteX6" fmla="*/ 517069 w 526593"/>
                <a:gd name="connsiteY6" fmla="*/ 31270 h 403224"/>
                <a:gd name="connsiteX7" fmla="*/ 514197 w 526593"/>
                <a:gd name="connsiteY7" fmla="*/ 43511 h 403224"/>
                <a:gd name="connsiteX8" fmla="*/ 513787 w 526593"/>
                <a:gd name="connsiteY8" fmla="*/ 45259 h 403224"/>
                <a:gd name="connsiteX9" fmla="*/ 513787 w 526593"/>
                <a:gd name="connsiteY9" fmla="*/ 51019 h 403224"/>
                <a:gd name="connsiteX10" fmla="*/ 513787 w 526593"/>
                <a:gd name="connsiteY10" fmla="*/ 51842 h 403224"/>
                <a:gd name="connsiteX11" fmla="*/ 479322 w 526593"/>
                <a:gd name="connsiteY11" fmla="*/ 55134 h 403224"/>
                <a:gd name="connsiteX12" fmla="*/ 452285 w 526593"/>
                <a:gd name="connsiteY12" fmla="*/ 67458 h 403224"/>
                <a:gd name="connsiteX13" fmla="*/ 479726 w 526593"/>
                <a:gd name="connsiteY13" fmla="*/ 55401 h 403224"/>
                <a:gd name="connsiteX14" fmla="*/ 510971 w 526593"/>
                <a:gd name="connsiteY14" fmla="*/ 55401 h 403224"/>
                <a:gd name="connsiteX15" fmla="*/ 514260 w 526593"/>
                <a:gd name="connsiteY15" fmla="*/ 46356 h 403224"/>
                <a:gd name="connsiteX16" fmla="*/ 514260 w 526593"/>
                <a:gd name="connsiteY16" fmla="*/ 45534 h 403224"/>
                <a:gd name="connsiteX17" fmla="*/ 517137 w 526593"/>
                <a:gd name="connsiteY17" fmla="*/ 33302 h 403224"/>
                <a:gd name="connsiteX18" fmla="*/ 517549 w 526593"/>
                <a:gd name="connsiteY18" fmla="*/ 31555 h 403224"/>
                <a:gd name="connsiteX19" fmla="*/ 515390 w 526593"/>
                <a:gd name="connsiteY19" fmla="*/ 16446 h 403224"/>
                <a:gd name="connsiteX20" fmla="*/ 515082 w 526593"/>
                <a:gd name="connsiteY20" fmla="*/ 14287 h 403224"/>
                <a:gd name="connsiteX21" fmla="*/ 526593 w 526593"/>
                <a:gd name="connsiteY21" fmla="*/ 15109 h 403224"/>
                <a:gd name="connsiteX22" fmla="*/ 523304 w 526593"/>
                <a:gd name="connsiteY22" fmla="*/ 38133 h 403224"/>
                <a:gd name="connsiteX23" fmla="*/ 510971 w 526593"/>
                <a:gd name="connsiteY23" fmla="*/ 117894 h 403224"/>
                <a:gd name="connsiteX24" fmla="*/ 325969 w 526593"/>
                <a:gd name="connsiteY24" fmla="*/ 108027 h 403224"/>
                <a:gd name="connsiteX25" fmla="*/ 301302 w 526593"/>
                <a:gd name="connsiteY25" fmla="*/ 265904 h 403224"/>
                <a:gd name="connsiteX26" fmla="*/ 270879 w 526593"/>
                <a:gd name="connsiteY26" fmla="*/ 274127 h 403224"/>
                <a:gd name="connsiteX27" fmla="*/ 234701 w 526593"/>
                <a:gd name="connsiteY27" fmla="*/ 296328 h 403224"/>
                <a:gd name="connsiteX28" fmla="*/ 231412 w 526593"/>
                <a:gd name="connsiteY28" fmla="*/ 322641 h 403224"/>
                <a:gd name="connsiteX29" fmla="*/ 225657 w 526593"/>
                <a:gd name="connsiteY29" fmla="*/ 395001 h 403224"/>
                <a:gd name="connsiteX30" fmla="*/ 24210 w 526593"/>
                <a:gd name="connsiteY30" fmla="*/ 384312 h 403224"/>
                <a:gd name="connsiteX31" fmla="*/ 5299 w 526593"/>
                <a:gd name="connsiteY31" fmla="*/ 392535 h 403224"/>
                <a:gd name="connsiteX32" fmla="*/ 365 w 526593"/>
                <a:gd name="connsiteY32" fmla="*/ 403224 h 403224"/>
                <a:gd name="connsiteX33" fmla="*/ 365 w 526593"/>
                <a:gd name="connsiteY33" fmla="*/ 395824 h 403224"/>
                <a:gd name="connsiteX34" fmla="*/ 6943 w 526593"/>
                <a:gd name="connsiteY34" fmla="*/ 373622 h 403224"/>
                <a:gd name="connsiteX35" fmla="*/ 7481 w 526593"/>
                <a:gd name="connsiteY35" fmla="*/ 374417 h 403224"/>
                <a:gd name="connsiteX36" fmla="*/ 12405 w 526593"/>
                <a:gd name="connsiteY36" fmla="*/ 353845 h 403224"/>
                <a:gd name="connsiteX37" fmla="*/ 27996 w 526593"/>
                <a:gd name="connsiteY37" fmla="*/ 326689 h 403224"/>
                <a:gd name="connsiteX38" fmla="*/ 41125 w 526593"/>
                <a:gd name="connsiteY38" fmla="*/ 320106 h 403224"/>
                <a:gd name="connsiteX39" fmla="*/ 53434 w 526593"/>
                <a:gd name="connsiteY39" fmla="*/ 302002 h 403224"/>
                <a:gd name="connsiteX40" fmla="*/ 68205 w 526593"/>
                <a:gd name="connsiteY40" fmla="*/ 281430 h 403224"/>
                <a:gd name="connsiteX41" fmla="*/ 69025 w 526593"/>
                <a:gd name="connsiteY41" fmla="*/ 269909 h 403224"/>
                <a:gd name="connsiteX42" fmla="*/ 97746 w 526593"/>
                <a:gd name="connsiteY42" fmla="*/ 234525 h 403224"/>
                <a:gd name="connsiteX43" fmla="*/ 106773 w 526593"/>
                <a:gd name="connsiteY43" fmla="*/ 217244 h 403224"/>
                <a:gd name="connsiteX44" fmla="*/ 144520 w 526593"/>
                <a:gd name="connsiteY44" fmla="*/ 182683 h 403224"/>
                <a:gd name="connsiteX45" fmla="*/ 160932 w 526593"/>
                <a:gd name="connsiteY45" fmla="*/ 161287 h 403224"/>
                <a:gd name="connsiteX46" fmla="*/ 167497 w 526593"/>
                <a:gd name="connsiteY46" fmla="*/ 147298 h 403224"/>
                <a:gd name="connsiteX47" fmla="*/ 177344 w 526593"/>
                <a:gd name="connsiteY47" fmla="*/ 126726 h 403224"/>
                <a:gd name="connsiteX48" fmla="*/ 192935 w 526593"/>
                <a:gd name="connsiteY48" fmla="*/ 94633 h 403224"/>
                <a:gd name="connsiteX49" fmla="*/ 210167 w 526593"/>
                <a:gd name="connsiteY49" fmla="*/ 76529 h 403224"/>
                <a:gd name="connsiteX50" fmla="*/ 225759 w 526593"/>
                <a:gd name="connsiteY50" fmla="*/ 68300 h 403224"/>
                <a:gd name="connsiteX51" fmla="*/ 250376 w 526593"/>
                <a:gd name="connsiteY51" fmla="*/ 54311 h 403224"/>
                <a:gd name="connsiteX52" fmla="*/ 257762 w 526593"/>
                <a:gd name="connsiteY52" fmla="*/ 45259 h 403224"/>
                <a:gd name="connsiteX53" fmla="*/ 273353 w 526593"/>
                <a:gd name="connsiteY53" fmla="*/ 18927 h 403224"/>
                <a:gd name="connsiteX54" fmla="*/ 288124 w 526593"/>
                <a:gd name="connsiteY54" fmla="*/ 823 h 403224"/>
                <a:gd name="connsiteX55" fmla="*/ 288124 w 526593"/>
                <a:gd name="connsiteY55" fmla="*/ 0 h 403224"/>
                <a:gd name="connsiteX0" fmla="*/ 444340 w 526593"/>
                <a:gd name="connsiteY0" fmla="*/ 60346 h 403224"/>
                <a:gd name="connsiteX1" fmla="*/ 442417 w 526593"/>
                <a:gd name="connsiteY1" fmla="*/ 61054 h 403224"/>
                <a:gd name="connsiteX2" fmla="*/ 444340 w 526593"/>
                <a:gd name="connsiteY2" fmla="*/ 60346 h 403224"/>
                <a:gd name="connsiteX3" fmla="*/ 288124 w 526593"/>
                <a:gd name="connsiteY3" fmla="*/ 0 h 403224"/>
                <a:gd name="connsiteX4" fmla="*/ 514607 w 526593"/>
                <a:gd name="connsiteY4" fmla="*/ 13989 h 403224"/>
                <a:gd name="connsiteX5" fmla="*/ 516761 w 526593"/>
                <a:gd name="connsiteY5" fmla="*/ 29110 h 403224"/>
                <a:gd name="connsiteX6" fmla="*/ 517069 w 526593"/>
                <a:gd name="connsiteY6" fmla="*/ 31270 h 403224"/>
                <a:gd name="connsiteX7" fmla="*/ 514197 w 526593"/>
                <a:gd name="connsiteY7" fmla="*/ 43511 h 403224"/>
                <a:gd name="connsiteX8" fmla="*/ 513787 w 526593"/>
                <a:gd name="connsiteY8" fmla="*/ 45259 h 403224"/>
                <a:gd name="connsiteX9" fmla="*/ 513787 w 526593"/>
                <a:gd name="connsiteY9" fmla="*/ 51019 h 403224"/>
                <a:gd name="connsiteX10" fmla="*/ 513787 w 526593"/>
                <a:gd name="connsiteY10" fmla="*/ 51842 h 403224"/>
                <a:gd name="connsiteX11" fmla="*/ 479322 w 526593"/>
                <a:gd name="connsiteY11" fmla="*/ 55134 h 403224"/>
                <a:gd name="connsiteX12" fmla="*/ 479726 w 526593"/>
                <a:gd name="connsiteY12" fmla="*/ 55401 h 403224"/>
                <a:gd name="connsiteX13" fmla="*/ 510971 w 526593"/>
                <a:gd name="connsiteY13" fmla="*/ 55401 h 403224"/>
                <a:gd name="connsiteX14" fmla="*/ 514260 w 526593"/>
                <a:gd name="connsiteY14" fmla="*/ 46356 h 403224"/>
                <a:gd name="connsiteX15" fmla="*/ 514260 w 526593"/>
                <a:gd name="connsiteY15" fmla="*/ 45534 h 403224"/>
                <a:gd name="connsiteX16" fmla="*/ 517137 w 526593"/>
                <a:gd name="connsiteY16" fmla="*/ 33302 h 403224"/>
                <a:gd name="connsiteX17" fmla="*/ 517549 w 526593"/>
                <a:gd name="connsiteY17" fmla="*/ 31555 h 403224"/>
                <a:gd name="connsiteX18" fmla="*/ 515390 w 526593"/>
                <a:gd name="connsiteY18" fmla="*/ 16446 h 403224"/>
                <a:gd name="connsiteX19" fmla="*/ 515082 w 526593"/>
                <a:gd name="connsiteY19" fmla="*/ 14287 h 403224"/>
                <a:gd name="connsiteX20" fmla="*/ 526593 w 526593"/>
                <a:gd name="connsiteY20" fmla="*/ 15109 h 403224"/>
                <a:gd name="connsiteX21" fmla="*/ 523304 w 526593"/>
                <a:gd name="connsiteY21" fmla="*/ 38133 h 403224"/>
                <a:gd name="connsiteX22" fmla="*/ 510971 w 526593"/>
                <a:gd name="connsiteY22" fmla="*/ 117894 h 403224"/>
                <a:gd name="connsiteX23" fmla="*/ 325969 w 526593"/>
                <a:gd name="connsiteY23" fmla="*/ 108027 h 403224"/>
                <a:gd name="connsiteX24" fmla="*/ 301302 w 526593"/>
                <a:gd name="connsiteY24" fmla="*/ 265904 h 403224"/>
                <a:gd name="connsiteX25" fmla="*/ 270879 w 526593"/>
                <a:gd name="connsiteY25" fmla="*/ 274127 h 403224"/>
                <a:gd name="connsiteX26" fmla="*/ 234701 w 526593"/>
                <a:gd name="connsiteY26" fmla="*/ 296328 h 403224"/>
                <a:gd name="connsiteX27" fmla="*/ 231412 w 526593"/>
                <a:gd name="connsiteY27" fmla="*/ 322641 h 403224"/>
                <a:gd name="connsiteX28" fmla="*/ 225657 w 526593"/>
                <a:gd name="connsiteY28" fmla="*/ 395001 h 403224"/>
                <a:gd name="connsiteX29" fmla="*/ 24210 w 526593"/>
                <a:gd name="connsiteY29" fmla="*/ 384312 h 403224"/>
                <a:gd name="connsiteX30" fmla="*/ 5299 w 526593"/>
                <a:gd name="connsiteY30" fmla="*/ 392535 h 403224"/>
                <a:gd name="connsiteX31" fmla="*/ 365 w 526593"/>
                <a:gd name="connsiteY31" fmla="*/ 403224 h 403224"/>
                <a:gd name="connsiteX32" fmla="*/ 365 w 526593"/>
                <a:gd name="connsiteY32" fmla="*/ 395824 h 403224"/>
                <a:gd name="connsiteX33" fmla="*/ 6943 w 526593"/>
                <a:gd name="connsiteY33" fmla="*/ 373622 h 403224"/>
                <a:gd name="connsiteX34" fmla="*/ 7481 w 526593"/>
                <a:gd name="connsiteY34" fmla="*/ 374417 h 403224"/>
                <a:gd name="connsiteX35" fmla="*/ 12405 w 526593"/>
                <a:gd name="connsiteY35" fmla="*/ 353845 h 403224"/>
                <a:gd name="connsiteX36" fmla="*/ 27996 w 526593"/>
                <a:gd name="connsiteY36" fmla="*/ 326689 h 403224"/>
                <a:gd name="connsiteX37" fmla="*/ 41125 w 526593"/>
                <a:gd name="connsiteY37" fmla="*/ 320106 h 403224"/>
                <a:gd name="connsiteX38" fmla="*/ 53434 w 526593"/>
                <a:gd name="connsiteY38" fmla="*/ 302002 h 403224"/>
                <a:gd name="connsiteX39" fmla="*/ 68205 w 526593"/>
                <a:gd name="connsiteY39" fmla="*/ 281430 h 403224"/>
                <a:gd name="connsiteX40" fmla="*/ 69025 w 526593"/>
                <a:gd name="connsiteY40" fmla="*/ 269909 h 403224"/>
                <a:gd name="connsiteX41" fmla="*/ 97746 w 526593"/>
                <a:gd name="connsiteY41" fmla="*/ 234525 h 403224"/>
                <a:gd name="connsiteX42" fmla="*/ 106773 w 526593"/>
                <a:gd name="connsiteY42" fmla="*/ 217244 h 403224"/>
                <a:gd name="connsiteX43" fmla="*/ 144520 w 526593"/>
                <a:gd name="connsiteY43" fmla="*/ 182683 h 403224"/>
                <a:gd name="connsiteX44" fmla="*/ 160932 w 526593"/>
                <a:gd name="connsiteY44" fmla="*/ 161287 h 403224"/>
                <a:gd name="connsiteX45" fmla="*/ 167497 w 526593"/>
                <a:gd name="connsiteY45" fmla="*/ 147298 h 403224"/>
                <a:gd name="connsiteX46" fmla="*/ 177344 w 526593"/>
                <a:gd name="connsiteY46" fmla="*/ 126726 h 403224"/>
                <a:gd name="connsiteX47" fmla="*/ 192935 w 526593"/>
                <a:gd name="connsiteY47" fmla="*/ 94633 h 403224"/>
                <a:gd name="connsiteX48" fmla="*/ 210167 w 526593"/>
                <a:gd name="connsiteY48" fmla="*/ 76529 h 403224"/>
                <a:gd name="connsiteX49" fmla="*/ 225759 w 526593"/>
                <a:gd name="connsiteY49" fmla="*/ 68300 h 403224"/>
                <a:gd name="connsiteX50" fmla="*/ 250376 w 526593"/>
                <a:gd name="connsiteY50" fmla="*/ 54311 h 403224"/>
                <a:gd name="connsiteX51" fmla="*/ 257762 w 526593"/>
                <a:gd name="connsiteY51" fmla="*/ 45259 h 403224"/>
                <a:gd name="connsiteX52" fmla="*/ 273353 w 526593"/>
                <a:gd name="connsiteY52" fmla="*/ 18927 h 403224"/>
                <a:gd name="connsiteX53" fmla="*/ 288124 w 526593"/>
                <a:gd name="connsiteY53" fmla="*/ 823 h 403224"/>
                <a:gd name="connsiteX54" fmla="*/ 288124 w 526593"/>
                <a:gd name="connsiteY54" fmla="*/ 0 h 403224"/>
                <a:gd name="connsiteX0" fmla="*/ 288124 w 526593"/>
                <a:gd name="connsiteY0" fmla="*/ 0 h 403224"/>
                <a:gd name="connsiteX1" fmla="*/ 514607 w 526593"/>
                <a:gd name="connsiteY1" fmla="*/ 13989 h 403224"/>
                <a:gd name="connsiteX2" fmla="*/ 516761 w 526593"/>
                <a:gd name="connsiteY2" fmla="*/ 29110 h 403224"/>
                <a:gd name="connsiteX3" fmla="*/ 517069 w 526593"/>
                <a:gd name="connsiteY3" fmla="*/ 31270 h 403224"/>
                <a:gd name="connsiteX4" fmla="*/ 514197 w 526593"/>
                <a:gd name="connsiteY4" fmla="*/ 43511 h 403224"/>
                <a:gd name="connsiteX5" fmla="*/ 513787 w 526593"/>
                <a:gd name="connsiteY5" fmla="*/ 45259 h 403224"/>
                <a:gd name="connsiteX6" fmla="*/ 513787 w 526593"/>
                <a:gd name="connsiteY6" fmla="*/ 51019 h 403224"/>
                <a:gd name="connsiteX7" fmla="*/ 513787 w 526593"/>
                <a:gd name="connsiteY7" fmla="*/ 51842 h 403224"/>
                <a:gd name="connsiteX8" fmla="*/ 479322 w 526593"/>
                <a:gd name="connsiteY8" fmla="*/ 55134 h 403224"/>
                <a:gd name="connsiteX9" fmla="*/ 479726 w 526593"/>
                <a:gd name="connsiteY9" fmla="*/ 55401 h 403224"/>
                <a:gd name="connsiteX10" fmla="*/ 510971 w 526593"/>
                <a:gd name="connsiteY10" fmla="*/ 55401 h 403224"/>
                <a:gd name="connsiteX11" fmla="*/ 514260 w 526593"/>
                <a:gd name="connsiteY11" fmla="*/ 46356 h 403224"/>
                <a:gd name="connsiteX12" fmla="*/ 514260 w 526593"/>
                <a:gd name="connsiteY12" fmla="*/ 45534 h 403224"/>
                <a:gd name="connsiteX13" fmla="*/ 517137 w 526593"/>
                <a:gd name="connsiteY13" fmla="*/ 33302 h 403224"/>
                <a:gd name="connsiteX14" fmla="*/ 517549 w 526593"/>
                <a:gd name="connsiteY14" fmla="*/ 31555 h 403224"/>
                <a:gd name="connsiteX15" fmla="*/ 515390 w 526593"/>
                <a:gd name="connsiteY15" fmla="*/ 16446 h 403224"/>
                <a:gd name="connsiteX16" fmla="*/ 515082 w 526593"/>
                <a:gd name="connsiteY16" fmla="*/ 14287 h 403224"/>
                <a:gd name="connsiteX17" fmla="*/ 526593 w 526593"/>
                <a:gd name="connsiteY17" fmla="*/ 15109 h 403224"/>
                <a:gd name="connsiteX18" fmla="*/ 523304 w 526593"/>
                <a:gd name="connsiteY18" fmla="*/ 38133 h 403224"/>
                <a:gd name="connsiteX19" fmla="*/ 510971 w 526593"/>
                <a:gd name="connsiteY19" fmla="*/ 117894 h 403224"/>
                <a:gd name="connsiteX20" fmla="*/ 325969 w 526593"/>
                <a:gd name="connsiteY20" fmla="*/ 108027 h 403224"/>
                <a:gd name="connsiteX21" fmla="*/ 301302 w 526593"/>
                <a:gd name="connsiteY21" fmla="*/ 265904 h 403224"/>
                <a:gd name="connsiteX22" fmla="*/ 270879 w 526593"/>
                <a:gd name="connsiteY22" fmla="*/ 274127 h 403224"/>
                <a:gd name="connsiteX23" fmla="*/ 234701 w 526593"/>
                <a:gd name="connsiteY23" fmla="*/ 296328 h 403224"/>
                <a:gd name="connsiteX24" fmla="*/ 231412 w 526593"/>
                <a:gd name="connsiteY24" fmla="*/ 322641 h 403224"/>
                <a:gd name="connsiteX25" fmla="*/ 225657 w 526593"/>
                <a:gd name="connsiteY25" fmla="*/ 395001 h 403224"/>
                <a:gd name="connsiteX26" fmla="*/ 24210 w 526593"/>
                <a:gd name="connsiteY26" fmla="*/ 384312 h 403224"/>
                <a:gd name="connsiteX27" fmla="*/ 5299 w 526593"/>
                <a:gd name="connsiteY27" fmla="*/ 392535 h 403224"/>
                <a:gd name="connsiteX28" fmla="*/ 365 w 526593"/>
                <a:gd name="connsiteY28" fmla="*/ 403224 h 403224"/>
                <a:gd name="connsiteX29" fmla="*/ 365 w 526593"/>
                <a:gd name="connsiteY29" fmla="*/ 395824 h 403224"/>
                <a:gd name="connsiteX30" fmla="*/ 6943 w 526593"/>
                <a:gd name="connsiteY30" fmla="*/ 373622 h 403224"/>
                <a:gd name="connsiteX31" fmla="*/ 7481 w 526593"/>
                <a:gd name="connsiteY31" fmla="*/ 374417 h 403224"/>
                <a:gd name="connsiteX32" fmla="*/ 12405 w 526593"/>
                <a:gd name="connsiteY32" fmla="*/ 353845 h 403224"/>
                <a:gd name="connsiteX33" fmla="*/ 27996 w 526593"/>
                <a:gd name="connsiteY33" fmla="*/ 326689 h 403224"/>
                <a:gd name="connsiteX34" fmla="*/ 41125 w 526593"/>
                <a:gd name="connsiteY34" fmla="*/ 320106 h 403224"/>
                <a:gd name="connsiteX35" fmla="*/ 53434 w 526593"/>
                <a:gd name="connsiteY35" fmla="*/ 302002 h 403224"/>
                <a:gd name="connsiteX36" fmla="*/ 68205 w 526593"/>
                <a:gd name="connsiteY36" fmla="*/ 281430 h 403224"/>
                <a:gd name="connsiteX37" fmla="*/ 69025 w 526593"/>
                <a:gd name="connsiteY37" fmla="*/ 269909 h 403224"/>
                <a:gd name="connsiteX38" fmla="*/ 97746 w 526593"/>
                <a:gd name="connsiteY38" fmla="*/ 234525 h 403224"/>
                <a:gd name="connsiteX39" fmla="*/ 106773 w 526593"/>
                <a:gd name="connsiteY39" fmla="*/ 217244 h 403224"/>
                <a:gd name="connsiteX40" fmla="*/ 144520 w 526593"/>
                <a:gd name="connsiteY40" fmla="*/ 182683 h 403224"/>
                <a:gd name="connsiteX41" fmla="*/ 160932 w 526593"/>
                <a:gd name="connsiteY41" fmla="*/ 161287 h 403224"/>
                <a:gd name="connsiteX42" fmla="*/ 167497 w 526593"/>
                <a:gd name="connsiteY42" fmla="*/ 147298 h 403224"/>
                <a:gd name="connsiteX43" fmla="*/ 177344 w 526593"/>
                <a:gd name="connsiteY43" fmla="*/ 126726 h 403224"/>
                <a:gd name="connsiteX44" fmla="*/ 192935 w 526593"/>
                <a:gd name="connsiteY44" fmla="*/ 94633 h 403224"/>
                <a:gd name="connsiteX45" fmla="*/ 210167 w 526593"/>
                <a:gd name="connsiteY45" fmla="*/ 76529 h 403224"/>
                <a:gd name="connsiteX46" fmla="*/ 225759 w 526593"/>
                <a:gd name="connsiteY46" fmla="*/ 68300 h 403224"/>
                <a:gd name="connsiteX47" fmla="*/ 250376 w 526593"/>
                <a:gd name="connsiteY47" fmla="*/ 54311 h 403224"/>
                <a:gd name="connsiteX48" fmla="*/ 257762 w 526593"/>
                <a:gd name="connsiteY48" fmla="*/ 45259 h 403224"/>
                <a:gd name="connsiteX49" fmla="*/ 273353 w 526593"/>
                <a:gd name="connsiteY49" fmla="*/ 18927 h 403224"/>
                <a:gd name="connsiteX50" fmla="*/ 288124 w 526593"/>
                <a:gd name="connsiteY50" fmla="*/ 823 h 403224"/>
                <a:gd name="connsiteX51" fmla="*/ 288124 w 526593"/>
                <a:gd name="connsiteY51" fmla="*/ 0 h 403224"/>
                <a:gd name="connsiteX0" fmla="*/ 288124 w 526593"/>
                <a:gd name="connsiteY0" fmla="*/ 0 h 403224"/>
                <a:gd name="connsiteX1" fmla="*/ 514607 w 526593"/>
                <a:gd name="connsiteY1" fmla="*/ 13989 h 403224"/>
                <a:gd name="connsiteX2" fmla="*/ 516761 w 526593"/>
                <a:gd name="connsiteY2" fmla="*/ 29110 h 403224"/>
                <a:gd name="connsiteX3" fmla="*/ 517069 w 526593"/>
                <a:gd name="connsiteY3" fmla="*/ 31270 h 403224"/>
                <a:gd name="connsiteX4" fmla="*/ 514197 w 526593"/>
                <a:gd name="connsiteY4" fmla="*/ 43511 h 403224"/>
                <a:gd name="connsiteX5" fmla="*/ 513787 w 526593"/>
                <a:gd name="connsiteY5" fmla="*/ 45259 h 403224"/>
                <a:gd name="connsiteX6" fmla="*/ 513787 w 526593"/>
                <a:gd name="connsiteY6" fmla="*/ 51019 h 403224"/>
                <a:gd name="connsiteX7" fmla="*/ 513787 w 526593"/>
                <a:gd name="connsiteY7" fmla="*/ 51842 h 403224"/>
                <a:gd name="connsiteX8" fmla="*/ 479322 w 526593"/>
                <a:gd name="connsiteY8" fmla="*/ 55134 h 403224"/>
                <a:gd name="connsiteX9" fmla="*/ 510971 w 526593"/>
                <a:gd name="connsiteY9" fmla="*/ 55401 h 403224"/>
                <a:gd name="connsiteX10" fmla="*/ 514260 w 526593"/>
                <a:gd name="connsiteY10" fmla="*/ 46356 h 403224"/>
                <a:gd name="connsiteX11" fmla="*/ 514260 w 526593"/>
                <a:gd name="connsiteY11" fmla="*/ 45534 h 403224"/>
                <a:gd name="connsiteX12" fmla="*/ 517137 w 526593"/>
                <a:gd name="connsiteY12" fmla="*/ 33302 h 403224"/>
                <a:gd name="connsiteX13" fmla="*/ 517549 w 526593"/>
                <a:gd name="connsiteY13" fmla="*/ 31555 h 403224"/>
                <a:gd name="connsiteX14" fmla="*/ 515390 w 526593"/>
                <a:gd name="connsiteY14" fmla="*/ 16446 h 403224"/>
                <a:gd name="connsiteX15" fmla="*/ 515082 w 526593"/>
                <a:gd name="connsiteY15" fmla="*/ 14287 h 403224"/>
                <a:gd name="connsiteX16" fmla="*/ 526593 w 526593"/>
                <a:gd name="connsiteY16" fmla="*/ 15109 h 403224"/>
                <a:gd name="connsiteX17" fmla="*/ 523304 w 526593"/>
                <a:gd name="connsiteY17" fmla="*/ 38133 h 403224"/>
                <a:gd name="connsiteX18" fmla="*/ 510971 w 526593"/>
                <a:gd name="connsiteY18" fmla="*/ 117894 h 403224"/>
                <a:gd name="connsiteX19" fmla="*/ 325969 w 526593"/>
                <a:gd name="connsiteY19" fmla="*/ 108027 h 403224"/>
                <a:gd name="connsiteX20" fmla="*/ 301302 w 526593"/>
                <a:gd name="connsiteY20" fmla="*/ 265904 h 403224"/>
                <a:gd name="connsiteX21" fmla="*/ 270879 w 526593"/>
                <a:gd name="connsiteY21" fmla="*/ 274127 h 403224"/>
                <a:gd name="connsiteX22" fmla="*/ 234701 w 526593"/>
                <a:gd name="connsiteY22" fmla="*/ 296328 h 403224"/>
                <a:gd name="connsiteX23" fmla="*/ 231412 w 526593"/>
                <a:gd name="connsiteY23" fmla="*/ 322641 h 403224"/>
                <a:gd name="connsiteX24" fmla="*/ 225657 w 526593"/>
                <a:gd name="connsiteY24" fmla="*/ 395001 h 403224"/>
                <a:gd name="connsiteX25" fmla="*/ 24210 w 526593"/>
                <a:gd name="connsiteY25" fmla="*/ 384312 h 403224"/>
                <a:gd name="connsiteX26" fmla="*/ 5299 w 526593"/>
                <a:gd name="connsiteY26" fmla="*/ 392535 h 403224"/>
                <a:gd name="connsiteX27" fmla="*/ 365 w 526593"/>
                <a:gd name="connsiteY27" fmla="*/ 403224 h 403224"/>
                <a:gd name="connsiteX28" fmla="*/ 365 w 526593"/>
                <a:gd name="connsiteY28" fmla="*/ 395824 h 403224"/>
                <a:gd name="connsiteX29" fmla="*/ 6943 w 526593"/>
                <a:gd name="connsiteY29" fmla="*/ 373622 h 403224"/>
                <a:gd name="connsiteX30" fmla="*/ 7481 w 526593"/>
                <a:gd name="connsiteY30" fmla="*/ 374417 h 403224"/>
                <a:gd name="connsiteX31" fmla="*/ 12405 w 526593"/>
                <a:gd name="connsiteY31" fmla="*/ 353845 h 403224"/>
                <a:gd name="connsiteX32" fmla="*/ 27996 w 526593"/>
                <a:gd name="connsiteY32" fmla="*/ 326689 h 403224"/>
                <a:gd name="connsiteX33" fmla="*/ 41125 w 526593"/>
                <a:gd name="connsiteY33" fmla="*/ 320106 h 403224"/>
                <a:gd name="connsiteX34" fmla="*/ 53434 w 526593"/>
                <a:gd name="connsiteY34" fmla="*/ 302002 h 403224"/>
                <a:gd name="connsiteX35" fmla="*/ 68205 w 526593"/>
                <a:gd name="connsiteY35" fmla="*/ 281430 h 403224"/>
                <a:gd name="connsiteX36" fmla="*/ 69025 w 526593"/>
                <a:gd name="connsiteY36" fmla="*/ 269909 h 403224"/>
                <a:gd name="connsiteX37" fmla="*/ 97746 w 526593"/>
                <a:gd name="connsiteY37" fmla="*/ 234525 h 403224"/>
                <a:gd name="connsiteX38" fmla="*/ 106773 w 526593"/>
                <a:gd name="connsiteY38" fmla="*/ 217244 h 403224"/>
                <a:gd name="connsiteX39" fmla="*/ 144520 w 526593"/>
                <a:gd name="connsiteY39" fmla="*/ 182683 h 403224"/>
                <a:gd name="connsiteX40" fmla="*/ 160932 w 526593"/>
                <a:gd name="connsiteY40" fmla="*/ 161287 h 403224"/>
                <a:gd name="connsiteX41" fmla="*/ 167497 w 526593"/>
                <a:gd name="connsiteY41" fmla="*/ 147298 h 403224"/>
                <a:gd name="connsiteX42" fmla="*/ 177344 w 526593"/>
                <a:gd name="connsiteY42" fmla="*/ 126726 h 403224"/>
                <a:gd name="connsiteX43" fmla="*/ 192935 w 526593"/>
                <a:gd name="connsiteY43" fmla="*/ 94633 h 403224"/>
                <a:gd name="connsiteX44" fmla="*/ 210167 w 526593"/>
                <a:gd name="connsiteY44" fmla="*/ 76529 h 403224"/>
                <a:gd name="connsiteX45" fmla="*/ 225759 w 526593"/>
                <a:gd name="connsiteY45" fmla="*/ 68300 h 403224"/>
                <a:gd name="connsiteX46" fmla="*/ 250376 w 526593"/>
                <a:gd name="connsiteY46" fmla="*/ 54311 h 403224"/>
                <a:gd name="connsiteX47" fmla="*/ 257762 w 526593"/>
                <a:gd name="connsiteY47" fmla="*/ 45259 h 403224"/>
                <a:gd name="connsiteX48" fmla="*/ 273353 w 526593"/>
                <a:gd name="connsiteY48" fmla="*/ 18927 h 403224"/>
                <a:gd name="connsiteX49" fmla="*/ 288124 w 526593"/>
                <a:gd name="connsiteY49" fmla="*/ 823 h 403224"/>
                <a:gd name="connsiteX50" fmla="*/ 288124 w 526593"/>
                <a:gd name="connsiteY50" fmla="*/ 0 h 403224"/>
                <a:gd name="connsiteX0" fmla="*/ 288124 w 526593"/>
                <a:gd name="connsiteY0" fmla="*/ 0 h 403224"/>
                <a:gd name="connsiteX1" fmla="*/ 514607 w 526593"/>
                <a:gd name="connsiteY1" fmla="*/ 13989 h 403224"/>
                <a:gd name="connsiteX2" fmla="*/ 516761 w 526593"/>
                <a:gd name="connsiteY2" fmla="*/ 29110 h 403224"/>
                <a:gd name="connsiteX3" fmla="*/ 517069 w 526593"/>
                <a:gd name="connsiteY3" fmla="*/ 31270 h 403224"/>
                <a:gd name="connsiteX4" fmla="*/ 514197 w 526593"/>
                <a:gd name="connsiteY4" fmla="*/ 43511 h 403224"/>
                <a:gd name="connsiteX5" fmla="*/ 513787 w 526593"/>
                <a:gd name="connsiteY5" fmla="*/ 45259 h 403224"/>
                <a:gd name="connsiteX6" fmla="*/ 513787 w 526593"/>
                <a:gd name="connsiteY6" fmla="*/ 51019 h 403224"/>
                <a:gd name="connsiteX7" fmla="*/ 513787 w 526593"/>
                <a:gd name="connsiteY7" fmla="*/ 51842 h 403224"/>
                <a:gd name="connsiteX8" fmla="*/ 510971 w 526593"/>
                <a:gd name="connsiteY8" fmla="*/ 55401 h 403224"/>
                <a:gd name="connsiteX9" fmla="*/ 514260 w 526593"/>
                <a:gd name="connsiteY9" fmla="*/ 46356 h 403224"/>
                <a:gd name="connsiteX10" fmla="*/ 514260 w 526593"/>
                <a:gd name="connsiteY10" fmla="*/ 45534 h 403224"/>
                <a:gd name="connsiteX11" fmla="*/ 517137 w 526593"/>
                <a:gd name="connsiteY11" fmla="*/ 33302 h 403224"/>
                <a:gd name="connsiteX12" fmla="*/ 517549 w 526593"/>
                <a:gd name="connsiteY12" fmla="*/ 31555 h 403224"/>
                <a:gd name="connsiteX13" fmla="*/ 515390 w 526593"/>
                <a:gd name="connsiteY13" fmla="*/ 16446 h 403224"/>
                <a:gd name="connsiteX14" fmla="*/ 515082 w 526593"/>
                <a:gd name="connsiteY14" fmla="*/ 14287 h 403224"/>
                <a:gd name="connsiteX15" fmla="*/ 526593 w 526593"/>
                <a:gd name="connsiteY15" fmla="*/ 15109 h 403224"/>
                <a:gd name="connsiteX16" fmla="*/ 523304 w 526593"/>
                <a:gd name="connsiteY16" fmla="*/ 38133 h 403224"/>
                <a:gd name="connsiteX17" fmla="*/ 510971 w 526593"/>
                <a:gd name="connsiteY17" fmla="*/ 117894 h 403224"/>
                <a:gd name="connsiteX18" fmla="*/ 325969 w 526593"/>
                <a:gd name="connsiteY18" fmla="*/ 108027 h 403224"/>
                <a:gd name="connsiteX19" fmla="*/ 301302 w 526593"/>
                <a:gd name="connsiteY19" fmla="*/ 265904 h 403224"/>
                <a:gd name="connsiteX20" fmla="*/ 270879 w 526593"/>
                <a:gd name="connsiteY20" fmla="*/ 274127 h 403224"/>
                <a:gd name="connsiteX21" fmla="*/ 234701 w 526593"/>
                <a:gd name="connsiteY21" fmla="*/ 296328 h 403224"/>
                <a:gd name="connsiteX22" fmla="*/ 231412 w 526593"/>
                <a:gd name="connsiteY22" fmla="*/ 322641 h 403224"/>
                <a:gd name="connsiteX23" fmla="*/ 225657 w 526593"/>
                <a:gd name="connsiteY23" fmla="*/ 395001 h 403224"/>
                <a:gd name="connsiteX24" fmla="*/ 24210 w 526593"/>
                <a:gd name="connsiteY24" fmla="*/ 384312 h 403224"/>
                <a:gd name="connsiteX25" fmla="*/ 5299 w 526593"/>
                <a:gd name="connsiteY25" fmla="*/ 392535 h 403224"/>
                <a:gd name="connsiteX26" fmla="*/ 365 w 526593"/>
                <a:gd name="connsiteY26" fmla="*/ 403224 h 403224"/>
                <a:gd name="connsiteX27" fmla="*/ 365 w 526593"/>
                <a:gd name="connsiteY27" fmla="*/ 395824 h 403224"/>
                <a:gd name="connsiteX28" fmla="*/ 6943 w 526593"/>
                <a:gd name="connsiteY28" fmla="*/ 373622 h 403224"/>
                <a:gd name="connsiteX29" fmla="*/ 7481 w 526593"/>
                <a:gd name="connsiteY29" fmla="*/ 374417 h 403224"/>
                <a:gd name="connsiteX30" fmla="*/ 12405 w 526593"/>
                <a:gd name="connsiteY30" fmla="*/ 353845 h 403224"/>
                <a:gd name="connsiteX31" fmla="*/ 27996 w 526593"/>
                <a:gd name="connsiteY31" fmla="*/ 326689 h 403224"/>
                <a:gd name="connsiteX32" fmla="*/ 41125 w 526593"/>
                <a:gd name="connsiteY32" fmla="*/ 320106 h 403224"/>
                <a:gd name="connsiteX33" fmla="*/ 53434 w 526593"/>
                <a:gd name="connsiteY33" fmla="*/ 302002 h 403224"/>
                <a:gd name="connsiteX34" fmla="*/ 68205 w 526593"/>
                <a:gd name="connsiteY34" fmla="*/ 281430 h 403224"/>
                <a:gd name="connsiteX35" fmla="*/ 69025 w 526593"/>
                <a:gd name="connsiteY35" fmla="*/ 269909 h 403224"/>
                <a:gd name="connsiteX36" fmla="*/ 97746 w 526593"/>
                <a:gd name="connsiteY36" fmla="*/ 234525 h 403224"/>
                <a:gd name="connsiteX37" fmla="*/ 106773 w 526593"/>
                <a:gd name="connsiteY37" fmla="*/ 217244 h 403224"/>
                <a:gd name="connsiteX38" fmla="*/ 144520 w 526593"/>
                <a:gd name="connsiteY38" fmla="*/ 182683 h 403224"/>
                <a:gd name="connsiteX39" fmla="*/ 160932 w 526593"/>
                <a:gd name="connsiteY39" fmla="*/ 161287 h 403224"/>
                <a:gd name="connsiteX40" fmla="*/ 167497 w 526593"/>
                <a:gd name="connsiteY40" fmla="*/ 147298 h 403224"/>
                <a:gd name="connsiteX41" fmla="*/ 177344 w 526593"/>
                <a:gd name="connsiteY41" fmla="*/ 126726 h 403224"/>
                <a:gd name="connsiteX42" fmla="*/ 192935 w 526593"/>
                <a:gd name="connsiteY42" fmla="*/ 94633 h 403224"/>
                <a:gd name="connsiteX43" fmla="*/ 210167 w 526593"/>
                <a:gd name="connsiteY43" fmla="*/ 76529 h 403224"/>
                <a:gd name="connsiteX44" fmla="*/ 225759 w 526593"/>
                <a:gd name="connsiteY44" fmla="*/ 68300 h 403224"/>
                <a:gd name="connsiteX45" fmla="*/ 250376 w 526593"/>
                <a:gd name="connsiteY45" fmla="*/ 54311 h 403224"/>
                <a:gd name="connsiteX46" fmla="*/ 257762 w 526593"/>
                <a:gd name="connsiteY46" fmla="*/ 45259 h 403224"/>
                <a:gd name="connsiteX47" fmla="*/ 273353 w 526593"/>
                <a:gd name="connsiteY47" fmla="*/ 18927 h 403224"/>
                <a:gd name="connsiteX48" fmla="*/ 288124 w 526593"/>
                <a:gd name="connsiteY48" fmla="*/ 823 h 403224"/>
                <a:gd name="connsiteX49" fmla="*/ 288124 w 526593"/>
                <a:gd name="connsiteY49" fmla="*/ 0 h 403224"/>
                <a:gd name="connsiteX0" fmla="*/ 288124 w 526593"/>
                <a:gd name="connsiteY0" fmla="*/ 0 h 403224"/>
                <a:gd name="connsiteX1" fmla="*/ 514607 w 526593"/>
                <a:gd name="connsiteY1" fmla="*/ 13989 h 403224"/>
                <a:gd name="connsiteX2" fmla="*/ 516761 w 526593"/>
                <a:gd name="connsiteY2" fmla="*/ 29110 h 403224"/>
                <a:gd name="connsiteX3" fmla="*/ 517069 w 526593"/>
                <a:gd name="connsiteY3" fmla="*/ 31270 h 403224"/>
                <a:gd name="connsiteX4" fmla="*/ 514197 w 526593"/>
                <a:gd name="connsiteY4" fmla="*/ 43511 h 403224"/>
                <a:gd name="connsiteX5" fmla="*/ 513787 w 526593"/>
                <a:gd name="connsiteY5" fmla="*/ 45259 h 403224"/>
                <a:gd name="connsiteX6" fmla="*/ 513787 w 526593"/>
                <a:gd name="connsiteY6" fmla="*/ 51019 h 403224"/>
                <a:gd name="connsiteX7" fmla="*/ 513787 w 526593"/>
                <a:gd name="connsiteY7" fmla="*/ 51842 h 403224"/>
                <a:gd name="connsiteX8" fmla="*/ 514260 w 526593"/>
                <a:gd name="connsiteY8" fmla="*/ 46356 h 403224"/>
                <a:gd name="connsiteX9" fmla="*/ 514260 w 526593"/>
                <a:gd name="connsiteY9" fmla="*/ 45534 h 403224"/>
                <a:gd name="connsiteX10" fmla="*/ 517137 w 526593"/>
                <a:gd name="connsiteY10" fmla="*/ 33302 h 403224"/>
                <a:gd name="connsiteX11" fmla="*/ 517549 w 526593"/>
                <a:gd name="connsiteY11" fmla="*/ 31555 h 403224"/>
                <a:gd name="connsiteX12" fmla="*/ 515390 w 526593"/>
                <a:gd name="connsiteY12" fmla="*/ 16446 h 403224"/>
                <a:gd name="connsiteX13" fmla="*/ 515082 w 526593"/>
                <a:gd name="connsiteY13" fmla="*/ 14287 h 403224"/>
                <a:gd name="connsiteX14" fmla="*/ 526593 w 526593"/>
                <a:gd name="connsiteY14" fmla="*/ 15109 h 403224"/>
                <a:gd name="connsiteX15" fmla="*/ 523304 w 526593"/>
                <a:gd name="connsiteY15" fmla="*/ 38133 h 403224"/>
                <a:gd name="connsiteX16" fmla="*/ 510971 w 526593"/>
                <a:gd name="connsiteY16" fmla="*/ 117894 h 403224"/>
                <a:gd name="connsiteX17" fmla="*/ 325969 w 526593"/>
                <a:gd name="connsiteY17" fmla="*/ 108027 h 403224"/>
                <a:gd name="connsiteX18" fmla="*/ 301302 w 526593"/>
                <a:gd name="connsiteY18" fmla="*/ 265904 h 403224"/>
                <a:gd name="connsiteX19" fmla="*/ 270879 w 526593"/>
                <a:gd name="connsiteY19" fmla="*/ 274127 h 403224"/>
                <a:gd name="connsiteX20" fmla="*/ 234701 w 526593"/>
                <a:gd name="connsiteY20" fmla="*/ 296328 h 403224"/>
                <a:gd name="connsiteX21" fmla="*/ 231412 w 526593"/>
                <a:gd name="connsiteY21" fmla="*/ 322641 h 403224"/>
                <a:gd name="connsiteX22" fmla="*/ 225657 w 526593"/>
                <a:gd name="connsiteY22" fmla="*/ 395001 h 403224"/>
                <a:gd name="connsiteX23" fmla="*/ 24210 w 526593"/>
                <a:gd name="connsiteY23" fmla="*/ 384312 h 403224"/>
                <a:gd name="connsiteX24" fmla="*/ 5299 w 526593"/>
                <a:gd name="connsiteY24" fmla="*/ 392535 h 403224"/>
                <a:gd name="connsiteX25" fmla="*/ 365 w 526593"/>
                <a:gd name="connsiteY25" fmla="*/ 403224 h 403224"/>
                <a:gd name="connsiteX26" fmla="*/ 365 w 526593"/>
                <a:gd name="connsiteY26" fmla="*/ 395824 h 403224"/>
                <a:gd name="connsiteX27" fmla="*/ 6943 w 526593"/>
                <a:gd name="connsiteY27" fmla="*/ 373622 h 403224"/>
                <a:gd name="connsiteX28" fmla="*/ 7481 w 526593"/>
                <a:gd name="connsiteY28" fmla="*/ 374417 h 403224"/>
                <a:gd name="connsiteX29" fmla="*/ 12405 w 526593"/>
                <a:gd name="connsiteY29" fmla="*/ 353845 h 403224"/>
                <a:gd name="connsiteX30" fmla="*/ 27996 w 526593"/>
                <a:gd name="connsiteY30" fmla="*/ 326689 h 403224"/>
                <a:gd name="connsiteX31" fmla="*/ 41125 w 526593"/>
                <a:gd name="connsiteY31" fmla="*/ 320106 h 403224"/>
                <a:gd name="connsiteX32" fmla="*/ 53434 w 526593"/>
                <a:gd name="connsiteY32" fmla="*/ 302002 h 403224"/>
                <a:gd name="connsiteX33" fmla="*/ 68205 w 526593"/>
                <a:gd name="connsiteY33" fmla="*/ 281430 h 403224"/>
                <a:gd name="connsiteX34" fmla="*/ 69025 w 526593"/>
                <a:gd name="connsiteY34" fmla="*/ 269909 h 403224"/>
                <a:gd name="connsiteX35" fmla="*/ 97746 w 526593"/>
                <a:gd name="connsiteY35" fmla="*/ 234525 h 403224"/>
                <a:gd name="connsiteX36" fmla="*/ 106773 w 526593"/>
                <a:gd name="connsiteY36" fmla="*/ 217244 h 403224"/>
                <a:gd name="connsiteX37" fmla="*/ 144520 w 526593"/>
                <a:gd name="connsiteY37" fmla="*/ 182683 h 403224"/>
                <a:gd name="connsiteX38" fmla="*/ 160932 w 526593"/>
                <a:gd name="connsiteY38" fmla="*/ 161287 h 403224"/>
                <a:gd name="connsiteX39" fmla="*/ 167497 w 526593"/>
                <a:gd name="connsiteY39" fmla="*/ 147298 h 403224"/>
                <a:gd name="connsiteX40" fmla="*/ 177344 w 526593"/>
                <a:gd name="connsiteY40" fmla="*/ 126726 h 403224"/>
                <a:gd name="connsiteX41" fmla="*/ 192935 w 526593"/>
                <a:gd name="connsiteY41" fmla="*/ 94633 h 403224"/>
                <a:gd name="connsiteX42" fmla="*/ 210167 w 526593"/>
                <a:gd name="connsiteY42" fmla="*/ 76529 h 403224"/>
                <a:gd name="connsiteX43" fmla="*/ 225759 w 526593"/>
                <a:gd name="connsiteY43" fmla="*/ 68300 h 403224"/>
                <a:gd name="connsiteX44" fmla="*/ 250376 w 526593"/>
                <a:gd name="connsiteY44" fmla="*/ 54311 h 403224"/>
                <a:gd name="connsiteX45" fmla="*/ 257762 w 526593"/>
                <a:gd name="connsiteY45" fmla="*/ 45259 h 403224"/>
                <a:gd name="connsiteX46" fmla="*/ 273353 w 526593"/>
                <a:gd name="connsiteY46" fmla="*/ 18927 h 403224"/>
                <a:gd name="connsiteX47" fmla="*/ 288124 w 526593"/>
                <a:gd name="connsiteY47" fmla="*/ 823 h 403224"/>
                <a:gd name="connsiteX48" fmla="*/ 288124 w 526593"/>
                <a:gd name="connsiteY48" fmla="*/ 0 h 403224"/>
                <a:gd name="connsiteX0" fmla="*/ 288124 w 526593"/>
                <a:gd name="connsiteY0" fmla="*/ 0 h 403224"/>
                <a:gd name="connsiteX1" fmla="*/ 514607 w 526593"/>
                <a:gd name="connsiteY1" fmla="*/ 13989 h 403224"/>
                <a:gd name="connsiteX2" fmla="*/ 516761 w 526593"/>
                <a:gd name="connsiteY2" fmla="*/ 29110 h 403224"/>
                <a:gd name="connsiteX3" fmla="*/ 517069 w 526593"/>
                <a:gd name="connsiteY3" fmla="*/ 31270 h 403224"/>
                <a:gd name="connsiteX4" fmla="*/ 514197 w 526593"/>
                <a:gd name="connsiteY4" fmla="*/ 43511 h 403224"/>
                <a:gd name="connsiteX5" fmla="*/ 513787 w 526593"/>
                <a:gd name="connsiteY5" fmla="*/ 45259 h 403224"/>
                <a:gd name="connsiteX6" fmla="*/ 513787 w 526593"/>
                <a:gd name="connsiteY6" fmla="*/ 51019 h 403224"/>
                <a:gd name="connsiteX7" fmla="*/ 513787 w 526593"/>
                <a:gd name="connsiteY7" fmla="*/ 51842 h 403224"/>
                <a:gd name="connsiteX8" fmla="*/ 514260 w 526593"/>
                <a:gd name="connsiteY8" fmla="*/ 46356 h 403224"/>
                <a:gd name="connsiteX9" fmla="*/ 517137 w 526593"/>
                <a:gd name="connsiteY9" fmla="*/ 33302 h 403224"/>
                <a:gd name="connsiteX10" fmla="*/ 517549 w 526593"/>
                <a:gd name="connsiteY10" fmla="*/ 31555 h 403224"/>
                <a:gd name="connsiteX11" fmla="*/ 515390 w 526593"/>
                <a:gd name="connsiteY11" fmla="*/ 16446 h 403224"/>
                <a:gd name="connsiteX12" fmla="*/ 515082 w 526593"/>
                <a:gd name="connsiteY12" fmla="*/ 14287 h 403224"/>
                <a:gd name="connsiteX13" fmla="*/ 526593 w 526593"/>
                <a:gd name="connsiteY13" fmla="*/ 15109 h 403224"/>
                <a:gd name="connsiteX14" fmla="*/ 523304 w 526593"/>
                <a:gd name="connsiteY14" fmla="*/ 38133 h 403224"/>
                <a:gd name="connsiteX15" fmla="*/ 510971 w 526593"/>
                <a:gd name="connsiteY15" fmla="*/ 117894 h 403224"/>
                <a:gd name="connsiteX16" fmla="*/ 325969 w 526593"/>
                <a:gd name="connsiteY16" fmla="*/ 108027 h 403224"/>
                <a:gd name="connsiteX17" fmla="*/ 301302 w 526593"/>
                <a:gd name="connsiteY17" fmla="*/ 265904 h 403224"/>
                <a:gd name="connsiteX18" fmla="*/ 270879 w 526593"/>
                <a:gd name="connsiteY18" fmla="*/ 274127 h 403224"/>
                <a:gd name="connsiteX19" fmla="*/ 234701 w 526593"/>
                <a:gd name="connsiteY19" fmla="*/ 296328 h 403224"/>
                <a:gd name="connsiteX20" fmla="*/ 231412 w 526593"/>
                <a:gd name="connsiteY20" fmla="*/ 322641 h 403224"/>
                <a:gd name="connsiteX21" fmla="*/ 225657 w 526593"/>
                <a:gd name="connsiteY21" fmla="*/ 395001 h 403224"/>
                <a:gd name="connsiteX22" fmla="*/ 24210 w 526593"/>
                <a:gd name="connsiteY22" fmla="*/ 384312 h 403224"/>
                <a:gd name="connsiteX23" fmla="*/ 5299 w 526593"/>
                <a:gd name="connsiteY23" fmla="*/ 392535 h 403224"/>
                <a:gd name="connsiteX24" fmla="*/ 365 w 526593"/>
                <a:gd name="connsiteY24" fmla="*/ 403224 h 403224"/>
                <a:gd name="connsiteX25" fmla="*/ 365 w 526593"/>
                <a:gd name="connsiteY25" fmla="*/ 395824 h 403224"/>
                <a:gd name="connsiteX26" fmla="*/ 6943 w 526593"/>
                <a:gd name="connsiteY26" fmla="*/ 373622 h 403224"/>
                <a:gd name="connsiteX27" fmla="*/ 7481 w 526593"/>
                <a:gd name="connsiteY27" fmla="*/ 374417 h 403224"/>
                <a:gd name="connsiteX28" fmla="*/ 12405 w 526593"/>
                <a:gd name="connsiteY28" fmla="*/ 353845 h 403224"/>
                <a:gd name="connsiteX29" fmla="*/ 27996 w 526593"/>
                <a:gd name="connsiteY29" fmla="*/ 326689 h 403224"/>
                <a:gd name="connsiteX30" fmla="*/ 41125 w 526593"/>
                <a:gd name="connsiteY30" fmla="*/ 320106 h 403224"/>
                <a:gd name="connsiteX31" fmla="*/ 53434 w 526593"/>
                <a:gd name="connsiteY31" fmla="*/ 302002 h 403224"/>
                <a:gd name="connsiteX32" fmla="*/ 68205 w 526593"/>
                <a:gd name="connsiteY32" fmla="*/ 281430 h 403224"/>
                <a:gd name="connsiteX33" fmla="*/ 69025 w 526593"/>
                <a:gd name="connsiteY33" fmla="*/ 269909 h 403224"/>
                <a:gd name="connsiteX34" fmla="*/ 97746 w 526593"/>
                <a:gd name="connsiteY34" fmla="*/ 234525 h 403224"/>
                <a:gd name="connsiteX35" fmla="*/ 106773 w 526593"/>
                <a:gd name="connsiteY35" fmla="*/ 217244 h 403224"/>
                <a:gd name="connsiteX36" fmla="*/ 144520 w 526593"/>
                <a:gd name="connsiteY36" fmla="*/ 182683 h 403224"/>
                <a:gd name="connsiteX37" fmla="*/ 160932 w 526593"/>
                <a:gd name="connsiteY37" fmla="*/ 161287 h 403224"/>
                <a:gd name="connsiteX38" fmla="*/ 167497 w 526593"/>
                <a:gd name="connsiteY38" fmla="*/ 147298 h 403224"/>
                <a:gd name="connsiteX39" fmla="*/ 177344 w 526593"/>
                <a:gd name="connsiteY39" fmla="*/ 126726 h 403224"/>
                <a:gd name="connsiteX40" fmla="*/ 192935 w 526593"/>
                <a:gd name="connsiteY40" fmla="*/ 94633 h 403224"/>
                <a:gd name="connsiteX41" fmla="*/ 210167 w 526593"/>
                <a:gd name="connsiteY41" fmla="*/ 76529 h 403224"/>
                <a:gd name="connsiteX42" fmla="*/ 225759 w 526593"/>
                <a:gd name="connsiteY42" fmla="*/ 68300 h 403224"/>
                <a:gd name="connsiteX43" fmla="*/ 250376 w 526593"/>
                <a:gd name="connsiteY43" fmla="*/ 54311 h 403224"/>
                <a:gd name="connsiteX44" fmla="*/ 257762 w 526593"/>
                <a:gd name="connsiteY44" fmla="*/ 45259 h 403224"/>
                <a:gd name="connsiteX45" fmla="*/ 273353 w 526593"/>
                <a:gd name="connsiteY45" fmla="*/ 18927 h 403224"/>
                <a:gd name="connsiteX46" fmla="*/ 288124 w 526593"/>
                <a:gd name="connsiteY46" fmla="*/ 823 h 403224"/>
                <a:gd name="connsiteX47" fmla="*/ 288124 w 526593"/>
                <a:gd name="connsiteY47" fmla="*/ 0 h 403224"/>
                <a:gd name="connsiteX0" fmla="*/ 288124 w 526593"/>
                <a:gd name="connsiteY0" fmla="*/ 0 h 403224"/>
                <a:gd name="connsiteX1" fmla="*/ 514607 w 526593"/>
                <a:gd name="connsiteY1" fmla="*/ 13989 h 403224"/>
                <a:gd name="connsiteX2" fmla="*/ 516761 w 526593"/>
                <a:gd name="connsiteY2" fmla="*/ 29110 h 403224"/>
                <a:gd name="connsiteX3" fmla="*/ 517069 w 526593"/>
                <a:gd name="connsiteY3" fmla="*/ 31270 h 403224"/>
                <a:gd name="connsiteX4" fmla="*/ 514197 w 526593"/>
                <a:gd name="connsiteY4" fmla="*/ 43511 h 403224"/>
                <a:gd name="connsiteX5" fmla="*/ 513787 w 526593"/>
                <a:gd name="connsiteY5" fmla="*/ 45259 h 403224"/>
                <a:gd name="connsiteX6" fmla="*/ 513787 w 526593"/>
                <a:gd name="connsiteY6" fmla="*/ 51019 h 403224"/>
                <a:gd name="connsiteX7" fmla="*/ 513787 w 526593"/>
                <a:gd name="connsiteY7" fmla="*/ 51842 h 403224"/>
                <a:gd name="connsiteX8" fmla="*/ 514260 w 526593"/>
                <a:gd name="connsiteY8" fmla="*/ 46356 h 403224"/>
                <a:gd name="connsiteX9" fmla="*/ 517137 w 526593"/>
                <a:gd name="connsiteY9" fmla="*/ 33302 h 403224"/>
                <a:gd name="connsiteX10" fmla="*/ 517549 w 526593"/>
                <a:gd name="connsiteY10" fmla="*/ 31555 h 403224"/>
                <a:gd name="connsiteX11" fmla="*/ 515390 w 526593"/>
                <a:gd name="connsiteY11" fmla="*/ 16446 h 403224"/>
                <a:gd name="connsiteX12" fmla="*/ 515082 w 526593"/>
                <a:gd name="connsiteY12" fmla="*/ 14287 h 403224"/>
                <a:gd name="connsiteX13" fmla="*/ 526593 w 526593"/>
                <a:gd name="connsiteY13" fmla="*/ 15109 h 403224"/>
                <a:gd name="connsiteX14" fmla="*/ 510971 w 526593"/>
                <a:gd name="connsiteY14" fmla="*/ 117894 h 403224"/>
                <a:gd name="connsiteX15" fmla="*/ 325969 w 526593"/>
                <a:gd name="connsiteY15" fmla="*/ 108027 h 403224"/>
                <a:gd name="connsiteX16" fmla="*/ 301302 w 526593"/>
                <a:gd name="connsiteY16" fmla="*/ 265904 h 403224"/>
                <a:gd name="connsiteX17" fmla="*/ 270879 w 526593"/>
                <a:gd name="connsiteY17" fmla="*/ 274127 h 403224"/>
                <a:gd name="connsiteX18" fmla="*/ 234701 w 526593"/>
                <a:gd name="connsiteY18" fmla="*/ 296328 h 403224"/>
                <a:gd name="connsiteX19" fmla="*/ 231412 w 526593"/>
                <a:gd name="connsiteY19" fmla="*/ 322641 h 403224"/>
                <a:gd name="connsiteX20" fmla="*/ 225657 w 526593"/>
                <a:gd name="connsiteY20" fmla="*/ 395001 h 403224"/>
                <a:gd name="connsiteX21" fmla="*/ 24210 w 526593"/>
                <a:gd name="connsiteY21" fmla="*/ 384312 h 403224"/>
                <a:gd name="connsiteX22" fmla="*/ 5299 w 526593"/>
                <a:gd name="connsiteY22" fmla="*/ 392535 h 403224"/>
                <a:gd name="connsiteX23" fmla="*/ 365 w 526593"/>
                <a:gd name="connsiteY23" fmla="*/ 403224 h 403224"/>
                <a:gd name="connsiteX24" fmla="*/ 365 w 526593"/>
                <a:gd name="connsiteY24" fmla="*/ 395824 h 403224"/>
                <a:gd name="connsiteX25" fmla="*/ 6943 w 526593"/>
                <a:gd name="connsiteY25" fmla="*/ 373622 h 403224"/>
                <a:gd name="connsiteX26" fmla="*/ 7481 w 526593"/>
                <a:gd name="connsiteY26" fmla="*/ 374417 h 403224"/>
                <a:gd name="connsiteX27" fmla="*/ 12405 w 526593"/>
                <a:gd name="connsiteY27" fmla="*/ 353845 h 403224"/>
                <a:gd name="connsiteX28" fmla="*/ 27996 w 526593"/>
                <a:gd name="connsiteY28" fmla="*/ 326689 h 403224"/>
                <a:gd name="connsiteX29" fmla="*/ 41125 w 526593"/>
                <a:gd name="connsiteY29" fmla="*/ 320106 h 403224"/>
                <a:gd name="connsiteX30" fmla="*/ 53434 w 526593"/>
                <a:gd name="connsiteY30" fmla="*/ 302002 h 403224"/>
                <a:gd name="connsiteX31" fmla="*/ 68205 w 526593"/>
                <a:gd name="connsiteY31" fmla="*/ 281430 h 403224"/>
                <a:gd name="connsiteX32" fmla="*/ 69025 w 526593"/>
                <a:gd name="connsiteY32" fmla="*/ 269909 h 403224"/>
                <a:gd name="connsiteX33" fmla="*/ 97746 w 526593"/>
                <a:gd name="connsiteY33" fmla="*/ 234525 h 403224"/>
                <a:gd name="connsiteX34" fmla="*/ 106773 w 526593"/>
                <a:gd name="connsiteY34" fmla="*/ 217244 h 403224"/>
                <a:gd name="connsiteX35" fmla="*/ 144520 w 526593"/>
                <a:gd name="connsiteY35" fmla="*/ 182683 h 403224"/>
                <a:gd name="connsiteX36" fmla="*/ 160932 w 526593"/>
                <a:gd name="connsiteY36" fmla="*/ 161287 h 403224"/>
                <a:gd name="connsiteX37" fmla="*/ 167497 w 526593"/>
                <a:gd name="connsiteY37" fmla="*/ 147298 h 403224"/>
                <a:gd name="connsiteX38" fmla="*/ 177344 w 526593"/>
                <a:gd name="connsiteY38" fmla="*/ 126726 h 403224"/>
                <a:gd name="connsiteX39" fmla="*/ 192935 w 526593"/>
                <a:gd name="connsiteY39" fmla="*/ 94633 h 403224"/>
                <a:gd name="connsiteX40" fmla="*/ 210167 w 526593"/>
                <a:gd name="connsiteY40" fmla="*/ 76529 h 403224"/>
                <a:gd name="connsiteX41" fmla="*/ 225759 w 526593"/>
                <a:gd name="connsiteY41" fmla="*/ 68300 h 403224"/>
                <a:gd name="connsiteX42" fmla="*/ 250376 w 526593"/>
                <a:gd name="connsiteY42" fmla="*/ 54311 h 403224"/>
                <a:gd name="connsiteX43" fmla="*/ 257762 w 526593"/>
                <a:gd name="connsiteY43" fmla="*/ 45259 h 403224"/>
                <a:gd name="connsiteX44" fmla="*/ 273353 w 526593"/>
                <a:gd name="connsiteY44" fmla="*/ 18927 h 403224"/>
                <a:gd name="connsiteX45" fmla="*/ 288124 w 526593"/>
                <a:gd name="connsiteY45" fmla="*/ 823 h 403224"/>
                <a:gd name="connsiteX46" fmla="*/ 288124 w 526593"/>
                <a:gd name="connsiteY46" fmla="*/ 0 h 403224"/>
                <a:gd name="connsiteX0" fmla="*/ 288124 w 526593"/>
                <a:gd name="connsiteY0" fmla="*/ 0 h 403224"/>
                <a:gd name="connsiteX1" fmla="*/ 514607 w 526593"/>
                <a:gd name="connsiteY1" fmla="*/ 13989 h 403224"/>
                <a:gd name="connsiteX2" fmla="*/ 516761 w 526593"/>
                <a:gd name="connsiteY2" fmla="*/ 29110 h 403224"/>
                <a:gd name="connsiteX3" fmla="*/ 517069 w 526593"/>
                <a:gd name="connsiteY3" fmla="*/ 31270 h 403224"/>
                <a:gd name="connsiteX4" fmla="*/ 514197 w 526593"/>
                <a:gd name="connsiteY4" fmla="*/ 43511 h 403224"/>
                <a:gd name="connsiteX5" fmla="*/ 513787 w 526593"/>
                <a:gd name="connsiteY5" fmla="*/ 45259 h 403224"/>
                <a:gd name="connsiteX6" fmla="*/ 513787 w 526593"/>
                <a:gd name="connsiteY6" fmla="*/ 51019 h 403224"/>
                <a:gd name="connsiteX7" fmla="*/ 513787 w 526593"/>
                <a:gd name="connsiteY7" fmla="*/ 51842 h 403224"/>
                <a:gd name="connsiteX8" fmla="*/ 517137 w 526593"/>
                <a:gd name="connsiteY8" fmla="*/ 33302 h 403224"/>
                <a:gd name="connsiteX9" fmla="*/ 517549 w 526593"/>
                <a:gd name="connsiteY9" fmla="*/ 31555 h 403224"/>
                <a:gd name="connsiteX10" fmla="*/ 515390 w 526593"/>
                <a:gd name="connsiteY10" fmla="*/ 16446 h 403224"/>
                <a:gd name="connsiteX11" fmla="*/ 515082 w 526593"/>
                <a:gd name="connsiteY11" fmla="*/ 14287 h 403224"/>
                <a:gd name="connsiteX12" fmla="*/ 526593 w 526593"/>
                <a:gd name="connsiteY12" fmla="*/ 15109 h 403224"/>
                <a:gd name="connsiteX13" fmla="*/ 510971 w 526593"/>
                <a:gd name="connsiteY13" fmla="*/ 117894 h 403224"/>
                <a:gd name="connsiteX14" fmla="*/ 325969 w 526593"/>
                <a:gd name="connsiteY14" fmla="*/ 108027 h 403224"/>
                <a:gd name="connsiteX15" fmla="*/ 301302 w 526593"/>
                <a:gd name="connsiteY15" fmla="*/ 265904 h 403224"/>
                <a:gd name="connsiteX16" fmla="*/ 270879 w 526593"/>
                <a:gd name="connsiteY16" fmla="*/ 274127 h 403224"/>
                <a:gd name="connsiteX17" fmla="*/ 234701 w 526593"/>
                <a:gd name="connsiteY17" fmla="*/ 296328 h 403224"/>
                <a:gd name="connsiteX18" fmla="*/ 231412 w 526593"/>
                <a:gd name="connsiteY18" fmla="*/ 322641 h 403224"/>
                <a:gd name="connsiteX19" fmla="*/ 225657 w 526593"/>
                <a:gd name="connsiteY19" fmla="*/ 395001 h 403224"/>
                <a:gd name="connsiteX20" fmla="*/ 24210 w 526593"/>
                <a:gd name="connsiteY20" fmla="*/ 384312 h 403224"/>
                <a:gd name="connsiteX21" fmla="*/ 5299 w 526593"/>
                <a:gd name="connsiteY21" fmla="*/ 392535 h 403224"/>
                <a:gd name="connsiteX22" fmla="*/ 365 w 526593"/>
                <a:gd name="connsiteY22" fmla="*/ 403224 h 403224"/>
                <a:gd name="connsiteX23" fmla="*/ 365 w 526593"/>
                <a:gd name="connsiteY23" fmla="*/ 395824 h 403224"/>
                <a:gd name="connsiteX24" fmla="*/ 6943 w 526593"/>
                <a:gd name="connsiteY24" fmla="*/ 373622 h 403224"/>
                <a:gd name="connsiteX25" fmla="*/ 7481 w 526593"/>
                <a:gd name="connsiteY25" fmla="*/ 374417 h 403224"/>
                <a:gd name="connsiteX26" fmla="*/ 12405 w 526593"/>
                <a:gd name="connsiteY26" fmla="*/ 353845 h 403224"/>
                <a:gd name="connsiteX27" fmla="*/ 27996 w 526593"/>
                <a:gd name="connsiteY27" fmla="*/ 326689 h 403224"/>
                <a:gd name="connsiteX28" fmla="*/ 41125 w 526593"/>
                <a:gd name="connsiteY28" fmla="*/ 320106 h 403224"/>
                <a:gd name="connsiteX29" fmla="*/ 53434 w 526593"/>
                <a:gd name="connsiteY29" fmla="*/ 302002 h 403224"/>
                <a:gd name="connsiteX30" fmla="*/ 68205 w 526593"/>
                <a:gd name="connsiteY30" fmla="*/ 281430 h 403224"/>
                <a:gd name="connsiteX31" fmla="*/ 69025 w 526593"/>
                <a:gd name="connsiteY31" fmla="*/ 269909 h 403224"/>
                <a:gd name="connsiteX32" fmla="*/ 97746 w 526593"/>
                <a:gd name="connsiteY32" fmla="*/ 234525 h 403224"/>
                <a:gd name="connsiteX33" fmla="*/ 106773 w 526593"/>
                <a:gd name="connsiteY33" fmla="*/ 217244 h 403224"/>
                <a:gd name="connsiteX34" fmla="*/ 144520 w 526593"/>
                <a:gd name="connsiteY34" fmla="*/ 182683 h 403224"/>
                <a:gd name="connsiteX35" fmla="*/ 160932 w 526593"/>
                <a:gd name="connsiteY35" fmla="*/ 161287 h 403224"/>
                <a:gd name="connsiteX36" fmla="*/ 167497 w 526593"/>
                <a:gd name="connsiteY36" fmla="*/ 147298 h 403224"/>
                <a:gd name="connsiteX37" fmla="*/ 177344 w 526593"/>
                <a:gd name="connsiteY37" fmla="*/ 126726 h 403224"/>
                <a:gd name="connsiteX38" fmla="*/ 192935 w 526593"/>
                <a:gd name="connsiteY38" fmla="*/ 94633 h 403224"/>
                <a:gd name="connsiteX39" fmla="*/ 210167 w 526593"/>
                <a:gd name="connsiteY39" fmla="*/ 76529 h 403224"/>
                <a:gd name="connsiteX40" fmla="*/ 225759 w 526593"/>
                <a:gd name="connsiteY40" fmla="*/ 68300 h 403224"/>
                <a:gd name="connsiteX41" fmla="*/ 250376 w 526593"/>
                <a:gd name="connsiteY41" fmla="*/ 54311 h 403224"/>
                <a:gd name="connsiteX42" fmla="*/ 257762 w 526593"/>
                <a:gd name="connsiteY42" fmla="*/ 45259 h 403224"/>
                <a:gd name="connsiteX43" fmla="*/ 273353 w 526593"/>
                <a:gd name="connsiteY43" fmla="*/ 18927 h 403224"/>
                <a:gd name="connsiteX44" fmla="*/ 288124 w 526593"/>
                <a:gd name="connsiteY44" fmla="*/ 823 h 403224"/>
                <a:gd name="connsiteX45" fmla="*/ 288124 w 526593"/>
                <a:gd name="connsiteY45" fmla="*/ 0 h 403224"/>
                <a:gd name="connsiteX0" fmla="*/ 288124 w 526593"/>
                <a:gd name="connsiteY0" fmla="*/ 0 h 403224"/>
                <a:gd name="connsiteX1" fmla="*/ 514607 w 526593"/>
                <a:gd name="connsiteY1" fmla="*/ 13989 h 403224"/>
                <a:gd name="connsiteX2" fmla="*/ 516761 w 526593"/>
                <a:gd name="connsiteY2" fmla="*/ 29110 h 403224"/>
                <a:gd name="connsiteX3" fmla="*/ 517069 w 526593"/>
                <a:gd name="connsiteY3" fmla="*/ 31270 h 403224"/>
                <a:gd name="connsiteX4" fmla="*/ 514197 w 526593"/>
                <a:gd name="connsiteY4" fmla="*/ 43511 h 403224"/>
                <a:gd name="connsiteX5" fmla="*/ 513787 w 526593"/>
                <a:gd name="connsiteY5" fmla="*/ 45259 h 403224"/>
                <a:gd name="connsiteX6" fmla="*/ 513787 w 526593"/>
                <a:gd name="connsiteY6" fmla="*/ 51019 h 403224"/>
                <a:gd name="connsiteX7" fmla="*/ 517137 w 526593"/>
                <a:gd name="connsiteY7" fmla="*/ 33302 h 403224"/>
                <a:gd name="connsiteX8" fmla="*/ 517549 w 526593"/>
                <a:gd name="connsiteY8" fmla="*/ 31555 h 403224"/>
                <a:gd name="connsiteX9" fmla="*/ 515390 w 526593"/>
                <a:gd name="connsiteY9" fmla="*/ 16446 h 403224"/>
                <a:gd name="connsiteX10" fmla="*/ 515082 w 526593"/>
                <a:gd name="connsiteY10" fmla="*/ 14287 h 403224"/>
                <a:gd name="connsiteX11" fmla="*/ 526593 w 526593"/>
                <a:gd name="connsiteY11" fmla="*/ 15109 h 403224"/>
                <a:gd name="connsiteX12" fmla="*/ 510971 w 526593"/>
                <a:gd name="connsiteY12" fmla="*/ 117894 h 403224"/>
                <a:gd name="connsiteX13" fmla="*/ 325969 w 526593"/>
                <a:gd name="connsiteY13" fmla="*/ 108027 h 403224"/>
                <a:gd name="connsiteX14" fmla="*/ 301302 w 526593"/>
                <a:gd name="connsiteY14" fmla="*/ 265904 h 403224"/>
                <a:gd name="connsiteX15" fmla="*/ 270879 w 526593"/>
                <a:gd name="connsiteY15" fmla="*/ 274127 h 403224"/>
                <a:gd name="connsiteX16" fmla="*/ 234701 w 526593"/>
                <a:gd name="connsiteY16" fmla="*/ 296328 h 403224"/>
                <a:gd name="connsiteX17" fmla="*/ 231412 w 526593"/>
                <a:gd name="connsiteY17" fmla="*/ 322641 h 403224"/>
                <a:gd name="connsiteX18" fmla="*/ 225657 w 526593"/>
                <a:gd name="connsiteY18" fmla="*/ 395001 h 403224"/>
                <a:gd name="connsiteX19" fmla="*/ 24210 w 526593"/>
                <a:gd name="connsiteY19" fmla="*/ 384312 h 403224"/>
                <a:gd name="connsiteX20" fmla="*/ 5299 w 526593"/>
                <a:gd name="connsiteY20" fmla="*/ 392535 h 403224"/>
                <a:gd name="connsiteX21" fmla="*/ 365 w 526593"/>
                <a:gd name="connsiteY21" fmla="*/ 403224 h 403224"/>
                <a:gd name="connsiteX22" fmla="*/ 365 w 526593"/>
                <a:gd name="connsiteY22" fmla="*/ 395824 h 403224"/>
                <a:gd name="connsiteX23" fmla="*/ 6943 w 526593"/>
                <a:gd name="connsiteY23" fmla="*/ 373622 h 403224"/>
                <a:gd name="connsiteX24" fmla="*/ 7481 w 526593"/>
                <a:gd name="connsiteY24" fmla="*/ 374417 h 403224"/>
                <a:gd name="connsiteX25" fmla="*/ 12405 w 526593"/>
                <a:gd name="connsiteY25" fmla="*/ 353845 h 403224"/>
                <a:gd name="connsiteX26" fmla="*/ 27996 w 526593"/>
                <a:gd name="connsiteY26" fmla="*/ 326689 h 403224"/>
                <a:gd name="connsiteX27" fmla="*/ 41125 w 526593"/>
                <a:gd name="connsiteY27" fmla="*/ 320106 h 403224"/>
                <a:gd name="connsiteX28" fmla="*/ 53434 w 526593"/>
                <a:gd name="connsiteY28" fmla="*/ 302002 h 403224"/>
                <a:gd name="connsiteX29" fmla="*/ 68205 w 526593"/>
                <a:gd name="connsiteY29" fmla="*/ 281430 h 403224"/>
                <a:gd name="connsiteX30" fmla="*/ 69025 w 526593"/>
                <a:gd name="connsiteY30" fmla="*/ 269909 h 403224"/>
                <a:gd name="connsiteX31" fmla="*/ 97746 w 526593"/>
                <a:gd name="connsiteY31" fmla="*/ 234525 h 403224"/>
                <a:gd name="connsiteX32" fmla="*/ 106773 w 526593"/>
                <a:gd name="connsiteY32" fmla="*/ 217244 h 403224"/>
                <a:gd name="connsiteX33" fmla="*/ 144520 w 526593"/>
                <a:gd name="connsiteY33" fmla="*/ 182683 h 403224"/>
                <a:gd name="connsiteX34" fmla="*/ 160932 w 526593"/>
                <a:gd name="connsiteY34" fmla="*/ 161287 h 403224"/>
                <a:gd name="connsiteX35" fmla="*/ 167497 w 526593"/>
                <a:gd name="connsiteY35" fmla="*/ 147298 h 403224"/>
                <a:gd name="connsiteX36" fmla="*/ 177344 w 526593"/>
                <a:gd name="connsiteY36" fmla="*/ 126726 h 403224"/>
                <a:gd name="connsiteX37" fmla="*/ 192935 w 526593"/>
                <a:gd name="connsiteY37" fmla="*/ 94633 h 403224"/>
                <a:gd name="connsiteX38" fmla="*/ 210167 w 526593"/>
                <a:gd name="connsiteY38" fmla="*/ 76529 h 403224"/>
                <a:gd name="connsiteX39" fmla="*/ 225759 w 526593"/>
                <a:gd name="connsiteY39" fmla="*/ 68300 h 403224"/>
                <a:gd name="connsiteX40" fmla="*/ 250376 w 526593"/>
                <a:gd name="connsiteY40" fmla="*/ 54311 h 403224"/>
                <a:gd name="connsiteX41" fmla="*/ 257762 w 526593"/>
                <a:gd name="connsiteY41" fmla="*/ 45259 h 403224"/>
                <a:gd name="connsiteX42" fmla="*/ 273353 w 526593"/>
                <a:gd name="connsiteY42" fmla="*/ 18927 h 403224"/>
                <a:gd name="connsiteX43" fmla="*/ 288124 w 526593"/>
                <a:gd name="connsiteY43" fmla="*/ 823 h 403224"/>
                <a:gd name="connsiteX44" fmla="*/ 288124 w 526593"/>
                <a:gd name="connsiteY44" fmla="*/ 0 h 403224"/>
                <a:gd name="connsiteX0" fmla="*/ 288124 w 526593"/>
                <a:gd name="connsiteY0" fmla="*/ 0 h 403224"/>
                <a:gd name="connsiteX1" fmla="*/ 514607 w 526593"/>
                <a:gd name="connsiteY1" fmla="*/ 13989 h 403224"/>
                <a:gd name="connsiteX2" fmla="*/ 516761 w 526593"/>
                <a:gd name="connsiteY2" fmla="*/ 29110 h 403224"/>
                <a:gd name="connsiteX3" fmla="*/ 517069 w 526593"/>
                <a:gd name="connsiteY3" fmla="*/ 31270 h 403224"/>
                <a:gd name="connsiteX4" fmla="*/ 514197 w 526593"/>
                <a:gd name="connsiteY4" fmla="*/ 43511 h 403224"/>
                <a:gd name="connsiteX5" fmla="*/ 513787 w 526593"/>
                <a:gd name="connsiteY5" fmla="*/ 45259 h 403224"/>
                <a:gd name="connsiteX6" fmla="*/ 517137 w 526593"/>
                <a:gd name="connsiteY6" fmla="*/ 33302 h 403224"/>
                <a:gd name="connsiteX7" fmla="*/ 517549 w 526593"/>
                <a:gd name="connsiteY7" fmla="*/ 31555 h 403224"/>
                <a:gd name="connsiteX8" fmla="*/ 515390 w 526593"/>
                <a:gd name="connsiteY8" fmla="*/ 16446 h 403224"/>
                <a:gd name="connsiteX9" fmla="*/ 515082 w 526593"/>
                <a:gd name="connsiteY9" fmla="*/ 14287 h 403224"/>
                <a:gd name="connsiteX10" fmla="*/ 526593 w 526593"/>
                <a:gd name="connsiteY10" fmla="*/ 15109 h 403224"/>
                <a:gd name="connsiteX11" fmla="*/ 510971 w 526593"/>
                <a:gd name="connsiteY11" fmla="*/ 117894 h 403224"/>
                <a:gd name="connsiteX12" fmla="*/ 325969 w 526593"/>
                <a:gd name="connsiteY12" fmla="*/ 108027 h 403224"/>
                <a:gd name="connsiteX13" fmla="*/ 301302 w 526593"/>
                <a:gd name="connsiteY13" fmla="*/ 265904 h 403224"/>
                <a:gd name="connsiteX14" fmla="*/ 270879 w 526593"/>
                <a:gd name="connsiteY14" fmla="*/ 274127 h 403224"/>
                <a:gd name="connsiteX15" fmla="*/ 234701 w 526593"/>
                <a:gd name="connsiteY15" fmla="*/ 296328 h 403224"/>
                <a:gd name="connsiteX16" fmla="*/ 231412 w 526593"/>
                <a:gd name="connsiteY16" fmla="*/ 322641 h 403224"/>
                <a:gd name="connsiteX17" fmla="*/ 225657 w 526593"/>
                <a:gd name="connsiteY17" fmla="*/ 395001 h 403224"/>
                <a:gd name="connsiteX18" fmla="*/ 24210 w 526593"/>
                <a:gd name="connsiteY18" fmla="*/ 384312 h 403224"/>
                <a:gd name="connsiteX19" fmla="*/ 5299 w 526593"/>
                <a:gd name="connsiteY19" fmla="*/ 392535 h 403224"/>
                <a:gd name="connsiteX20" fmla="*/ 365 w 526593"/>
                <a:gd name="connsiteY20" fmla="*/ 403224 h 403224"/>
                <a:gd name="connsiteX21" fmla="*/ 365 w 526593"/>
                <a:gd name="connsiteY21" fmla="*/ 395824 h 403224"/>
                <a:gd name="connsiteX22" fmla="*/ 6943 w 526593"/>
                <a:gd name="connsiteY22" fmla="*/ 373622 h 403224"/>
                <a:gd name="connsiteX23" fmla="*/ 7481 w 526593"/>
                <a:gd name="connsiteY23" fmla="*/ 374417 h 403224"/>
                <a:gd name="connsiteX24" fmla="*/ 12405 w 526593"/>
                <a:gd name="connsiteY24" fmla="*/ 353845 h 403224"/>
                <a:gd name="connsiteX25" fmla="*/ 27996 w 526593"/>
                <a:gd name="connsiteY25" fmla="*/ 326689 h 403224"/>
                <a:gd name="connsiteX26" fmla="*/ 41125 w 526593"/>
                <a:gd name="connsiteY26" fmla="*/ 320106 h 403224"/>
                <a:gd name="connsiteX27" fmla="*/ 53434 w 526593"/>
                <a:gd name="connsiteY27" fmla="*/ 302002 h 403224"/>
                <a:gd name="connsiteX28" fmla="*/ 68205 w 526593"/>
                <a:gd name="connsiteY28" fmla="*/ 281430 h 403224"/>
                <a:gd name="connsiteX29" fmla="*/ 69025 w 526593"/>
                <a:gd name="connsiteY29" fmla="*/ 269909 h 403224"/>
                <a:gd name="connsiteX30" fmla="*/ 97746 w 526593"/>
                <a:gd name="connsiteY30" fmla="*/ 234525 h 403224"/>
                <a:gd name="connsiteX31" fmla="*/ 106773 w 526593"/>
                <a:gd name="connsiteY31" fmla="*/ 217244 h 403224"/>
                <a:gd name="connsiteX32" fmla="*/ 144520 w 526593"/>
                <a:gd name="connsiteY32" fmla="*/ 182683 h 403224"/>
                <a:gd name="connsiteX33" fmla="*/ 160932 w 526593"/>
                <a:gd name="connsiteY33" fmla="*/ 161287 h 403224"/>
                <a:gd name="connsiteX34" fmla="*/ 167497 w 526593"/>
                <a:gd name="connsiteY34" fmla="*/ 147298 h 403224"/>
                <a:gd name="connsiteX35" fmla="*/ 177344 w 526593"/>
                <a:gd name="connsiteY35" fmla="*/ 126726 h 403224"/>
                <a:gd name="connsiteX36" fmla="*/ 192935 w 526593"/>
                <a:gd name="connsiteY36" fmla="*/ 94633 h 403224"/>
                <a:gd name="connsiteX37" fmla="*/ 210167 w 526593"/>
                <a:gd name="connsiteY37" fmla="*/ 76529 h 403224"/>
                <a:gd name="connsiteX38" fmla="*/ 225759 w 526593"/>
                <a:gd name="connsiteY38" fmla="*/ 68300 h 403224"/>
                <a:gd name="connsiteX39" fmla="*/ 250376 w 526593"/>
                <a:gd name="connsiteY39" fmla="*/ 54311 h 403224"/>
                <a:gd name="connsiteX40" fmla="*/ 257762 w 526593"/>
                <a:gd name="connsiteY40" fmla="*/ 45259 h 403224"/>
                <a:gd name="connsiteX41" fmla="*/ 273353 w 526593"/>
                <a:gd name="connsiteY41" fmla="*/ 18927 h 403224"/>
                <a:gd name="connsiteX42" fmla="*/ 288124 w 526593"/>
                <a:gd name="connsiteY42" fmla="*/ 823 h 403224"/>
                <a:gd name="connsiteX43" fmla="*/ 288124 w 526593"/>
                <a:gd name="connsiteY43" fmla="*/ 0 h 403224"/>
                <a:gd name="connsiteX0" fmla="*/ 288124 w 526593"/>
                <a:gd name="connsiteY0" fmla="*/ 0 h 403224"/>
                <a:gd name="connsiteX1" fmla="*/ 514607 w 526593"/>
                <a:gd name="connsiteY1" fmla="*/ 13989 h 403224"/>
                <a:gd name="connsiteX2" fmla="*/ 516761 w 526593"/>
                <a:gd name="connsiteY2" fmla="*/ 29110 h 403224"/>
                <a:gd name="connsiteX3" fmla="*/ 517069 w 526593"/>
                <a:gd name="connsiteY3" fmla="*/ 31270 h 403224"/>
                <a:gd name="connsiteX4" fmla="*/ 514197 w 526593"/>
                <a:gd name="connsiteY4" fmla="*/ 43511 h 403224"/>
                <a:gd name="connsiteX5" fmla="*/ 517137 w 526593"/>
                <a:gd name="connsiteY5" fmla="*/ 33302 h 403224"/>
                <a:gd name="connsiteX6" fmla="*/ 517549 w 526593"/>
                <a:gd name="connsiteY6" fmla="*/ 31555 h 403224"/>
                <a:gd name="connsiteX7" fmla="*/ 515390 w 526593"/>
                <a:gd name="connsiteY7" fmla="*/ 16446 h 403224"/>
                <a:gd name="connsiteX8" fmla="*/ 515082 w 526593"/>
                <a:gd name="connsiteY8" fmla="*/ 14287 h 403224"/>
                <a:gd name="connsiteX9" fmla="*/ 526593 w 526593"/>
                <a:gd name="connsiteY9" fmla="*/ 15109 h 403224"/>
                <a:gd name="connsiteX10" fmla="*/ 510971 w 526593"/>
                <a:gd name="connsiteY10" fmla="*/ 117894 h 403224"/>
                <a:gd name="connsiteX11" fmla="*/ 325969 w 526593"/>
                <a:gd name="connsiteY11" fmla="*/ 108027 h 403224"/>
                <a:gd name="connsiteX12" fmla="*/ 301302 w 526593"/>
                <a:gd name="connsiteY12" fmla="*/ 265904 h 403224"/>
                <a:gd name="connsiteX13" fmla="*/ 270879 w 526593"/>
                <a:gd name="connsiteY13" fmla="*/ 274127 h 403224"/>
                <a:gd name="connsiteX14" fmla="*/ 234701 w 526593"/>
                <a:gd name="connsiteY14" fmla="*/ 296328 h 403224"/>
                <a:gd name="connsiteX15" fmla="*/ 231412 w 526593"/>
                <a:gd name="connsiteY15" fmla="*/ 322641 h 403224"/>
                <a:gd name="connsiteX16" fmla="*/ 225657 w 526593"/>
                <a:gd name="connsiteY16" fmla="*/ 395001 h 403224"/>
                <a:gd name="connsiteX17" fmla="*/ 24210 w 526593"/>
                <a:gd name="connsiteY17" fmla="*/ 384312 h 403224"/>
                <a:gd name="connsiteX18" fmla="*/ 5299 w 526593"/>
                <a:gd name="connsiteY18" fmla="*/ 392535 h 403224"/>
                <a:gd name="connsiteX19" fmla="*/ 365 w 526593"/>
                <a:gd name="connsiteY19" fmla="*/ 403224 h 403224"/>
                <a:gd name="connsiteX20" fmla="*/ 365 w 526593"/>
                <a:gd name="connsiteY20" fmla="*/ 395824 h 403224"/>
                <a:gd name="connsiteX21" fmla="*/ 6943 w 526593"/>
                <a:gd name="connsiteY21" fmla="*/ 373622 h 403224"/>
                <a:gd name="connsiteX22" fmla="*/ 7481 w 526593"/>
                <a:gd name="connsiteY22" fmla="*/ 374417 h 403224"/>
                <a:gd name="connsiteX23" fmla="*/ 12405 w 526593"/>
                <a:gd name="connsiteY23" fmla="*/ 353845 h 403224"/>
                <a:gd name="connsiteX24" fmla="*/ 27996 w 526593"/>
                <a:gd name="connsiteY24" fmla="*/ 326689 h 403224"/>
                <a:gd name="connsiteX25" fmla="*/ 41125 w 526593"/>
                <a:gd name="connsiteY25" fmla="*/ 320106 h 403224"/>
                <a:gd name="connsiteX26" fmla="*/ 53434 w 526593"/>
                <a:gd name="connsiteY26" fmla="*/ 302002 h 403224"/>
                <a:gd name="connsiteX27" fmla="*/ 68205 w 526593"/>
                <a:gd name="connsiteY27" fmla="*/ 281430 h 403224"/>
                <a:gd name="connsiteX28" fmla="*/ 69025 w 526593"/>
                <a:gd name="connsiteY28" fmla="*/ 269909 h 403224"/>
                <a:gd name="connsiteX29" fmla="*/ 97746 w 526593"/>
                <a:gd name="connsiteY29" fmla="*/ 234525 h 403224"/>
                <a:gd name="connsiteX30" fmla="*/ 106773 w 526593"/>
                <a:gd name="connsiteY30" fmla="*/ 217244 h 403224"/>
                <a:gd name="connsiteX31" fmla="*/ 144520 w 526593"/>
                <a:gd name="connsiteY31" fmla="*/ 182683 h 403224"/>
                <a:gd name="connsiteX32" fmla="*/ 160932 w 526593"/>
                <a:gd name="connsiteY32" fmla="*/ 161287 h 403224"/>
                <a:gd name="connsiteX33" fmla="*/ 167497 w 526593"/>
                <a:gd name="connsiteY33" fmla="*/ 147298 h 403224"/>
                <a:gd name="connsiteX34" fmla="*/ 177344 w 526593"/>
                <a:gd name="connsiteY34" fmla="*/ 126726 h 403224"/>
                <a:gd name="connsiteX35" fmla="*/ 192935 w 526593"/>
                <a:gd name="connsiteY35" fmla="*/ 94633 h 403224"/>
                <a:gd name="connsiteX36" fmla="*/ 210167 w 526593"/>
                <a:gd name="connsiteY36" fmla="*/ 76529 h 403224"/>
                <a:gd name="connsiteX37" fmla="*/ 225759 w 526593"/>
                <a:gd name="connsiteY37" fmla="*/ 68300 h 403224"/>
                <a:gd name="connsiteX38" fmla="*/ 250376 w 526593"/>
                <a:gd name="connsiteY38" fmla="*/ 54311 h 403224"/>
                <a:gd name="connsiteX39" fmla="*/ 257762 w 526593"/>
                <a:gd name="connsiteY39" fmla="*/ 45259 h 403224"/>
                <a:gd name="connsiteX40" fmla="*/ 273353 w 526593"/>
                <a:gd name="connsiteY40" fmla="*/ 18927 h 403224"/>
                <a:gd name="connsiteX41" fmla="*/ 288124 w 526593"/>
                <a:gd name="connsiteY41" fmla="*/ 823 h 403224"/>
                <a:gd name="connsiteX42" fmla="*/ 288124 w 526593"/>
                <a:gd name="connsiteY42" fmla="*/ 0 h 403224"/>
                <a:gd name="connsiteX0" fmla="*/ 288124 w 526593"/>
                <a:gd name="connsiteY0" fmla="*/ 0 h 403224"/>
                <a:gd name="connsiteX1" fmla="*/ 514607 w 526593"/>
                <a:gd name="connsiteY1" fmla="*/ 13989 h 403224"/>
                <a:gd name="connsiteX2" fmla="*/ 516761 w 526593"/>
                <a:gd name="connsiteY2" fmla="*/ 29110 h 403224"/>
                <a:gd name="connsiteX3" fmla="*/ 517069 w 526593"/>
                <a:gd name="connsiteY3" fmla="*/ 31270 h 403224"/>
                <a:gd name="connsiteX4" fmla="*/ 517137 w 526593"/>
                <a:gd name="connsiteY4" fmla="*/ 33302 h 403224"/>
                <a:gd name="connsiteX5" fmla="*/ 517549 w 526593"/>
                <a:gd name="connsiteY5" fmla="*/ 31555 h 403224"/>
                <a:gd name="connsiteX6" fmla="*/ 515390 w 526593"/>
                <a:gd name="connsiteY6" fmla="*/ 16446 h 403224"/>
                <a:gd name="connsiteX7" fmla="*/ 515082 w 526593"/>
                <a:gd name="connsiteY7" fmla="*/ 14287 h 403224"/>
                <a:gd name="connsiteX8" fmla="*/ 526593 w 526593"/>
                <a:gd name="connsiteY8" fmla="*/ 15109 h 403224"/>
                <a:gd name="connsiteX9" fmla="*/ 510971 w 526593"/>
                <a:gd name="connsiteY9" fmla="*/ 117894 h 403224"/>
                <a:gd name="connsiteX10" fmla="*/ 325969 w 526593"/>
                <a:gd name="connsiteY10" fmla="*/ 108027 h 403224"/>
                <a:gd name="connsiteX11" fmla="*/ 301302 w 526593"/>
                <a:gd name="connsiteY11" fmla="*/ 265904 h 403224"/>
                <a:gd name="connsiteX12" fmla="*/ 270879 w 526593"/>
                <a:gd name="connsiteY12" fmla="*/ 274127 h 403224"/>
                <a:gd name="connsiteX13" fmla="*/ 234701 w 526593"/>
                <a:gd name="connsiteY13" fmla="*/ 296328 h 403224"/>
                <a:gd name="connsiteX14" fmla="*/ 231412 w 526593"/>
                <a:gd name="connsiteY14" fmla="*/ 322641 h 403224"/>
                <a:gd name="connsiteX15" fmla="*/ 225657 w 526593"/>
                <a:gd name="connsiteY15" fmla="*/ 395001 h 403224"/>
                <a:gd name="connsiteX16" fmla="*/ 24210 w 526593"/>
                <a:gd name="connsiteY16" fmla="*/ 384312 h 403224"/>
                <a:gd name="connsiteX17" fmla="*/ 5299 w 526593"/>
                <a:gd name="connsiteY17" fmla="*/ 392535 h 403224"/>
                <a:gd name="connsiteX18" fmla="*/ 365 w 526593"/>
                <a:gd name="connsiteY18" fmla="*/ 403224 h 403224"/>
                <a:gd name="connsiteX19" fmla="*/ 365 w 526593"/>
                <a:gd name="connsiteY19" fmla="*/ 395824 h 403224"/>
                <a:gd name="connsiteX20" fmla="*/ 6943 w 526593"/>
                <a:gd name="connsiteY20" fmla="*/ 373622 h 403224"/>
                <a:gd name="connsiteX21" fmla="*/ 7481 w 526593"/>
                <a:gd name="connsiteY21" fmla="*/ 374417 h 403224"/>
                <a:gd name="connsiteX22" fmla="*/ 12405 w 526593"/>
                <a:gd name="connsiteY22" fmla="*/ 353845 h 403224"/>
                <a:gd name="connsiteX23" fmla="*/ 27996 w 526593"/>
                <a:gd name="connsiteY23" fmla="*/ 326689 h 403224"/>
                <a:gd name="connsiteX24" fmla="*/ 41125 w 526593"/>
                <a:gd name="connsiteY24" fmla="*/ 320106 h 403224"/>
                <a:gd name="connsiteX25" fmla="*/ 53434 w 526593"/>
                <a:gd name="connsiteY25" fmla="*/ 302002 h 403224"/>
                <a:gd name="connsiteX26" fmla="*/ 68205 w 526593"/>
                <a:gd name="connsiteY26" fmla="*/ 281430 h 403224"/>
                <a:gd name="connsiteX27" fmla="*/ 69025 w 526593"/>
                <a:gd name="connsiteY27" fmla="*/ 269909 h 403224"/>
                <a:gd name="connsiteX28" fmla="*/ 97746 w 526593"/>
                <a:gd name="connsiteY28" fmla="*/ 234525 h 403224"/>
                <a:gd name="connsiteX29" fmla="*/ 106773 w 526593"/>
                <a:gd name="connsiteY29" fmla="*/ 217244 h 403224"/>
                <a:gd name="connsiteX30" fmla="*/ 144520 w 526593"/>
                <a:gd name="connsiteY30" fmla="*/ 182683 h 403224"/>
                <a:gd name="connsiteX31" fmla="*/ 160932 w 526593"/>
                <a:gd name="connsiteY31" fmla="*/ 161287 h 403224"/>
                <a:gd name="connsiteX32" fmla="*/ 167497 w 526593"/>
                <a:gd name="connsiteY32" fmla="*/ 147298 h 403224"/>
                <a:gd name="connsiteX33" fmla="*/ 177344 w 526593"/>
                <a:gd name="connsiteY33" fmla="*/ 126726 h 403224"/>
                <a:gd name="connsiteX34" fmla="*/ 192935 w 526593"/>
                <a:gd name="connsiteY34" fmla="*/ 94633 h 403224"/>
                <a:gd name="connsiteX35" fmla="*/ 210167 w 526593"/>
                <a:gd name="connsiteY35" fmla="*/ 76529 h 403224"/>
                <a:gd name="connsiteX36" fmla="*/ 225759 w 526593"/>
                <a:gd name="connsiteY36" fmla="*/ 68300 h 403224"/>
                <a:gd name="connsiteX37" fmla="*/ 250376 w 526593"/>
                <a:gd name="connsiteY37" fmla="*/ 54311 h 403224"/>
                <a:gd name="connsiteX38" fmla="*/ 257762 w 526593"/>
                <a:gd name="connsiteY38" fmla="*/ 45259 h 403224"/>
                <a:gd name="connsiteX39" fmla="*/ 273353 w 526593"/>
                <a:gd name="connsiteY39" fmla="*/ 18927 h 403224"/>
                <a:gd name="connsiteX40" fmla="*/ 288124 w 526593"/>
                <a:gd name="connsiteY40" fmla="*/ 823 h 403224"/>
                <a:gd name="connsiteX41" fmla="*/ 288124 w 526593"/>
                <a:gd name="connsiteY41" fmla="*/ 0 h 403224"/>
                <a:gd name="connsiteX0" fmla="*/ 288124 w 526593"/>
                <a:gd name="connsiteY0" fmla="*/ 0 h 403224"/>
                <a:gd name="connsiteX1" fmla="*/ 514607 w 526593"/>
                <a:gd name="connsiteY1" fmla="*/ 13989 h 403224"/>
                <a:gd name="connsiteX2" fmla="*/ 516761 w 526593"/>
                <a:gd name="connsiteY2" fmla="*/ 29110 h 403224"/>
                <a:gd name="connsiteX3" fmla="*/ 517069 w 526593"/>
                <a:gd name="connsiteY3" fmla="*/ 31270 h 403224"/>
                <a:gd name="connsiteX4" fmla="*/ 517137 w 526593"/>
                <a:gd name="connsiteY4" fmla="*/ 33302 h 403224"/>
                <a:gd name="connsiteX5" fmla="*/ 515390 w 526593"/>
                <a:gd name="connsiteY5" fmla="*/ 16446 h 403224"/>
                <a:gd name="connsiteX6" fmla="*/ 515082 w 526593"/>
                <a:gd name="connsiteY6" fmla="*/ 14287 h 403224"/>
                <a:gd name="connsiteX7" fmla="*/ 526593 w 526593"/>
                <a:gd name="connsiteY7" fmla="*/ 15109 h 403224"/>
                <a:gd name="connsiteX8" fmla="*/ 510971 w 526593"/>
                <a:gd name="connsiteY8" fmla="*/ 117894 h 403224"/>
                <a:gd name="connsiteX9" fmla="*/ 325969 w 526593"/>
                <a:gd name="connsiteY9" fmla="*/ 108027 h 403224"/>
                <a:gd name="connsiteX10" fmla="*/ 301302 w 526593"/>
                <a:gd name="connsiteY10" fmla="*/ 265904 h 403224"/>
                <a:gd name="connsiteX11" fmla="*/ 270879 w 526593"/>
                <a:gd name="connsiteY11" fmla="*/ 274127 h 403224"/>
                <a:gd name="connsiteX12" fmla="*/ 234701 w 526593"/>
                <a:gd name="connsiteY12" fmla="*/ 296328 h 403224"/>
                <a:gd name="connsiteX13" fmla="*/ 231412 w 526593"/>
                <a:gd name="connsiteY13" fmla="*/ 322641 h 403224"/>
                <a:gd name="connsiteX14" fmla="*/ 225657 w 526593"/>
                <a:gd name="connsiteY14" fmla="*/ 395001 h 403224"/>
                <a:gd name="connsiteX15" fmla="*/ 24210 w 526593"/>
                <a:gd name="connsiteY15" fmla="*/ 384312 h 403224"/>
                <a:gd name="connsiteX16" fmla="*/ 5299 w 526593"/>
                <a:gd name="connsiteY16" fmla="*/ 392535 h 403224"/>
                <a:gd name="connsiteX17" fmla="*/ 365 w 526593"/>
                <a:gd name="connsiteY17" fmla="*/ 403224 h 403224"/>
                <a:gd name="connsiteX18" fmla="*/ 365 w 526593"/>
                <a:gd name="connsiteY18" fmla="*/ 395824 h 403224"/>
                <a:gd name="connsiteX19" fmla="*/ 6943 w 526593"/>
                <a:gd name="connsiteY19" fmla="*/ 373622 h 403224"/>
                <a:gd name="connsiteX20" fmla="*/ 7481 w 526593"/>
                <a:gd name="connsiteY20" fmla="*/ 374417 h 403224"/>
                <a:gd name="connsiteX21" fmla="*/ 12405 w 526593"/>
                <a:gd name="connsiteY21" fmla="*/ 353845 h 403224"/>
                <a:gd name="connsiteX22" fmla="*/ 27996 w 526593"/>
                <a:gd name="connsiteY22" fmla="*/ 326689 h 403224"/>
                <a:gd name="connsiteX23" fmla="*/ 41125 w 526593"/>
                <a:gd name="connsiteY23" fmla="*/ 320106 h 403224"/>
                <a:gd name="connsiteX24" fmla="*/ 53434 w 526593"/>
                <a:gd name="connsiteY24" fmla="*/ 302002 h 403224"/>
                <a:gd name="connsiteX25" fmla="*/ 68205 w 526593"/>
                <a:gd name="connsiteY25" fmla="*/ 281430 h 403224"/>
                <a:gd name="connsiteX26" fmla="*/ 69025 w 526593"/>
                <a:gd name="connsiteY26" fmla="*/ 269909 h 403224"/>
                <a:gd name="connsiteX27" fmla="*/ 97746 w 526593"/>
                <a:gd name="connsiteY27" fmla="*/ 234525 h 403224"/>
                <a:gd name="connsiteX28" fmla="*/ 106773 w 526593"/>
                <a:gd name="connsiteY28" fmla="*/ 217244 h 403224"/>
                <a:gd name="connsiteX29" fmla="*/ 144520 w 526593"/>
                <a:gd name="connsiteY29" fmla="*/ 182683 h 403224"/>
                <a:gd name="connsiteX30" fmla="*/ 160932 w 526593"/>
                <a:gd name="connsiteY30" fmla="*/ 161287 h 403224"/>
                <a:gd name="connsiteX31" fmla="*/ 167497 w 526593"/>
                <a:gd name="connsiteY31" fmla="*/ 147298 h 403224"/>
                <a:gd name="connsiteX32" fmla="*/ 177344 w 526593"/>
                <a:gd name="connsiteY32" fmla="*/ 126726 h 403224"/>
                <a:gd name="connsiteX33" fmla="*/ 192935 w 526593"/>
                <a:gd name="connsiteY33" fmla="*/ 94633 h 403224"/>
                <a:gd name="connsiteX34" fmla="*/ 210167 w 526593"/>
                <a:gd name="connsiteY34" fmla="*/ 76529 h 403224"/>
                <a:gd name="connsiteX35" fmla="*/ 225759 w 526593"/>
                <a:gd name="connsiteY35" fmla="*/ 68300 h 403224"/>
                <a:gd name="connsiteX36" fmla="*/ 250376 w 526593"/>
                <a:gd name="connsiteY36" fmla="*/ 54311 h 403224"/>
                <a:gd name="connsiteX37" fmla="*/ 257762 w 526593"/>
                <a:gd name="connsiteY37" fmla="*/ 45259 h 403224"/>
                <a:gd name="connsiteX38" fmla="*/ 273353 w 526593"/>
                <a:gd name="connsiteY38" fmla="*/ 18927 h 403224"/>
                <a:gd name="connsiteX39" fmla="*/ 288124 w 526593"/>
                <a:gd name="connsiteY39" fmla="*/ 823 h 403224"/>
                <a:gd name="connsiteX40" fmla="*/ 288124 w 526593"/>
                <a:gd name="connsiteY40" fmla="*/ 0 h 403224"/>
                <a:gd name="connsiteX0" fmla="*/ 288124 w 526593"/>
                <a:gd name="connsiteY0" fmla="*/ 0 h 403224"/>
                <a:gd name="connsiteX1" fmla="*/ 514607 w 526593"/>
                <a:gd name="connsiteY1" fmla="*/ 13989 h 403224"/>
                <a:gd name="connsiteX2" fmla="*/ 516761 w 526593"/>
                <a:gd name="connsiteY2" fmla="*/ 29110 h 403224"/>
                <a:gd name="connsiteX3" fmla="*/ 517069 w 526593"/>
                <a:gd name="connsiteY3" fmla="*/ 31270 h 403224"/>
                <a:gd name="connsiteX4" fmla="*/ 515390 w 526593"/>
                <a:gd name="connsiteY4" fmla="*/ 16446 h 403224"/>
                <a:gd name="connsiteX5" fmla="*/ 515082 w 526593"/>
                <a:gd name="connsiteY5" fmla="*/ 14287 h 403224"/>
                <a:gd name="connsiteX6" fmla="*/ 526593 w 526593"/>
                <a:gd name="connsiteY6" fmla="*/ 15109 h 403224"/>
                <a:gd name="connsiteX7" fmla="*/ 510971 w 526593"/>
                <a:gd name="connsiteY7" fmla="*/ 117894 h 403224"/>
                <a:gd name="connsiteX8" fmla="*/ 325969 w 526593"/>
                <a:gd name="connsiteY8" fmla="*/ 108027 h 403224"/>
                <a:gd name="connsiteX9" fmla="*/ 301302 w 526593"/>
                <a:gd name="connsiteY9" fmla="*/ 265904 h 403224"/>
                <a:gd name="connsiteX10" fmla="*/ 270879 w 526593"/>
                <a:gd name="connsiteY10" fmla="*/ 274127 h 403224"/>
                <a:gd name="connsiteX11" fmla="*/ 234701 w 526593"/>
                <a:gd name="connsiteY11" fmla="*/ 296328 h 403224"/>
                <a:gd name="connsiteX12" fmla="*/ 231412 w 526593"/>
                <a:gd name="connsiteY12" fmla="*/ 322641 h 403224"/>
                <a:gd name="connsiteX13" fmla="*/ 225657 w 526593"/>
                <a:gd name="connsiteY13" fmla="*/ 395001 h 403224"/>
                <a:gd name="connsiteX14" fmla="*/ 24210 w 526593"/>
                <a:gd name="connsiteY14" fmla="*/ 384312 h 403224"/>
                <a:gd name="connsiteX15" fmla="*/ 5299 w 526593"/>
                <a:gd name="connsiteY15" fmla="*/ 392535 h 403224"/>
                <a:gd name="connsiteX16" fmla="*/ 365 w 526593"/>
                <a:gd name="connsiteY16" fmla="*/ 403224 h 403224"/>
                <a:gd name="connsiteX17" fmla="*/ 365 w 526593"/>
                <a:gd name="connsiteY17" fmla="*/ 395824 h 403224"/>
                <a:gd name="connsiteX18" fmla="*/ 6943 w 526593"/>
                <a:gd name="connsiteY18" fmla="*/ 373622 h 403224"/>
                <a:gd name="connsiteX19" fmla="*/ 7481 w 526593"/>
                <a:gd name="connsiteY19" fmla="*/ 374417 h 403224"/>
                <a:gd name="connsiteX20" fmla="*/ 12405 w 526593"/>
                <a:gd name="connsiteY20" fmla="*/ 353845 h 403224"/>
                <a:gd name="connsiteX21" fmla="*/ 27996 w 526593"/>
                <a:gd name="connsiteY21" fmla="*/ 326689 h 403224"/>
                <a:gd name="connsiteX22" fmla="*/ 41125 w 526593"/>
                <a:gd name="connsiteY22" fmla="*/ 320106 h 403224"/>
                <a:gd name="connsiteX23" fmla="*/ 53434 w 526593"/>
                <a:gd name="connsiteY23" fmla="*/ 302002 h 403224"/>
                <a:gd name="connsiteX24" fmla="*/ 68205 w 526593"/>
                <a:gd name="connsiteY24" fmla="*/ 281430 h 403224"/>
                <a:gd name="connsiteX25" fmla="*/ 69025 w 526593"/>
                <a:gd name="connsiteY25" fmla="*/ 269909 h 403224"/>
                <a:gd name="connsiteX26" fmla="*/ 97746 w 526593"/>
                <a:gd name="connsiteY26" fmla="*/ 234525 h 403224"/>
                <a:gd name="connsiteX27" fmla="*/ 106773 w 526593"/>
                <a:gd name="connsiteY27" fmla="*/ 217244 h 403224"/>
                <a:gd name="connsiteX28" fmla="*/ 144520 w 526593"/>
                <a:gd name="connsiteY28" fmla="*/ 182683 h 403224"/>
                <a:gd name="connsiteX29" fmla="*/ 160932 w 526593"/>
                <a:gd name="connsiteY29" fmla="*/ 161287 h 403224"/>
                <a:gd name="connsiteX30" fmla="*/ 167497 w 526593"/>
                <a:gd name="connsiteY30" fmla="*/ 147298 h 403224"/>
                <a:gd name="connsiteX31" fmla="*/ 177344 w 526593"/>
                <a:gd name="connsiteY31" fmla="*/ 126726 h 403224"/>
                <a:gd name="connsiteX32" fmla="*/ 192935 w 526593"/>
                <a:gd name="connsiteY32" fmla="*/ 94633 h 403224"/>
                <a:gd name="connsiteX33" fmla="*/ 210167 w 526593"/>
                <a:gd name="connsiteY33" fmla="*/ 76529 h 403224"/>
                <a:gd name="connsiteX34" fmla="*/ 225759 w 526593"/>
                <a:gd name="connsiteY34" fmla="*/ 68300 h 403224"/>
                <a:gd name="connsiteX35" fmla="*/ 250376 w 526593"/>
                <a:gd name="connsiteY35" fmla="*/ 54311 h 403224"/>
                <a:gd name="connsiteX36" fmla="*/ 257762 w 526593"/>
                <a:gd name="connsiteY36" fmla="*/ 45259 h 403224"/>
                <a:gd name="connsiteX37" fmla="*/ 273353 w 526593"/>
                <a:gd name="connsiteY37" fmla="*/ 18927 h 403224"/>
                <a:gd name="connsiteX38" fmla="*/ 288124 w 526593"/>
                <a:gd name="connsiteY38" fmla="*/ 823 h 403224"/>
                <a:gd name="connsiteX39" fmla="*/ 288124 w 526593"/>
                <a:gd name="connsiteY39" fmla="*/ 0 h 403224"/>
                <a:gd name="connsiteX0" fmla="*/ 288124 w 526593"/>
                <a:gd name="connsiteY0" fmla="*/ 0 h 403224"/>
                <a:gd name="connsiteX1" fmla="*/ 514607 w 526593"/>
                <a:gd name="connsiteY1" fmla="*/ 13989 h 403224"/>
                <a:gd name="connsiteX2" fmla="*/ 516761 w 526593"/>
                <a:gd name="connsiteY2" fmla="*/ 29110 h 403224"/>
                <a:gd name="connsiteX3" fmla="*/ 515390 w 526593"/>
                <a:gd name="connsiteY3" fmla="*/ 16446 h 403224"/>
                <a:gd name="connsiteX4" fmla="*/ 515082 w 526593"/>
                <a:gd name="connsiteY4" fmla="*/ 14287 h 403224"/>
                <a:gd name="connsiteX5" fmla="*/ 526593 w 526593"/>
                <a:gd name="connsiteY5" fmla="*/ 15109 h 403224"/>
                <a:gd name="connsiteX6" fmla="*/ 510971 w 526593"/>
                <a:gd name="connsiteY6" fmla="*/ 117894 h 403224"/>
                <a:gd name="connsiteX7" fmla="*/ 325969 w 526593"/>
                <a:gd name="connsiteY7" fmla="*/ 108027 h 403224"/>
                <a:gd name="connsiteX8" fmla="*/ 301302 w 526593"/>
                <a:gd name="connsiteY8" fmla="*/ 265904 h 403224"/>
                <a:gd name="connsiteX9" fmla="*/ 270879 w 526593"/>
                <a:gd name="connsiteY9" fmla="*/ 274127 h 403224"/>
                <a:gd name="connsiteX10" fmla="*/ 234701 w 526593"/>
                <a:gd name="connsiteY10" fmla="*/ 296328 h 403224"/>
                <a:gd name="connsiteX11" fmla="*/ 231412 w 526593"/>
                <a:gd name="connsiteY11" fmla="*/ 322641 h 403224"/>
                <a:gd name="connsiteX12" fmla="*/ 225657 w 526593"/>
                <a:gd name="connsiteY12" fmla="*/ 395001 h 403224"/>
                <a:gd name="connsiteX13" fmla="*/ 24210 w 526593"/>
                <a:gd name="connsiteY13" fmla="*/ 384312 h 403224"/>
                <a:gd name="connsiteX14" fmla="*/ 5299 w 526593"/>
                <a:gd name="connsiteY14" fmla="*/ 392535 h 403224"/>
                <a:gd name="connsiteX15" fmla="*/ 365 w 526593"/>
                <a:gd name="connsiteY15" fmla="*/ 403224 h 403224"/>
                <a:gd name="connsiteX16" fmla="*/ 365 w 526593"/>
                <a:gd name="connsiteY16" fmla="*/ 395824 h 403224"/>
                <a:gd name="connsiteX17" fmla="*/ 6943 w 526593"/>
                <a:gd name="connsiteY17" fmla="*/ 373622 h 403224"/>
                <a:gd name="connsiteX18" fmla="*/ 7481 w 526593"/>
                <a:gd name="connsiteY18" fmla="*/ 374417 h 403224"/>
                <a:gd name="connsiteX19" fmla="*/ 12405 w 526593"/>
                <a:gd name="connsiteY19" fmla="*/ 353845 h 403224"/>
                <a:gd name="connsiteX20" fmla="*/ 27996 w 526593"/>
                <a:gd name="connsiteY20" fmla="*/ 326689 h 403224"/>
                <a:gd name="connsiteX21" fmla="*/ 41125 w 526593"/>
                <a:gd name="connsiteY21" fmla="*/ 320106 h 403224"/>
                <a:gd name="connsiteX22" fmla="*/ 53434 w 526593"/>
                <a:gd name="connsiteY22" fmla="*/ 302002 h 403224"/>
                <a:gd name="connsiteX23" fmla="*/ 68205 w 526593"/>
                <a:gd name="connsiteY23" fmla="*/ 281430 h 403224"/>
                <a:gd name="connsiteX24" fmla="*/ 69025 w 526593"/>
                <a:gd name="connsiteY24" fmla="*/ 269909 h 403224"/>
                <a:gd name="connsiteX25" fmla="*/ 97746 w 526593"/>
                <a:gd name="connsiteY25" fmla="*/ 234525 h 403224"/>
                <a:gd name="connsiteX26" fmla="*/ 106773 w 526593"/>
                <a:gd name="connsiteY26" fmla="*/ 217244 h 403224"/>
                <a:gd name="connsiteX27" fmla="*/ 144520 w 526593"/>
                <a:gd name="connsiteY27" fmla="*/ 182683 h 403224"/>
                <a:gd name="connsiteX28" fmla="*/ 160932 w 526593"/>
                <a:gd name="connsiteY28" fmla="*/ 161287 h 403224"/>
                <a:gd name="connsiteX29" fmla="*/ 167497 w 526593"/>
                <a:gd name="connsiteY29" fmla="*/ 147298 h 403224"/>
                <a:gd name="connsiteX30" fmla="*/ 177344 w 526593"/>
                <a:gd name="connsiteY30" fmla="*/ 126726 h 403224"/>
                <a:gd name="connsiteX31" fmla="*/ 192935 w 526593"/>
                <a:gd name="connsiteY31" fmla="*/ 94633 h 403224"/>
                <a:gd name="connsiteX32" fmla="*/ 210167 w 526593"/>
                <a:gd name="connsiteY32" fmla="*/ 76529 h 403224"/>
                <a:gd name="connsiteX33" fmla="*/ 225759 w 526593"/>
                <a:gd name="connsiteY33" fmla="*/ 68300 h 403224"/>
                <a:gd name="connsiteX34" fmla="*/ 250376 w 526593"/>
                <a:gd name="connsiteY34" fmla="*/ 54311 h 403224"/>
                <a:gd name="connsiteX35" fmla="*/ 257762 w 526593"/>
                <a:gd name="connsiteY35" fmla="*/ 45259 h 403224"/>
                <a:gd name="connsiteX36" fmla="*/ 273353 w 526593"/>
                <a:gd name="connsiteY36" fmla="*/ 18927 h 403224"/>
                <a:gd name="connsiteX37" fmla="*/ 288124 w 526593"/>
                <a:gd name="connsiteY37" fmla="*/ 823 h 403224"/>
                <a:gd name="connsiteX38" fmla="*/ 288124 w 526593"/>
                <a:gd name="connsiteY38" fmla="*/ 0 h 403224"/>
                <a:gd name="connsiteX0" fmla="*/ 288124 w 526593"/>
                <a:gd name="connsiteY0" fmla="*/ 0 h 403224"/>
                <a:gd name="connsiteX1" fmla="*/ 514607 w 526593"/>
                <a:gd name="connsiteY1" fmla="*/ 13989 h 403224"/>
                <a:gd name="connsiteX2" fmla="*/ 515390 w 526593"/>
                <a:gd name="connsiteY2" fmla="*/ 16446 h 403224"/>
                <a:gd name="connsiteX3" fmla="*/ 515082 w 526593"/>
                <a:gd name="connsiteY3" fmla="*/ 14287 h 403224"/>
                <a:gd name="connsiteX4" fmla="*/ 526593 w 526593"/>
                <a:gd name="connsiteY4" fmla="*/ 15109 h 403224"/>
                <a:gd name="connsiteX5" fmla="*/ 510971 w 526593"/>
                <a:gd name="connsiteY5" fmla="*/ 117894 h 403224"/>
                <a:gd name="connsiteX6" fmla="*/ 325969 w 526593"/>
                <a:gd name="connsiteY6" fmla="*/ 108027 h 403224"/>
                <a:gd name="connsiteX7" fmla="*/ 301302 w 526593"/>
                <a:gd name="connsiteY7" fmla="*/ 265904 h 403224"/>
                <a:gd name="connsiteX8" fmla="*/ 270879 w 526593"/>
                <a:gd name="connsiteY8" fmla="*/ 274127 h 403224"/>
                <a:gd name="connsiteX9" fmla="*/ 234701 w 526593"/>
                <a:gd name="connsiteY9" fmla="*/ 296328 h 403224"/>
                <a:gd name="connsiteX10" fmla="*/ 231412 w 526593"/>
                <a:gd name="connsiteY10" fmla="*/ 322641 h 403224"/>
                <a:gd name="connsiteX11" fmla="*/ 225657 w 526593"/>
                <a:gd name="connsiteY11" fmla="*/ 395001 h 403224"/>
                <a:gd name="connsiteX12" fmla="*/ 24210 w 526593"/>
                <a:gd name="connsiteY12" fmla="*/ 384312 h 403224"/>
                <a:gd name="connsiteX13" fmla="*/ 5299 w 526593"/>
                <a:gd name="connsiteY13" fmla="*/ 392535 h 403224"/>
                <a:gd name="connsiteX14" fmla="*/ 365 w 526593"/>
                <a:gd name="connsiteY14" fmla="*/ 403224 h 403224"/>
                <a:gd name="connsiteX15" fmla="*/ 365 w 526593"/>
                <a:gd name="connsiteY15" fmla="*/ 395824 h 403224"/>
                <a:gd name="connsiteX16" fmla="*/ 6943 w 526593"/>
                <a:gd name="connsiteY16" fmla="*/ 373622 h 403224"/>
                <a:gd name="connsiteX17" fmla="*/ 7481 w 526593"/>
                <a:gd name="connsiteY17" fmla="*/ 374417 h 403224"/>
                <a:gd name="connsiteX18" fmla="*/ 12405 w 526593"/>
                <a:gd name="connsiteY18" fmla="*/ 353845 h 403224"/>
                <a:gd name="connsiteX19" fmla="*/ 27996 w 526593"/>
                <a:gd name="connsiteY19" fmla="*/ 326689 h 403224"/>
                <a:gd name="connsiteX20" fmla="*/ 41125 w 526593"/>
                <a:gd name="connsiteY20" fmla="*/ 320106 h 403224"/>
                <a:gd name="connsiteX21" fmla="*/ 53434 w 526593"/>
                <a:gd name="connsiteY21" fmla="*/ 302002 h 403224"/>
                <a:gd name="connsiteX22" fmla="*/ 68205 w 526593"/>
                <a:gd name="connsiteY22" fmla="*/ 281430 h 403224"/>
                <a:gd name="connsiteX23" fmla="*/ 69025 w 526593"/>
                <a:gd name="connsiteY23" fmla="*/ 269909 h 403224"/>
                <a:gd name="connsiteX24" fmla="*/ 97746 w 526593"/>
                <a:gd name="connsiteY24" fmla="*/ 234525 h 403224"/>
                <a:gd name="connsiteX25" fmla="*/ 106773 w 526593"/>
                <a:gd name="connsiteY25" fmla="*/ 217244 h 403224"/>
                <a:gd name="connsiteX26" fmla="*/ 144520 w 526593"/>
                <a:gd name="connsiteY26" fmla="*/ 182683 h 403224"/>
                <a:gd name="connsiteX27" fmla="*/ 160932 w 526593"/>
                <a:gd name="connsiteY27" fmla="*/ 161287 h 403224"/>
                <a:gd name="connsiteX28" fmla="*/ 167497 w 526593"/>
                <a:gd name="connsiteY28" fmla="*/ 147298 h 403224"/>
                <a:gd name="connsiteX29" fmla="*/ 177344 w 526593"/>
                <a:gd name="connsiteY29" fmla="*/ 126726 h 403224"/>
                <a:gd name="connsiteX30" fmla="*/ 192935 w 526593"/>
                <a:gd name="connsiteY30" fmla="*/ 94633 h 403224"/>
                <a:gd name="connsiteX31" fmla="*/ 210167 w 526593"/>
                <a:gd name="connsiteY31" fmla="*/ 76529 h 403224"/>
                <a:gd name="connsiteX32" fmla="*/ 225759 w 526593"/>
                <a:gd name="connsiteY32" fmla="*/ 68300 h 403224"/>
                <a:gd name="connsiteX33" fmla="*/ 250376 w 526593"/>
                <a:gd name="connsiteY33" fmla="*/ 54311 h 403224"/>
                <a:gd name="connsiteX34" fmla="*/ 257762 w 526593"/>
                <a:gd name="connsiteY34" fmla="*/ 45259 h 403224"/>
                <a:gd name="connsiteX35" fmla="*/ 273353 w 526593"/>
                <a:gd name="connsiteY35" fmla="*/ 18927 h 403224"/>
                <a:gd name="connsiteX36" fmla="*/ 288124 w 526593"/>
                <a:gd name="connsiteY36" fmla="*/ 823 h 403224"/>
                <a:gd name="connsiteX37" fmla="*/ 288124 w 526593"/>
                <a:gd name="connsiteY37" fmla="*/ 0 h 403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26593" h="403224">
                  <a:moveTo>
                    <a:pt x="288124" y="0"/>
                  </a:moveTo>
                  <a:cubicBezTo>
                    <a:pt x="366901" y="5760"/>
                    <a:pt x="436651" y="9875"/>
                    <a:pt x="514607" y="13989"/>
                  </a:cubicBezTo>
                  <a:lnTo>
                    <a:pt x="515390" y="16446"/>
                  </a:lnTo>
                  <a:cubicBezTo>
                    <a:pt x="515287" y="15726"/>
                    <a:pt x="515185" y="15007"/>
                    <a:pt x="515082" y="14287"/>
                  </a:cubicBezTo>
                  <a:cubicBezTo>
                    <a:pt x="518371" y="15109"/>
                    <a:pt x="522482" y="15109"/>
                    <a:pt x="526593" y="15109"/>
                  </a:cubicBezTo>
                  <a:lnTo>
                    <a:pt x="510971" y="117894"/>
                  </a:lnTo>
                  <a:lnTo>
                    <a:pt x="325969" y="108027"/>
                  </a:lnTo>
                  <a:cubicBezTo>
                    <a:pt x="316924" y="160652"/>
                    <a:pt x="308702" y="213278"/>
                    <a:pt x="301302" y="265904"/>
                  </a:cubicBezTo>
                  <a:cubicBezTo>
                    <a:pt x="290613" y="266726"/>
                    <a:pt x="281568" y="274127"/>
                    <a:pt x="270879" y="274127"/>
                  </a:cubicBezTo>
                  <a:cubicBezTo>
                    <a:pt x="257724" y="279060"/>
                    <a:pt x="244568" y="286461"/>
                    <a:pt x="234701" y="296328"/>
                  </a:cubicBezTo>
                  <a:cubicBezTo>
                    <a:pt x="227301" y="303729"/>
                    <a:pt x="231412" y="314418"/>
                    <a:pt x="231412" y="322641"/>
                  </a:cubicBezTo>
                  <a:cubicBezTo>
                    <a:pt x="229768" y="347309"/>
                    <a:pt x="227301" y="371155"/>
                    <a:pt x="225657" y="395001"/>
                  </a:cubicBezTo>
                  <a:lnTo>
                    <a:pt x="24210" y="384312"/>
                  </a:lnTo>
                  <a:cubicBezTo>
                    <a:pt x="15165" y="383490"/>
                    <a:pt x="6121" y="381023"/>
                    <a:pt x="5299" y="392535"/>
                  </a:cubicBezTo>
                  <a:cubicBezTo>
                    <a:pt x="4476" y="395824"/>
                    <a:pt x="2832" y="399113"/>
                    <a:pt x="365" y="403224"/>
                  </a:cubicBezTo>
                  <a:cubicBezTo>
                    <a:pt x="-457" y="403224"/>
                    <a:pt x="365" y="397468"/>
                    <a:pt x="365" y="395824"/>
                  </a:cubicBezTo>
                  <a:cubicBezTo>
                    <a:pt x="2010" y="388423"/>
                    <a:pt x="4476" y="381023"/>
                    <a:pt x="6943" y="373622"/>
                  </a:cubicBezTo>
                  <a:lnTo>
                    <a:pt x="7481" y="374417"/>
                  </a:lnTo>
                  <a:cubicBezTo>
                    <a:pt x="-1064" y="370984"/>
                    <a:pt x="11584" y="360428"/>
                    <a:pt x="12405" y="353845"/>
                  </a:cubicBezTo>
                  <a:cubicBezTo>
                    <a:pt x="18149" y="344793"/>
                    <a:pt x="23072" y="335741"/>
                    <a:pt x="27996" y="326689"/>
                  </a:cubicBezTo>
                  <a:cubicBezTo>
                    <a:pt x="32099" y="324220"/>
                    <a:pt x="37022" y="322575"/>
                    <a:pt x="41125" y="320106"/>
                  </a:cubicBezTo>
                  <a:cubicBezTo>
                    <a:pt x="46049" y="315169"/>
                    <a:pt x="49331" y="308585"/>
                    <a:pt x="53434" y="302002"/>
                  </a:cubicBezTo>
                  <a:cubicBezTo>
                    <a:pt x="57537" y="294596"/>
                    <a:pt x="62461" y="288013"/>
                    <a:pt x="68205" y="281430"/>
                  </a:cubicBezTo>
                  <a:cubicBezTo>
                    <a:pt x="71487" y="278138"/>
                    <a:pt x="68205" y="274024"/>
                    <a:pt x="69025" y="269909"/>
                  </a:cubicBezTo>
                  <a:cubicBezTo>
                    <a:pt x="78052" y="258389"/>
                    <a:pt x="88720" y="246868"/>
                    <a:pt x="97746" y="234525"/>
                  </a:cubicBezTo>
                  <a:cubicBezTo>
                    <a:pt x="100208" y="228765"/>
                    <a:pt x="101849" y="222182"/>
                    <a:pt x="106773" y="217244"/>
                  </a:cubicBezTo>
                  <a:cubicBezTo>
                    <a:pt x="118261" y="204901"/>
                    <a:pt x="131391" y="194203"/>
                    <a:pt x="144520" y="182683"/>
                  </a:cubicBezTo>
                  <a:cubicBezTo>
                    <a:pt x="150264" y="176099"/>
                    <a:pt x="155188" y="167871"/>
                    <a:pt x="160932" y="161287"/>
                  </a:cubicBezTo>
                  <a:cubicBezTo>
                    <a:pt x="165035" y="157996"/>
                    <a:pt x="165855" y="152236"/>
                    <a:pt x="167497" y="147298"/>
                  </a:cubicBezTo>
                  <a:cubicBezTo>
                    <a:pt x="169138" y="139069"/>
                    <a:pt x="173241" y="133309"/>
                    <a:pt x="177344" y="126726"/>
                  </a:cubicBezTo>
                  <a:cubicBezTo>
                    <a:pt x="183908" y="116851"/>
                    <a:pt x="188011" y="105331"/>
                    <a:pt x="192935" y="94633"/>
                  </a:cubicBezTo>
                  <a:cubicBezTo>
                    <a:pt x="197859" y="88050"/>
                    <a:pt x="204423" y="83112"/>
                    <a:pt x="210167" y="76529"/>
                  </a:cubicBezTo>
                  <a:cubicBezTo>
                    <a:pt x="213450" y="71592"/>
                    <a:pt x="220015" y="70769"/>
                    <a:pt x="225759" y="68300"/>
                  </a:cubicBezTo>
                  <a:cubicBezTo>
                    <a:pt x="234785" y="65832"/>
                    <a:pt x="242171" y="59249"/>
                    <a:pt x="250376" y="54311"/>
                  </a:cubicBezTo>
                  <a:cubicBezTo>
                    <a:pt x="254479" y="52665"/>
                    <a:pt x="256121" y="48551"/>
                    <a:pt x="257762" y="45259"/>
                  </a:cubicBezTo>
                  <a:cubicBezTo>
                    <a:pt x="261865" y="35385"/>
                    <a:pt x="267609" y="27156"/>
                    <a:pt x="273353" y="18927"/>
                  </a:cubicBezTo>
                  <a:cubicBezTo>
                    <a:pt x="278277" y="13166"/>
                    <a:pt x="282380" y="5760"/>
                    <a:pt x="288124" y="823"/>
                  </a:cubicBezTo>
                  <a:lnTo>
                    <a:pt x="288124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57" name="Rwanda"/>
            <p:cNvSpPr>
              <a:spLocks/>
            </p:cNvSpPr>
            <p:nvPr/>
          </p:nvSpPr>
          <p:spPr bwMode="auto">
            <a:xfrm>
              <a:off x="5006442" y="4589767"/>
              <a:ext cx="56966" cy="59250"/>
            </a:xfrm>
            <a:custGeom>
              <a:avLst/>
              <a:gdLst>
                <a:gd name="T0" fmla="*/ 81 w 156"/>
                <a:gd name="T1" fmla="*/ 28 h 136"/>
                <a:gd name="T2" fmla="*/ 114 w 156"/>
                <a:gd name="T3" fmla="*/ 2 h 136"/>
                <a:gd name="T4" fmla="*/ 124 w 156"/>
                <a:gd name="T5" fmla="*/ 0 h 136"/>
                <a:gd name="T6" fmla="*/ 124 w 156"/>
                <a:gd name="T7" fmla="*/ 0 h 136"/>
                <a:gd name="T8" fmla="*/ 123 w 156"/>
                <a:gd name="T9" fmla="*/ 2 h 136"/>
                <a:gd name="T10" fmla="*/ 137 w 156"/>
                <a:gd name="T11" fmla="*/ 24 h 136"/>
                <a:gd name="T12" fmla="*/ 149 w 156"/>
                <a:gd name="T13" fmla="*/ 64 h 136"/>
                <a:gd name="T14" fmla="*/ 151 w 156"/>
                <a:gd name="T15" fmla="*/ 97 h 136"/>
                <a:gd name="T16" fmla="*/ 131 w 156"/>
                <a:gd name="T17" fmla="*/ 101 h 136"/>
                <a:gd name="T18" fmla="*/ 127 w 156"/>
                <a:gd name="T19" fmla="*/ 101 h 136"/>
                <a:gd name="T20" fmla="*/ 106 w 156"/>
                <a:gd name="T21" fmla="*/ 98 h 136"/>
                <a:gd name="T22" fmla="*/ 86 w 156"/>
                <a:gd name="T23" fmla="*/ 96 h 136"/>
                <a:gd name="T24" fmla="*/ 82 w 156"/>
                <a:gd name="T25" fmla="*/ 122 h 136"/>
                <a:gd name="T26" fmla="*/ 41 w 156"/>
                <a:gd name="T27" fmla="*/ 133 h 136"/>
                <a:gd name="T28" fmla="*/ 18 w 156"/>
                <a:gd name="T29" fmla="*/ 117 h 136"/>
                <a:gd name="T30" fmla="*/ 13 w 156"/>
                <a:gd name="T31" fmla="*/ 126 h 136"/>
                <a:gd name="T32" fmla="*/ 8 w 156"/>
                <a:gd name="T33" fmla="*/ 123 h 136"/>
                <a:gd name="T34" fmla="*/ 12 w 156"/>
                <a:gd name="T35" fmla="*/ 95 h 136"/>
                <a:gd name="T36" fmla="*/ 25 w 156"/>
                <a:gd name="T37" fmla="*/ 56 h 136"/>
                <a:gd name="T38" fmla="*/ 58 w 156"/>
                <a:gd name="T39" fmla="*/ 24 h 136"/>
                <a:gd name="T40" fmla="*/ 59 w 156"/>
                <a:gd name="T41" fmla="*/ 23 h 136"/>
                <a:gd name="T42" fmla="*/ 81 w 156"/>
                <a:gd name="T43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6" h="136">
                  <a:moveTo>
                    <a:pt x="81" y="28"/>
                  </a:moveTo>
                  <a:cubicBezTo>
                    <a:pt x="94" y="32"/>
                    <a:pt x="107" y="13"/>
                    <a:pt x="114" y="2"/>
                  </a:cubicBezTo>
                  <a:cubicBezTo>
                    <a:pt x="117" y="0"/>
                    <a:pt x="121" y="0"/>
                    <a:pt x="124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3" y="2"/>
                    <a:pt x="123" y="2"/>
                    <a:pt x="123" y="2"/>
                  </a:cubicBezTo>
                  <a:cubicBezTo>
                    <a:pt x="127" y="9"/>
                    <a:pt x="128" y="20"/>
                    <a:pt x="137" y="24"/>
                  </a:cubicBezTo>
                  <a:cubicBezTo>
                    <a:pt x="148" y="32"/>
                    <a:pt x="152" y="50"/>
                    <a:pt x="149" y="64"/>
                  </a:cubicBezTo>
                  <a:cubicBezTo>
                    <a:pt x="156" y="75"/>
                    <a:pt x="152" y="86"/>
                    <a:pt x="151" y="97"/>
                  </a:cubicBezTo>
                  <a:cubicBezTo>
                    <a:pt x="147" y="98"/>
                    <a:pt x="137" y="100"/>
                    <a:pt x="131" y="101"/>
                  </a:cubicBezTo>
                  <a:cubicBezTo>
                    <a:pt x="129" y="101"/>
                    <a:pt x="128" y="101"/>
                    <a:pt x="127" y="101"/>
                  </a:cubicBezTo>
                  <a:cubicBezTo>
                    <a:pt x="122" y="92"/>
                    <a:pt x="113" y="97"/>
                    <a:pt x="106" y="98"/>
                  </a:cubicBezTo>
                  <a:cubicBezTo>
                    <a:pt x="100" y="108"/>
                    <a:pt x="93" y="101"/>
                    <a:pt x="86" y="96"/>
                  </a:cubicBezTo>
                  <a:cubicBezTo>
                    <a:pt x="76" y="96"/>
                    <a:pt x="86" y="107"/>
                    <a:pt x="82" y="122"/>
                  </a:cubicBezTo>
                  <a:cubicBezTo>
                    <a:pt x="74" y="136"/>
                    <a:pt x="54" y="131"/>
                    <a:pt x="41" y="133"/>
                  </a:cubicBezTo>
                  <a:cubicBezTo>
                    <a:pt x="40" y="122"/>
                    <a:pt x="30" y="115"/>
                    <a:pt x="18" y="117"/>
                  </a:cubicBezTo>
                  <a:cubicBezTo>
                    <a:pt x="17" y="122"/>
                    <a:pt x="16" y="126"/>
                    <a:pt x="13" y="126"/>
                  </a:cubicBezTo>
                  <a:cubicBezTo>
                    <a:pt x="12" y="126"/>
                    <a:pt x="10" y="125"/>
                    <a:pt x="8" y="123"/>
                  </a:cubicBezTo>
                  <a:cubicBezTo>
                    <a:pt x="1" y="116"/>
                    <a:pt x="0" y="98"/>
                    <a:pt x="12" y="95"/>
                  </a:cubicBezTo>
                  <a:cubicBezTo>
                    <a:pt x="33" y="91"/>
                    <a:pt x="20" y="69"/>
                    <a:pt x="25" y="56"/>
                  </a:cubicBezTo>
                  <a:cubicBezTo>
                    <a:pt x="33" y="42"/>
                    <a:pt x="44" y="32"/>
                    <a:pt x="58" y="24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64" y="27"/>
                    <a:pt x="82" y="13"/>
                    <a:pt x="81" y="28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58" name="Russia"/>
            <p:cNvGrpSpPr/>
            <p:nvPr/>
          </p:nvGrpSpPr>
          <p:grpSpPr>
            <a:xfrm>
              <a:off x="4860622" y="2069626"/>
              <a:ext cx="3334048" cy="1164848"/>
              <a:chOff x="4860622" y="2069626"/>
              <a:chExt cx="3334048" cy="1164848"/>
            </a:xfrm>
            <a:grpFill/>
          </p:grpSpPr>
          <p:sp>
            <p:nvSpPr>
              <p:cNvPr id="346" name="Russia"/>
              <p:cNvSpPr>
                <a:spLocks/>
              </p:cNvSpPr>
              <p:nvPr>
                <p:custDataLst>
                  <p:tags r:id="rId245"/>
                </p:custDataLst>
              </p:nvPr>
            </p:nvSpPr>
            <p:spPr bwMode="auto">
              <a:xfrm>
                <a:off x="7811892" y="2922363"/>
                <a:ext cx="11095" cy="33441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6"/>
                  </a:cxn>
                  <a:cxn ang="0">
                    <a:pos x="2" y="4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</a:cxnLst>
                <a:rect l="0" t="0" r="r" b="b"/>
                <a:pathLst>
                  <a:path w="2" h="6">
                    <a:moveTo>
                      <a:pt x="0" y="4"/>
                    </a:moveTo>
                    <a:lnTo>
                      <a:pt x="0" y="6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47" name="Russia"/>
              <p:cNvSpPr>
                <a:spLocks/>
              </p:cNvSpPr>
              <p:nvPr>
                <p:custDataLst>
                  <p:tags r:id="rId246"/>
                </p:custDataLst>
              </p:nvPr>
            </p:nvSpPr>
            <p:spPr bwMode="auto">
              <a:xfrm>
                <a:off x="8111458" y="2532221"/>
                <a:ext cx="83212" cy="1114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10" y="2"/>
                  </a:cxn>
                  <a:cxn ang="0">
                    <a:pos x="15" y="2"/>
                  </a:cxn>
                  <a:cxn ang="0">
                    <a:pos x="0" y="0"/>
                  </a:cxn>
                </a:cxnLst>
                <a:rect l="0" t="0" r="r" b="b"/>
                <a:pathLst>
                  <a:path w="15" h="2">
                    <a:moveTo>
                      <a:pt x="0" y="0"/>
                    </a:moveTo>
                    <a:lnTo>
                      <a:pt x="2" y="2"/>
                    </a:lnTo>
                    <a:lnTo>
                      <a:pt x="10" y="2"/>
                    </a:lnTo>
                    <a:lnTo>
                      <a:pt x="15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48" name="Russia"/>
              <p:cNvSpPr>
                <a:spLocks/>
              </p:cNvSpPr>
              <p:nvPr>
                <p:custDataLst>
                  <p:tags r:id="rId247"/>
                </p:custDataLst>
              </p:nvPr>
            </p:nvSpPr>
            <p:spPr bwMode="auto">
              <a:xfrm>
                <a:off x="8111458" y="2532221"/>
                <a:ext cx="83212" cy="1114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10" y="2"/>
                  </a:cxn>
                  <a:cxn ang="0">
                    <a:pos x="15" y="2"/>
                  </a:cxn>
                </a:cxnLst>
                <a:rect l="0" t="0" r="r" b="b"/>
                <a:pathLst>
                  <a:path w="15" h="2">
                    <a:moveTo>
                      <a:pt x="0" y="0"/>
                    </a:moveTo>
                    <a:lnTo>
                      <a:pt x="2" y="2"/>
                    </a:lnTo>
                    <a:lnTo>
                      <a:pt x="10" y="2"/>
                    </a:lnTo>
                    <a:lnTo>
                      <a:pt x="15" y="2"/>
                    </a:lnTo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49" name="Russia"/>
              <p:cNvSpPr>
                <a:spLocks noChangeShapeType="1"/>
              </p:cNvSpPr>
              <p:nvPr>
                <p:custDataLst>
                  <p:tags r:id="rId248"/>
                </p:custDataLst>
              </p:nvPr>
            </p:nvSpPr>
            <p:spPr bwMode="auto">
              <a:xfrm flipH="1" flipV="1">
                <a:off x="8111458" y="2543369"/>
                <a:ext cx="55475" cy="11147"/>
              </a:xfrm>
              <a:prstGeom prst="line">
                <a:avLst/>
              </a:pr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50" name="Russia"/>
              <p:cNvSpPr>
                <a:spLocks/>
              </p:cNvSpPr>
              <p:nvPr>
                <p:custDataLst>
                  <p:tags r:id="rId249"/>
                </p:custDataLst>
              </p:nvPr>
            </p:nvSpPr>
            <p:spPr bwMode="auto">
              <a:xfrm>
                <a:off x="7761965" y="2671557"/>
                <a:ext cx="11095" cy="1114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51" name="Russia"/>
              <p:cNvSpPr>
                <a:spLocks noChangeShapeType="1"/>
              </p:cNvSpPr>
              <p:nvPr>
                <p:custDataLst>
                  <p:tags r:id="rId250"/>
                </p:custDataLst>
              </p:nvPr>
            </p:nvSpPr>
            <p:spPr bwMode="auto">
              <a:xfrm>
                <a:off x="7651015" y="2342724"/>
                <a:ext cx="22190" cy="11147"/>
              </a:xfrm>
              <a:prstGeom prst="line">
                <a:avLst/>
              </a:pr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52" name="Russia"/>
              <p:cNvSpPr>
                <a:spLocks/>
              </p:cNvSpPr>
              <p:nvPr>
                <p:custDataLst>
                  <p:tags r:id="rId251"/>
                </p:custDataLst>
              </p:nvPr>
            </p:nvSpPr>
            <p:spPr bwMode="auto">
              <a:xfrm>
                <a:off x="7651015" y="2331578"/>
                <a:ext cx="66570" cy="11147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12" y="0"/>
                  </a:cxn>
                  <a:cxn ang="0">
                    <a:pos x="0" y="0"/>
                  </a:cxn>
                  <a:cxn ang="0">
                    <a:pos x="4" y="2"/>
                  </a:cxn>
                </a:cxnLst>
                <a:rect l="0" t="0" r="r" b="b"/>
                <a:pathLst>
                  <a:path w="12" h="2">
                    <a:moveTo>
                      <a:pt x="4" y="2"/>
                    </a:moveTo>
                    <a:lnTo>
                      <a:pt x="12" y="0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53" name="Russia"/>
              <p:cNvSpPr>
                <a:spLocks/>
              </p:cNvSpPr>
              <p:nvPr>
                <p:custDataLst>
                  <p:tags r:id="rId252"/>
                </p:custDataLst>
              </p:nvPr>
            </p:nvSpPr>
            <p:spPr bwMode="auto">
              <a:xfrm>
                <a:off x="7651015" y="2331578"/>
                <a:ext cx="66570" cy="11147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12" y="0"/>
                  </a:cxn>
                  <a:cxn ang="0">
                    <a:pos x="0" y="0"/>
                  </a:cxn>
                </a:cxnLst>
                <a:rect l="0" t="0" r="r" b="b"/>
                <a:pathLst>
                  <a:path w="12" h="2">
                    <a:moveTo>
                      <a:pt x="4" y="2"/>
                    </a:moveTo>
                    <a:lnTo>
                      <a:pt x="12" y="0"/>
                    </a:lnTo>
                    <a:lnTo>
                      <a:pt x="0" y="0"/>
                    </a:lnTo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54" name="Russia"/>
              <p:cNvSpPr>
                <a:spLocks/>
              </p:cNvSpPr>
              <p:nvPr>
                <p:custDataLst>
                  <p:tags r:id="rId253"/>
                </p:custDataLst>
              </p:nvPr>
            </p:nvSpPr>
            <p:spPr bwMode="auto">
              <a:xfrm>
                <a:off x="6874364" y="2253550"/>
                <a:ext cx="55475" cy="27867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10" y="5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5"/>
                  </a:cxn>
                </a:cxnLst>
                <a:rect l="0" t="0" r="r" b="b"/>
                <a:pathLst>
                  <a:path w="10" h="5">
                    <a:moveTo>
                      <a:pt x="0" y="5"/>
                    </a:moveTo>
                    <a:lnTo>
                      <a:pt x="10" y="5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55" name="Russia"/>
              <p:cNvSpPr>
                <a:spLocks noChangeShapeType="1"/>
              </p:cNvSpPr>
              <p:nvPr>
                <p:custDataLst>
                  <p:tags r:id="rId254"/>
                </p:custDataLst>
              </p:nvPr>
            </p:nvSpPr>
            <p:spPr bwMode="auto">
              <a:xfrm>
                <a:off x="6835532" y="2270270"/>
                <a:ext cx="16642" cy="5574"/>
              </a:xfrm>
              <a:prstGeom prst="line">
                <a:avLst/>
              </a:pr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56" name="Russia"/>
              <p:cNvSpPr>
                <a:spLocks/>
              </p:cNvSpPr>
              <p:nvPr>
                <p:custDataLst>
                  <p:tags r:id="rId255"/>
                </p:custDataLst>
              </p:nvPr>
            </p:nvSpPr>
            <p:spPr bwMode="auto">
              <a:xfrm>
                <a:off x="6896555" y="2231256"/>
                <a:ext cx="94308" cy="1114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2"/>
                  </a:cxn>
                  <a:cxn ang="0">
                    <a:pos x="17" y="0"/>
                  </a:cxn>
                  <a:cxn ang="0">
                    <a:pos x="8" y="0"/>
                  </a:cxn>
                  <a:cxn ang="0">
                    <a:pos x="0" y="0"/>
                  </a:cxn>
                </a:cxnLst>
                <a:rect l="0" t="0" r="r" b="b"/>
                <a:pathLst>
                  <a:path w="17" h="2">
                    <a:moveTo>
                      <a:pt x="0" y="0"/>
                    </a:moveTo>
                    <a:lnTo>
                      <a:pt x="17" y="2"/>
                    </a:lnTo>
                    <a:lnTo>
                      <a:pt x="17" y="0"/>
                    </a:lnTo>
                    <a:lnTo>
                      <a:pt x="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57" name="Russia"/>
              <p:cNvSpPr>
                <a:spLocks/>
              </p:cNvSpPr>
              <p:nvPr>
                <p:custDataLst>
                  <p:tags r:id="rId256"/>
                </p:custDataLst>
              </p:nvPr>
            </p:nvSpPr>
            <p:spPr bwMode="auto">
              <a:xfrm>
                <a:off x="6724582" y="2203389"/>
                <a:ext cx="160877" cy="39014"/>
              </a:xfrm>
              <a:custGeom>
                <a:avLst/>
                <a:gdLst/>
                <a:ahLst/>
                <a:cxnLst>
                  <a:cxn ang="0">
                    <a:pos x="4" y="5"/>
                  </a:cxn>
                  <a:cxn ang="0">
                    <a:pos x="14" y="7"/>
                  </a:cxn>
                  <a:cxn ang="0">
                    <a:pos x="27" y="7"/>
                  </a:cxn>
                  <a:cxn ang="0">
                    <a:pos x="29" y="5"/>
                  </a:cxn>
                  <a:cxn ang="0">
                    <a:pos x="1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4" y="5"/>
                  </a:cxn>
                </a:cxnLst>
                <a:rect l="0" t="0" r="r" b="b"/>
                <a:pathLst>
                  <a:path w="29" h="7">
                    <a:moveTo>
                      <a:pt x="4" y="5"/>
                    </a:moveTo>
                    <a:lnTo>
                      <a:pt x="14" y="7"/>
                    </a:lnTo>
                    <a:lnTo>
                      <a:pt x="27" y="7"/>
                    </a:lnTo>
                    <a:lnTo>
                      <a:pt x="29" y="5"/>
                    </a:lnTo>
                    <a:lnTo>
                      <a:pt x="1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2" y="3"/>
                    </a:lnTo>
                    <a:lnTo>
                      <a:pt x="4" y="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58" name="Russia"/>
              <p:cNvSpPr>
                <a:spLocks/>
              </p:cNvSpPr>
              <p:nvPr>
                <p:custDataLst>
                  <p:tags r:id="rId257"/>
                </p:custDataLst>
              </p:nvPr>
            </p:nvSpPr>
            <p:spPr bwMode="auto">
              <a:xfrm>
                <a:off x="6014502" y="2119787"/>
                <a:ext cx="83212" cy="33441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15" y="6"/>
                  </a:cxn>
                  <a:cxn ang="0">
                    <a:pos x="13" y="4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0" y="6"/>
                  </a:cxn>
                </a:cxnLst>
                <a:rect l="0" t="0" r="r" b="b"/>
                <a:pathLst>
                  <a:path w="15" h="6">
                    <a:moveTo>
                      <a:pt x="0" y="6"/>
                    </a:moveTo>
                    <a:lnTo>
                      <a:pt x="15" y="6"/>
                    </a:lnTo>
                    <a:lnTo>
                      <a:pt x="13" y="4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59" name="Russia"/>
              <p:cNvSpPr>
                <a:spLocks/>
              </p:cNvSpPr>
              <p:nvPr>
                <p:custDataLst>
                  <p:tags r:id="rId258"/>
                </p:custDataLst>
              </p:nvPr>
            </p:nvSpPr>
            <p:spPr bwMode="auto">
              <a:xfrm>
                <a:off x="5831434" y="2091920"/>
                <a:ext cx="171973" cy="50161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5" y="9"/>
                  </a:cxn>
                  <a:cxn ang="0">
                    <a:pos x="31" y="9"/>
                  </a:cxn>
                  <a:cxn ang="0">
                    <a:pos x="29" y="5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31" h="9">
                    <a:moveTo>
                      <a:pt x="0" y="2"/>
                    </a:moveTo>
                    <a:lnTo>
                      <a:pt x="15" y="9"/>
                    </a:lnTo>
                    <a:lnTo>
                      <a:pt x="31" y="9"/>
                    </a:lnTo>
                    <a:lnTo>
                      <a:pt x="29" y="5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60" name="Russia"/>
              <p:cNvSpPr>
                <a:spLocks/>
              </p:cNvSpPr>
              <p:nvPr>
                <p:custDataLst>
                  <p:tags r:id="rId259"/>
                </p:custDataLst>
              </p:nvPr>
            </p:nvSpPr>
            <p:spPr bwMode="auto">
              <a:xfrm>
                <a:off x="5265589" y="2192242"/>
                <a:ext cx="266280" cy="150483"/>
              </a:xfrm>
              <a:custGeom>
                <a:avLst/>
                <a:gdLst/>
                <a:ahLst/>
                <a:cxnLst>
                  <a:cxn ang="0">
                    <a:pos x="4" y="25"/>
                  </a:cxn>
                  <a:cxn ang="0">
                    <a:pos x="12" y="27"/>
                  </a:cxn>
                  <a:cxn ang="0">
                    <a:pos x="23" y="27"/>
                  </a:cxn>
                  <a:cxn ang="0">
                    <a:pos x="16" y="25"/>
                  </a:cxn>
                  <a:cxn ang="0">
                    <a:pos x="14" y="18"/>
                  </a:cxn>
                  <a:cxn ang="0">
                    <a:pos x="25" y="7"/>
                  </a:cxn>
                  <a:cxn ang="0">
                    <a:pos x="48" y="2"/>
                  </a:cxn>
                  <a:cxn ang="0">
                    <a:pos x="46" y="0"/>
                  </a:cxn>
                  <a:cxn ang="0">
                    <a:pos x="43" y="0"/>
                  </a:cxn>
                  <a:cxn ang="0">
                    <a:pos x="37" y="0"/>
                  </a:cxn>
                  <a:cxn ang="0">
                    <a:pos x="23" y="2"/>
                  </a:cxn>
                  <a:cxn ang="0">
                    <a:pos x="8" y="7"/>
                  </a:cxn>
                  <a:cxn ang="0">
                    <a:pos x="8" y="11"/>
                  </a:cxn>
                  <a:cxn ang="0">
                    <a:pos x="6" y="11"/>
                  </a:cxn>
                  <a:cxn ang="0">
                    <a:pos x="8" y="16"/>
                  </a:cxn>
                  <a:cxn ang="0">
                    <a:pos x="4" y="18"/>
                  </a:cxn>
                  <a:cxn ang="0">
                    <a:pos x="6" y="18"/>
                  </a:cxn>
                  <a:cxn ang="0">
                    <a:pos x="0" y="20"/>
                  </a:cxn>
                  <a:cxn ang="0">
                    <a:pos x="2" y="23"/>
                  </a:cxn>
                  <a:cxn ang="0">
                    <a:pos x="4" y="25"/>
                  </a:cxn>
                </a:cxnLst>
                <a:rect l="0" t="0" r="r" b="b"/>
                <a:pathLst>
                  <a:path w="48" h="27">
                    <a:moveTo>
                      <a:pt x="4" y="25"/>
                    </a:moveTo>
                    <a:lnTo>
                      <a:pt x="12" y="27"/>
                    </a:lnTo>
                    <a:lnTo>
                      <a:pt x="23" y="27"/>
                    </a:lnTo>
                    <a:lnTo>
                      <a:pt x="16" y="25"/>
                    </a:lnTo>
                    <a:lnTo>
                      <a:pt x="14" y="18"/>
                    </a:lnTo>
                    <a:lnTo>
                      <a:pt x="25" y="7"/>
                    </a:lnTo>
                    <a:lnTo>
                      <a:pt x="48" y="2"/>
                    </a:lnTo>
                    <a:lnTo>
                      <a:pt x="46" y="0"/>
                    </a:lnTo>
                    <a:lnTo>
                      <a:pt x="43" y="0"/>
                    </a:lnTo>
                    <a:lnTo>
                      <a:pt x="37" y="0"/>
                    </a:lnTo>
                    <a:lnTo>
                      <a:pt x="23" y="2"/>
                    </a:lnTo>
                    <a:lnTo>
                      <a:pt x="8" y="7"/>
                    </a:lnTo>
                    <a:lnTo>
                      <a:pt x="8" y="11"/>
                    </a:lnTo>
                    <a:lnTo>
                      <a:pt x="6" y="11"/>
                    </a:lnTo>
                    <a:lnTo>
                      <a:pt x="8" y="16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0" y="20"/>
                    </a:lnTo>
                    <a:lnTo>
                      <a:pt x="2" y="23"/>
                    </a:lnTo>
                    <a:lnTo>
                      <a:pt x="4" y="2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61" name="Russia"/>
              <p:cNvSpPr>
                <a:spLocks/>
              </p:cNvSpPr>
              <p:nvPr>
                <p:custDataLst>
                  <p:tags r:id="rId260"/>
                </p:custDataLst>
              </p:nvPr>
            </p:nvSpPr>
            <p:spPr bwMode="auto">
              <a:xfrm>
                <a:off x="5279668" y="2351979"/>
                <a:ext cx="49927" cy="11147"/>
              </a:xfrm>
              <a:custGeom>
                <a:avLst/>
                <a:gdLst/>
                <a:ahLst/>
                <a:cxnLst>
                  <a:cxn ang="0">
                    <a:pos x="3" y="2"/>
                  </a:cxn>
                  <a:cxn ang="0">
                    <a:pos x="5" y="2"/>
                  </a:cxn>
                  <a:cxn ang="0">
                    <a:pos x="9" y="0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</a:cxnLst>
                <a:rect l="0" t="0" r="r" b="b"/>
                <a:pathLst>
                  <a:path w="9" h="2">
                    <a:moveTo>
                      <a:pt x="3" y="2"/>
                    </a:moveTo>
                    <a:lnTo>
                      <a:pt x="5" y="2"/>
                    </a:lnTo>
                    <a:lnTo>
                      <a:pt x="9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62" name="Russia"/>
              <p:cNvSpPr>
                <a:spLocks/>
              </p:cNvSpPr>
              <p:nvPr>
                <p:custDataLst>
                  <p:tags r:id="rId261"/>
                </p:custDataLst>
              </p:nvPr>
            </p:nvSpPr>
            <p:spPr bwMode="auto">
              <a:xfrm>
                <a:off x="5265589" y="2091920"/>
                <a:ext cx="127592" cy="1114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4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23" y="0"/>
                  </a:cxn>
                  <a:cxn ang="0">
                    <a:pos x="21" y="0"/>
                  </a:cxn>
                  <a:cxn ang="0">
                    <a:pos x="10" y="2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23" h="2">
                    <a:moveTo>
                      <a:pt x="0" y="2"/>
                    </a:moveTo>
                    <a:lnTo>
                      <a:pt x="14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10" y="2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63" name="Russia"/>
              <p:cNvSpPr>
                <a:spLocks/>
              </p:cNvSpPr>
              <p:nvPr>
                <p:custDataLst>
                  <p:tags r:id="rId262"/>
                </p:custDataLst>
              </p:nvPr>
            </p:nvSpPr>
            <p:spPr bwMode="auto">
              <a:xfrm>
                <a:off x="5215662" y="2069626"/>
                <a:ext cx="83212" cy="2229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5" y="4"/>
                  </a:cxn>
                  <a:cxn ang="0">
                    <a:pos x="13" y="4"/>
                  </a:cxn>
                  <a:cxn ang="0">
                    <a:pos x="13" y="0"/>
                  </a:cxn>
                  <a:cxn ang="0">
                    <a:pos x="7" y="4"/>
                  </a:cxn>
                  <a:cxn ang="0">
                    <a:pos x="2" y="4"/>
                  </a:cxn>
                  <a:cxn ang="0">
                    <a:pos x="0" y="4"/>
                  </a:cxn>
                </a:cxnLst>
                <a:rect l="0" t="0" r="r" b="b"/>
                <a:pathLst>
                  <a:path w="15" h="4">
                    <a:moveTo>
                      <a:pt x="0" y="4"/>
                    </a:moveTo>
                    <a:lnTo>
                      <a:pt x="15" y="4"/>
                    </a:lnTo>
                    <a:lnTo>
                      <a:pt x="13" y="4"/>
                    </a:lnTo>
                    <a:lnTo>
                      <a:pt x="13" y="0"/>
                    </a:lnTo>
                    <a:lnTo>
                      <a:pt x="7" y="4"/>
                    </a:lnTo>
                    <a:lnTo>
                      <a:pt x="2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64" name="Russia"/>
              <p:cNvSpPr>
                <a:spLocks noChangeShapeType="1"/>
              </p:cNvSpPr>
              <p:nvPr>
                <p:custDataLst>
                  <p:tags r:id="rId263"/>
                </p:custDataLst>
              </p:nvPr>
            </p:nvSpPr>
            <p:spPr bwMode="auto">
              <a:xfrm>
                <a:off x="5204567" y="2119787"/>
                <a:ext cx="33285" cy="5574"/>
              </a:xfrm>
              <a:prstGeom prst="line">
                <a:avLst/>
              </a:pr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65" name="Russia"/>
              <p:cNvSpPr>
                <a:spLocks/>
              </p:cNvSpPr>
              <p:nvPr>
                <p:custDataLst>
                  <p:tags r:id="rId264"/>
                </p:custDataLst>
              </p:nvPr>
            </p:nvSpPr>
            <p:spPr bwMode="auto">
              <a:xfrm>
                <a:off x="5065879" y="2091920"/>
                <a:ext cx="105402" cy="1114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3" y="2"/>
                  </a:cxn>
                  <a:cxn ang="0">
                    <a:pos x="17" y="2"/>
                  </a:cxn>
                  <a:cxn ang="0">
                    <a:pos x="19" y="2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2"/>
                  </a:cxn>
                </a:cxnLst>
                <a:rect l="0" t="0" r="r" b="b"/>
                <a:pathLst>
                  <a:path w="19" h="2">
                    <a:moveTo>
                      <a:pt x="0" y="2"/>
                    </a:moveTo>
                    <a:lnTo>
                      <a:pt x="13" y="2"/>
                    </a:lnTo>
                    <a:lnTo>
                      <a:pt x="17" y="2"/>
                    </a:lnTo>
                    <a:lnTo>
                      <a:pt x="19" y="2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66" name="Russia"/>
              <p:cNvSpPr>
                <a:spLocks/>
              </p:cNvSpPr>
              <p:nvPr>
                <p:custDataLst>
                  <p:tags r:id="rId265"/>
                </p:custDataLst>
              </p:nvPr>
            </p:nvSpPr>
            <p:spPr bwMode="auto">
              <a:xfrm>
                <a:off x="7418020" y="2822040"/>
                <a:ext cx="205258" cy="250804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25" y="33"/>
                  </a:cxn>
                  <a:cxn ang="0">
                    <a:pos x="29" y="42"/>
                  </a:cxn>
                  <a:cxn ang="0">
                    <a:pos x="31" y="45"/>
                  </a:cxn>
                  <a:cxn ang="0">
                    <a:pos x="31" y="42"/>
                  </a:cxn>
                  <a:cxn ang="0">
                    <a:pos x="37" y="42"/>
                  </a:cxn>
                  <a:cxn ang="0">
                    <a:pos x="25" y="33"/>
                  </a:cxn>
                  <a:cxn ang="0">
                    <a:pos x="25" y="27"/>
                  </a:cxn>
                  <a:cxn ang="0">
                    <a:pos x="31" y="27"/>
                  </a:cxn>
                  <a:cxn ang="0">
                    <a:pos x="6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4"/>
                  </a:cxn>
                  <a:cxn ang="0">
                    <a:pos x="2" y="6"/>
                  </a:cxn>
                </a:cxnLst>
                <a:rect l="0" t="0" r="r" b="b"/>
                <a:pathLst>
                  <a:path w="37" h="45">
                    <a:moveTo>
                      <a:pt x="2" y="6"/>
                    </a:moveTo>
                    <a:lnTo>
                      <a:pt x="25" y="33"/>
                    </a:lnTo>
                    <a:lnTo>
                      <a:pt x="29" y="42"/>
                    </a:lnTo>
                    <a:lnTo>
                      <a:pt x="31" y="45"/>
                    </a:lnTo>
                    <a:lnTo>
                      <a:pt x="31" y="42"/>
                    </a:lnTo>
                    <a:lnTo>
                      <a:pt x="37" y="42"/>
                    </a:lnTo>
                    <a:lnTo>
                      <a:pt x="25" y="33"/>
                    </a:lnTo>
                    <a:lnTo>
                      <a:pt x="25" y="27"/>
                    </a:lnTo>
                    <a:lnTo>
                      <a:pt x="31" y="27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67" name="Russia"/>
              <p:cNvSpPr>
                <a:spLocks/>
              </p:cNvSpPr>
              <p:nvPr>
                <p:custDataLst>
                  <p:tags r:id="rId266"/>
                </p:custDataLst>
              </p:nvPr>
            </p:nvSpPr>
            <p:spPr bwMode="auto">
              <a:xfrm>
                <a:off x="4860622" y="2181095"/>
                <a:ext cx="3206454" cy="1053379"/>
              </a:xfrm>
              <a:custGeom>
                <a:avLst/>
                <a:gdLst/>
                <a:ahLst/>
                <a:cxnLst>
                  <a:cxn ang="0">
                    <a:pos x="158" y="38"/>
                  </a:cxn>
                  <a:cxn ang="0">
                    <a:pos x="156" y="38"/>
                  </a:cxn>
                  <a:cxn ang="0">
                    <a:pos x="135" y="18"/>
                  </a:cxn>
                  <a:cxn ang="0">
                    <a:pos x="137" y="43"/>
                  </a:cxn>
                  <a:cxn ang="0">
                    <a:pos x="108" y="43"/>
                  </a:cxn>
                  <a:cxn ang="0">
                    <a:pos x="71" y="47"/>
                  </a:cxn>
                  <a:cxn ang="0">
                    <a:pos x="56" y="43"/>
                  </a:cxn>
                  <a:cxn ang="0">
                    <a:pos x="48" y="61"/>
                  </a:cxn>
                  <a:cxn ang="0">
                    <a:pos x="25" y="61"/>
                  </a:cxn>
                  <a:cxn ang="0">
                    <a:pos x="29" y="38"/>
                  </a:cxn>
                  <a:cxn ang="0">
                    <a:pos x="6" y="45"/>
                  </a:cxn>
                  <a:cxn ang="0">
                    <a:pos x="14" y="70"/>
                  </a:cxn>
                  <a:cxn ang="0">
                    <a:pos x="0" y="90"/>
                  </a:cxn>
                  <a:cxn ang="0">
                    <a:pos x="23" y="117"/>
                  </a:cxn>
                  <a:cxn ang="0">
                    <a:pos x="33" y="128"/>
                  </a:cxn>
                  <a:cxn ang="0">
                    <a:pos x="58" y="139"/>
                  </a:cxn>
                  <a:cxn ang="0">
                    <a:pos x="54" y="155"/>
                  </a:cxn>
                  <a:cxn ang="0">
                    <a:pos x="48" y="166"/>
                  </a:cxn>
                  <a:cxn ang="0">
                    <a:pos x="94" y="184"/>
                  </a:cxn>
                  <a:cxn ang="0">
                    <a:pos x="89" y="166"/>
                  </a:cxn>
                  <a:cxn ang="0">
                    <a:pos x="89" y="148"/>
                  </a:cxn>
                  <a:cxn ang="0">
                    <a:pos x="96" y="133"/>
                  </a:cxn>
                  <a:cxn ang="0">
                    <a:pos x="119" y="133"/>
                  </a:cxn>
                  <a:cxn ang="0">
                    <a:pos x="148" y="130"/>
                  </a:cxn>
                  <a:cxn ang="0">
                    <a:pos x="137" y="117"/>
                  </a:cxn>
                  <a:cxn ang="0">
                    <a:pos x="175" y="108"/>
                  </a:cxn>
                  <a:cxn ang="0">
                    <a:pos x="192" y="117"/>
                  </a:cxn>
                  <a:cxn ang="0">
                    <a:pos x="227" y="133"/>
                  </a:cxn>
                  <a:cxn ang="0">
                    <a:pos x="254" y="146"/>
                  </a:cxn>
                  <a:cxn ang="0">
                    <a:pos x="296" y="133"/>
                  </a:cxn>
                  <a:cxn ang="0">
                    <a:pos x="348" y="142"/>
                  </a:cxn>
                  <a:cxn ang="0">
                    <a:pos x="382" y="130"/>
                  </a:cxn>
                  <a:cxn ang="0">
                    <a:pos x="413" y="133"/>
                  </a:cxn>
                  <a:cxn ang="0">
                    <a:pos x="452" y="146"/>
                  </a:cxn>
                  <a:cxn ang="0">
                    <a:pos x="455" y="175"/>
                  </a:cxn>
                  <a:cxn ang="0">
                    <a:pos x="475" y="164"/>
                  </a:cxn>
                  <a:cxn ang="0">
                    <a:pos x="444" y="117"/>
                  </a:cxn>
                  <a:cxn ang="0">
                    <a:pos x="436" y="106"/>
                  </a:cxn>
                  <a:cxn ang="0">
                    <a:pos x="475" y="90"/>
                  </a:cxn>
                  <a:cxn ang="0">
                    <a:pos x="494" y="79"/>
                  </a:cxn>
                  <a:cxn ang="0">
                    <a:pos x="513" y="79"/>
                  </a:cxn>
                  <a:cxn ang="0">
                    <a:pos x="509" y="108"/>
                  </a:cxn>
                  <a:cxn ang="0">
                    <a:pos x="538" y="112"/>
                  </a:cxn>
                  <a:cxn ang="0">
                    <a:pos x="521" y="94"/>
                  </a:cxn>
                  <a:cxn ang="0">
                    <a:pos x="530" y="81"/>
                  </a:cxn>
                  <a:cxn ang="0">
                    <a:pos x="561" y="72"/>
                  </a:cxn>
                  <a:cxn ang="0">
                    <a:pos x="540" y="54"/>
                  </a:cxn>
                  <a:cxn ang="0">
                    <a:pos x="578" y="54"/>
                  </a:cxn>
                  <a:cxn ang="0">
                    <a:pos x="482" y="31"/>
                  </a:cxn>
                  <a:cxn ang="0">
                    <a:pos x="475" y="31"/>
                  </a:cxn>
                  <a:cxn ang="0">
                    <a:pos x="398" y="22"/>
                  </a:cxn>
                  <a:cxn ang="0">
                    <a:pos x="342" y="22"/>
                  </a:cxn>
                  <a:cxn ang="0">
                    <a:pos x="302" y="13"/>
                  </a:cxn>
                  <a:cxn ang="0">
                    <a:pos x="269" y="11"/>
                  </a:cxn>
                  <a:cxn ang="0">
                    <a:pos x="267" y="9"/>
                  </a:cxn>
                  <a:cxn ang="0">
                    <a:pos x="217" y="2"/>
                  </a:cxn>
                  <a:cxn ang="0">
                    <a:pos x="167" y="18"/>
                  </a:cxn>
                  <a:cxn ang="0">
                    <a:pos x="167" y="29"/>
                  </a:cxn>
                </a:cxnLst>
                <a:rect l="0" t="0" r="r" b="b"/>
                <a:pathLst>
                  <a:path w="578" h="189">
                    <a:moveTo>
                      <a:pt x="152" y="20"/>
                    </a:moveTo>
                    <a:lnTo>
                      <a:pt x="148" y="27"/>
                    </a:lnTo>
                    <a:lnTo>
                      <a:pt x="152" y="29"/>
                    </a:lnTo>
                    <a:lnTo>
                      <a:pt x="152" y="36"/>
                    </a:lnTo>
                    <a:lnTo>
                      <a:pt x="156" y="38"/>
                    </a:lnTo>
                    <a:lnTo>
                      <a:pt x="158" y="38"/>
                    </a:lnTo>
                    <a:lnTo>
                      <a:pt x="164" y="45"/>
                    </a:lnTo>
                    <a:lnTo>
                      <a:pt x="160" y="47"/>
                    </a:lnTo>
                    <a:lnTo>
                      <a:pt x="156" y="52"/>
                    </a:lnTo>
                    <a:lnTo>
                      <a:pt x="150" y="47"/>
                    </a:lnTo>
                    <a:lnTo>
                      <a:pt x="156" y="45"/>
                    </a:lnTo>
                    <a:lnTo>
                      <a:pt x="156" y="38"/>
                    </a:lnTo>
                    <a:lnTo>
                      <a:pt x="152" y="38"/>
                    </a:lnTo>
                    <a:lnTo>
                      <a:pt x="148" y="27"/>
                    </a:lnTo>
                    <a:lnTo>
                      <a:pt x="144" y="27"/>
                    </a:lnTo>
                    <a:lnTo>
                      <a:pt x="144" y="20"/>
                    </a:lnTo>
                    <a:lnTo>
                      <a:pt x="137" y="18"/>
                    </a:lnTo>
                    <a:lnTo>
                      <a:pt x="135" y="18"/>
                    </a:lnTo>
                    <a:lnTo>
                      <a:pt x="133" y="18"/>
                    </a:lnTo>
                    <a:lnTo>
                      <a:pt x="127" y="27"/>
                    </a:lnTo>
                    <a:lnTo>
                      <a:pt x="129" y="29"/>
                    </a:lnTo>
                    <a:lnTo>
                      <a:pt x="129" y="36"/>
                    </a:lnTo>
                    <a:lnTo>
                      <a:pt x="142" y="38"/>
                    </a:lnTo>
                    <a:lnTo>
                      <a:pt x="137" y="43"/>
                    </a:lnTo>
                    <a:lnTo>
                      <a:pt x="102" y="29"/>
                    </a:lnTo>
                    <a:lnTo>
                      <a:pt x="102" y="31"/>
                    </a:lnTo>
                    <a:lnTo>
                      <a:pt x="112" y="38"/>
                    </a:lnTo>
                    <a:lnTo>
                      <a:pt x="108" y="38"/>
                    </a:lnTo>
                    <a:lnTo>
                      <a:pt x="110" y="43"/>
                    </a:lnTo>
                    <a:lnTo>
                      <a:pt x="108" y="43"/>
                    </a:lnTo>
                    <a:lnTo>
                      <a:pt x="104" y="38"/>
                    </a:lnTo>
                    <a:lnTo>
                      <a:pt x="94" y="38"/>
                    </a:lnTo>
                    <a:lnTo>
                      <a:pt x="94" y="43"/>
                    </a:lnTo>
                    <a:lnTo>
                      <a:pt x="87" y="38"/>
                    </a:lnTo>
                    <a:lnTo>
                      <a:pt x="71" y="45"/>
                    </a:lnTo>
                    <a:lnTo>
                      <a:pt x="71" y="47"/>
                    </a:lnTo>
                    <a:lnTo>
                      <a:pt x="68" y="47"/>
                    </a:lnTo>
                    <a:lnTo>
                      <a:pt x="58" y="45"/>
                    </a:lnTo>
                    <a:lnTo>
                      <a:pt x="64" y="45"/>
                    </a:lnTo>
                    <a:lnTo>
                      <a:pt x="62" y="43"/>
                    </a:lnTo>
                    <a:lnTo>
                      <a:pt x="50" y="38"/>
                    </a:lnTo>
                    <a:lnTo>
                      <a:pt x="56" y="43"/>
                    </a:lnTo>
                    <a:lnTo>
                      <a:pt x="56" y="47"/>
                    </a:lnTo>
                    <a:lnTo>
                      <a:pt x="58" y="52"/>
                    </a:lnTo>
                    <a:lnTo>
                      <a:pt x="56" y="52"/>
                    </a:lnTo>
                    <a:lnTo>
                      <a:pt x="50" y="52"/>
                    </a:lnTo>
                    <a:lnTo>
                      <a:pt x="41" y="54"/>
                    </a:lnTo>
                    <a:lnTo>
                      <a:pt x="48" y="61"/>
                    </a:lnTo>
                    <a:lnTo>
                      <a:pt x="33" y="56"/>
                    </a:lnTo>
                    <a:lnTo>
                      <a:pt x="31" y="56"/>
                    </a:lnTo>
                    <a:lnTo>
                      <a:pt x="37" y="61"/>
                    </a:lnTo>
                    <a:lnTo>
                      <a:pt x="39" y="63"/>
                    </a:lnTo>
                    <a:lnTo>
                      <a:pt x="33" y="63"/>
                    </a:lnTo>
                    <a:lnTo>
                      <a:pt x="25" y="61"/>
                    </a:lnTo>
                    <a:lnTo>
                      <a:pt x="25" y="54"/>
                    </a:lnTo>
                    <a:lnTo>
                      <a:pt x="14" y="47"/>
                    </a:lnTo>
                    <a:lnTo>
                      <a:pt x="37" y="52"/>
                    </a:lnTo>
                    <a:lnTo>
                      <a:pt x="48" y="47"/>
                    </a:lnTo>
                    <a:lnTo>
                      <a:pt x="46" y="45"/>
                    </a:lnTo>
                    <a:lnTo>
                      <a:pt x="29" y="38"/>
                    </a:lnTo>
                    <a:lnTo>
                      <a:pt x="14" y="31"/>
                    </a:lnTo>
                    <a:lnTo>
                      <a:pt x="8" y="36"/>
                    </a:lnTo>
                    <a:lnTo>
                      <a:pt x="2" y="38"/>
                    </a:lnTo>
                    <a:lnTo>
                      <a:pt x="0" y="38"/>
                    </a:lnTo>
                    <a:lnTo>
                      <a:pt x="0" y="43"/>
                    </a:lnTo>
                    <a:lnTo>
                      <a:pt x="6" y="45"/>
                    </a:lnTo>
                    <a:lnTo>
                      <a:pt x="6" y="47"/>
                    </a:lnTo>
                    <a:lnTo>
                      <a:pt x="8" y="54"/>
                    </a:lnTo>
                    <a:lnTo>
                      <a:pt x="8" y="56"/>
                    </a:lnTo>
                    <a:lnTo>
                      <a:pt x="10" y="61"/>
                    </a:lnTo>
                    <a:lnTo>
                      <a:pt x="10" y="63"/>
                    </a:lnTo>
                    <a:lnTo>
                      <a:pt x="14" y="70"/>
                    </a:lnTo>
                    <a:lnTo>
                      <a:pt x="2" y="81"/>
                    </a:lnTo>
                    <a:lnTo>
                      <a:pt x="6" y="81"/>
                    </a:lnTo>
                    <a:lnTo>
                      <a:pt x="8" y="85"/>
                    </a:lnTo>
                    <a:lnTo>
                      <a:pt x="6" y="88"/>
                    </a:lnTo>
                    <a:lnTo>
                      <a:pt x="2" y="88"/>
                    </a:lnTo>
                    <a:lnTo>
                      <a:pt x="0" y="90"/>
                    </a:lnTo>
                    <a:lnTo>
                      <a:pt x="2" y="94"/>
                    </a:lnTo>
                    <a:lnTo>
                      <a:pt x="2" y="97"/>
                    </a:lnTo>
                    <a:lnTo>
                      <a:pt x="8" y="103"/>
                    </a:lnTo>
                    <a:lnTo>
                      <a:pt x="16" y="106"/>
                    </a:lnTo>
                    <a:lnTo>
                      <a:pt x="18" y="112"/>
                    </a:lnTo>
                    <a:lnTo>
                      <a:pt x="23" y="117"/>
                    </a:lnTo>
                    <a:lnTo>
                      <a:pt x="25" y="117"/>
                    </a:lnTo>
                    <a:lnTo>
                      <a:pt x="25" y="121"/>
                    </a:lnTo>
                    <a:lnTo>
                      <a:pt x="18" y="121"/>
                    </a:lnTo>
                    <a:lnTo>
                      <a:pt x="23" y="128"/>
                    </a:lnTo>
                    <a:lnTo>
                      <a:pt x="31" y="124"/>
                    </a:lnTo>
                    <a:lnTo>
                      <a:pt x="33" y="128"/>
                    </a:lnTo>
                    <a:lnTo>
                      <a:pt x="33" y="130"/>
                    </a:lnTo>
                    <a:lnTo>
                      <a:pt x="37" y="130"/>
                    </a:lnTo>
                    <a:lnTo>
                      <a:pt x="39" y="137"/>
                    </a:lnTo>
                    <a:lnTo>
                      <a:pt x="48" y="137"/>
                    </a:lnTo>
                    <a:lnTo>
                      <a:pt x="50" y="139"/>
                    </a:lnTo>
                    <a:lnTo>
                      <a:pt x="58" y="139"/>
                    </a:lnTo>
                    <a:lnTo>
                      <a:pt x="58" y="142"/>
                    </a:lnTo>
                    <a:lnTo>
                      <a:pt x="58" y="146"/>
                    </a:lnTo>
                    <a:lnTo>
                      <a:pt x="58" y="151"/>
                    </a:lnTo>
                    <a:lnTo>
                      <a:pt x="56" y="148"/>
                    </a:lnTo>
                    <a:lnTo>
                      <a:pt x="54" y="151"/>
                    </a:lnTo>
                    <a:lnTo>
                      <a:pt x="54" y="155"/>
                    </a:lnTo>
                    <a:lnTo>
                      <a:pt x="58" y="155"/>
                    </a:lnTo>
                    <a:lnTo>
                      <a:pt x="50" y="157"/>
                    </a:lnTo>
                    <a:lnTo>
                      <a:pt x="54" y="157"/>
                    </a:lnTo>
                    <a:lnTo>
                      <a:pt x="50" y="164"/>
                    </a:lnTo>
                    <a:lnTo>
                      <a:pt x="48" y="164"/>
                    </a:lnTo>
                    <a:lnTo>
                      <a:pt x="48" y="166"/>
                    </a:lnTo>
                    <a:lnTo>
                      <a:pt x="50" y="166"/>
                    </a:lnTo>
                    <a:lnTo>
                      <a:pt x="64" y="175"/>
                    </a:lnTo>
                    <a:lnTo>
                      <a:pt x="77" y="175"/>
                    </a:lnTo>
                    <a:lnTo>
                      <a:pt x="81" y="180"/>
                    </a:lnTo>
                    <a:lnTo>
                      <a:pt x="87" y="180"/>
                    </a:lnTo>
                    <a:lnTo>
                      <a:pt x="94" y="184"/>
                    </a:lnTo>
                    <a:lnTo>
                      <a:pt x="96" y="189"/>
                    </a:lnTo>
                    <a:lnTo>
                      <a:pt x="98" y="189"/>
                    </a:lnTo>
                    <a:lnTo>
                      <a:pt x="102" y="184"/>
                    </a:lnTo>
                    <a:lnTo>
                      <a:pt x="96" y="180"/>
                    </a:lnTo>
                    <a:lnTo>
                      <a:pt x="96" y="173"/>
                    </a:lnTo>
                    <a:lnTo>
                      <a:pt x="89" y="166"/>
                    </a:lnTo>
                    <a:lnTo>
                      <a:pt x="94" y="160"/>
                    </a:lnTo>
                    <a:lnTo>
                      <a:pt x="96" y="160"/>
                    </a:lnTo>
                    <a:lnTo>
                      <a:pt x="98" y="157"/>
                    </a:lnTo>
                    <a:lnTo>
                      <a:pt x="96" y="151"/>
                    </a:lnTo>
                    <a:lnTo>
                      <a:pt x="89" y="151"/>
                    </a:lnTo>
                    <a:lnTo>
                      <a:pt x="89" y="148"/>
                    </a:lnTo>
                    <a:lnTo>
                      <a:pt x="87" y="146"/>
                    </a:lnTo>
                    <a:lnTo>
                      <a:pt x="89" y="137"/>
                    </a:lnTo>
                    <a:lnTo>
                      <a:pt x="94" y="139"/>
                    </a:lnTo>
                    <a:lnTo>
                      <a:pt x="96" y="139"/>
                    </a:lnTo>
                    <a:lnTo>
                      <a:pt x="94" y="133"/>
                    </a:lnTo>
                    <a:lnTo>
                      <a:pt x="96" y="133"/>
                    </a:lnTo>
                    <a:lnTo>
                      <a:pt x="102" y="130"/>
                    </a:lnTo>
                    <a:lnTo>
                      <a:pt x="104" y="130"/>
                    </a:lnTo>
                    <a:lnTo>
                      <a:pt x="108" y="128"/>
                    </a:lnTo>
                    <a:lnTo>
                      <a:pt x="112" y="130"/>
                    </a:lnTo>
                    <a:lnTo>
                      <a:pt x="119" y="137"/>
                    </a:lnTo>
                    <a:lnTo>
                      <a:pt x="119" y="133"/>
                    </a:lnTo>
                    <a:lnTo>
                      <a:pt x="121" y="133"/>
                    </a:lnTo>
                    <a:lnTo>
                      <a:pt x="127" y="133"/>
                    </a:lnTo>
                    <a:lnTo>
                      <a:pt x="133" y="133"/>
                    </a:lnTo>
                    <a:lnTo>
                      <a:pt x="137" y="133"/>
                    </a:lnTo>
                    <a:lnTo>
                      <a:pt x="144" y="133"/>
                    </a:lnTo>
                    <a:lnTo>
                      <a:pt x="148" y="130"/>
                    </a:lnTo>
                    <a:lnTo>
                      <a:pt x="137" y="128"/>
                    </a:lnTo>
                    <a:lnTo>
                      <a:pt x="142" y="124"/>
                    </a:lnTo>
                    <a:lnTo>
                      <a:pt x="137" y="124"/>
                    </a:lnTo>
                    <a:lnTo>
                      <a:pt x="142" y="121"/>
                    </a:lnTo>
                    <a:lnTo>
                      <a:pt x="142" y="117"/>
                    </a:lnTo>
                    <a:lnTo>
                      <a:pt x="137" y="117"/>
                    </a:lnTo>
                    <a:lnTo>
                      <a:pt x="137" y="115"/>
                    </a:lnTo>
                    <a:lnTo>
                      <a:pt x="144" y="115"/>
                    </a:lnTo>
                    <a:lnTo>
                      <a:pt x="158" y="112"/>
                    </a:lnTo>
                    <a:lnTo>
                      <a:pt x="167" y="112"/>
                    </a:lnTo>
                    <a:lnTo>
                      <a:pt x="167" y="108"/>
                    </a:lnTo>
                    <a:lnTo>
                      <a:pt x="175" y="108"/>
                    </a:lnTo>
                    <a:lnTo>
                      <a:pt x="177" y="112"/>
                    </a:lnTo>
                    <a:lnTo>
                      <a:pt x="177" y="115"/>
                    </a:lnTo>
                    <a:lnTo>
                      <a:pt x="183" y="115"/>
                    </a:lnTo>
                    <a:lnTo>
                      <a:pt x="190" y="115"/>
                    </a:lnTo>
                    <a:lnTo>
                      <a:pt x="190" y="117"/>
                    </a:lnTo>
                    <a:lnTo>
                      <a:pt x="192" y="117"/>
                    </a:lnTo>
                    <a:lnTo>
                      <a:pt x="198" y="115"/>
                    </a:lnTo>
                    <a:lnTo>
                      <a:pt x="200" y="115"/>
                    </a:lnTo>
                    <a:lnTo>
                      <a:pt x="208" y="121"/>
                    </a:lnTo>
                    <a:lnTo>
                      <a:pt x="221" y="133"/>
                    </a:lnTo>
                    <a:lnTo>
                      <a:pt x="223" y="130"/>
                    </a:lnTo>
                    <a:lnTo>
                      <a:pt x="227" y="133"/>
                    </a:lnTo>
                    <a:lnTo>
                      <a:pt x="235" y="133"/>
                    </a:lnTo>
                    <a:lnTo>
                      <a:pt x="246" y="139"/>
                    </a:lnTo>
                    <a:lnTo>
                      <a:pt x="248" y="142"/>
                    </a:lnTo>
                    <a:lnTo>
                      <a:pt x="252" y="139"/>
                    </a:lnTo>
                    <a:lnTo>
                      <a:pt x="254" y="142"/>
                    </a:lnTo>
                    <a:lnTo>
                      <a:pt x="254" y="146"/>
                    </a:lnTo>
                    <a:lnTo>
                      <a:pt x="256" y="142"/>
                    </a:lnTo>
                    <a:lnTo>
                      <a:pt x="271" y="133"/>
                    </a:lnTo>
                    <a:lnTo>
                      <a:pt x="279" y="137"/>
                    </a:lnTo>
                    <a:lnTo>
                      <a:pt x="286" y="139"/>
                    </a:lnTo>
                    <a:lnTo>
                      <a:pt x="296" y="139"/>
                    </a:lnTo>
                    <a:lnTo>
                      <a:pt x="296" y="133"/>
                    </a:lnTo>
                    <a:lnTo>
                      <a:pt x="294" y="130"/>
                    </a:lnTo>
                    <a:lnTo>
                      <a:pt x="296" y="128"/>
                    </a:lnTo>
                    <a:lnTo>
                      <a:pt x="308" y="130"/>
                    </a:lnTo>
                    <a:lnTo>
                      <a:pt x="317" y="137"/>
                    </a:lnTo>
                    <a:lnTo>
                      <a:pt x="327" y="137"/>
                    </a:lnTo>
                    <a:lnTo>
                      <a:pt x="348" y="142"/>
                    </a:lnTo>
                    <a:lnTo>
                      <a:pt x="359" y="139"/>
                    </a:lnTo>
                    <a:lnTo>
                      <a:pt x="365" y="137"/>
                    </a:lnTo>
                    <a:lnTo>
                      <a:pt x="373" y="139"/>
                    </a:lnTo>
                    <a:lnTo>
                      <a:pt x="379" y="139"/>
                    </a:lnTo>
                    <a:lnTo>
                      <a:pt x="384" y="137"/>
                    </a:lnTo>
                    <a:lnTo>
                      <a:pt x="382" y="130"/>
                    </a:lnTo>
                    <a:lnTo>
                      <a:pt x="384" y="128"/>
                    </a:lnTo>
                    <a:lnTo>
                      <a:pt x="379" y="124"/>
                    </a:lnTo>
                    <a:lnTo>
                      <a:pt x="382" y="121"/>
                    </a:lnTo>
                    <a:lnTo>
                      <a:pt x="390" y="117"/>
                    </a:lnTo>
                    <a:lnTo>
                      <a:pt x="402" y="121"/>
                    </a:lnTo>
                    <a:lnTo>
                      <a:pt x="413" y="133"/>
                    </a:lnTo>
                    <a:lnTo>
                      <a:pt x="419" y="139"/>
                    </a:lnTo>
                    <a:lnTo>
                      <a:pt x="427" y="142"/>
                    </a:lnTo>
                    <a:lnTo>
                      <a:pt x="436" y="146"/>
                    </a:lnTo>
                    <a:lnTo>
                      <a:pt x="442" y="151"/>
                    </a:lnTo>
                    <a:lnTo>
                      <a:pt x="444" y="151"/>
                    </a:lnTo>
                    <a:lnTo>
                      <a:pt x="452" y="146"/>
                    </a:lnTo>
                    <a:lnTo>
                      <a:pt x="455" y="151"/>
                    </a:lnTo>
                    <a:lnTo>
                      <a:pt x="455" y="155"/>
                    </a:lnTo>
                    <a:lnTo>
                      <a:pt x="459" y="166"/>
                    </a:lnTo>
                    <a:lnTo>
                      <a:pt x="452" y="164"/>
                    </a:lnTo>
                    <a:lnTo>
                      <a:pt x="450" y="166"/>
                    </a:lnTo>
                    <a:lnTo>
                      <a:pt x="455" y="175"/>
                    </a:lnTo>
                    <a:lnTo>
                      <a:pt x="455" y="180"/>
                    </a:lnTo>
                    <a:lnTo>
                      <a:pt x="459" y="175"/>
                    </a:lnTo>
                    <a:lnTo>
                      <a:pt x="463" y="180"/>
                    </a:lnTo>
                    <a:lnTo>
                      <a:pt x="469" y="175"/>
                    </a:lnTo>
                    <a:lnTo>
                      <a:pt x="469" y="169"/>
                    </a:lnTo>
                    <a:lnTo>
                      <a:pt x="475" y="164"/>
                    </a:lnTo>
                    <a:lnTo>
                      <a:pt x="475" y="146"/>
                    </a:lnTo>
                    <a:lnTo>
                      <a:pt x="467" y="133"/>
                    </a:lnTo>
                    <a:lnTo>
                      <a:pt x="461" y="121"/>
                    </a:lnTo>
                    <a:lnTo>
                      <a:pt x="450" y="115"/>
                    </a:lnTo>
                    <a:lnTo>
                      <a:pt x="446" y="117"/>
                    </a:lnTo>
                    <a:lnTo>
                      <a:pt x="444" y="117"/>
                    </a:lnTo>
                    <a:lnTo>
                      <a:pt x="444" y="115"/>
                    </a:lnTo>
                    <a:lnTo>
                      <a:pt x="442" y="115"/>
                    </a:lnTo>
                    <a:lnTo>
                      <a:pt x="442" y="117"/>
                    </a:lnTo>
                    <a:lnTo>
                      <a:pt x="438" y="112"/>
                    </a:lnTo>
                    <a:lnTo>
                      <a:pt x="430" y="112"/>
                    </a:lnTo>
                    <a:lnTo>
                      <a:pt x="436" y="106"/>
                    </a:lnTo>
                    <a:lnTo>
                      <a:pt x="438" y="88"/>
                    </a:lnTo>
                    <a:lnTo>
                      <a:pt x="444" y="88"/>
                    </a:lnTo>
                    <a:lnTo>
                      <a:pt x="463" y="88"/>
                    </a:lnTo>
                    <a:lnTo>
                      <a:pt x="463" y="85"/>
                    </a:lnTo>
                    <a:lnTo>
                      <a:pt x="473" y="85"/>
                    </a:lnTo>
                    <a:lnTo>
                      <a:pt x="475" y="90"/>
                    </a:lnTo>
                    <a:lnTo>
                      <a:pt x="490" y="88"/>
                    </a:lnTo>
                    <a:lnTo>
                      <a:pt x="484" y="88"/>
                    </a:lnTo>
                    <a:lnTo>
                      <a:pt x="482" y="85"/>
                    </a:lnTo>
                    <a:lnTo>
                      <a:pt x="484" y="74"/>
                    </a:lnTo>
                    <a:lnTo>
                      <a:pt x="494" y="74"/>
                    </a:lnTo>
                    <a:lnTo>
                      <a:pt x="494" y="79"/>
                    </a:lnTo>
                    <a:lnTo>
                      <a:pt x="500" y="81"/>
                    </a:lnTo>
                    <a:lnTo>
                      <a:pt x="503" y="74"/>
                    </a:lnTo>
                    <a:lnTo>
                      <a:pt x="500" y="70"/>
                    </a:lnTo>
                    <a:lnTo>
                      <a:pt x="507" y="70"/>
                    </a:lnTo>
                    <a:lnTo>
                      <a:pt x="507" y="72"/>
                    </a:lnTo>
                    <a:lnTo>
                      <a:pt x="513" y="79"/>
                    </a:lnTo>
                    <a:lnTo>
                      <a:pt x="509" y="81"/>
                    </a:lnTo>
                    <a:lnTo>
                      <a:pt x="507" y="94"/>
                    </a:lnTo>
                    <a:lnTo>
                      <a:pt x="503" y="97"/>
                    </a:lnTo>
                    <a:lnTo>
                      <a:pt x="507" y="99"/>
                    </a:lnTo>
                    <a:lnTo>
                      <a:pt x="503" y="99"/>
                    </a:lnTo>
                    <a:lnTo>
                      <a:pt x="509" y="108"/>
                    </a:lnTo>
                    <a:lnTo>
                      <a:pt x="534" y="133"/>
                    </a:lnTo>
                    <a:lnTo>
                      <a:pt x="534" y="130"/>
                    </a:lnTo>
                    <a:lnTo>
                      <a:pt x="534" y="121"/>
                    </a:lnTo>
                    <a:lnTo>
                      <a:pt x="538" y="121"/>
                    </a:lnTo>
                    <a:lnTo>
                      <a:pt x="532" y="115"/>
                    </a:lnTo>
                    <a:lnTo>
                      <a:pt x="538" y="112"/>
                    </a:lnTo>
                    <a:lnTo>
                      <a:pt x="532" y="106"/>
                    </a:lnTo>
                    <a:lnTo>
                      <a:pt x="534" y="103"/>
                    </a:lnTo>
                    <a:lnTo>
                      <a:pt x="530" y="99"/>
                    </a:lnTo>
                    <a:lnTo>
                      <a:pt x="525" y="97"/>
                    </a:lnTo>
                    <a:lnTo>
                      <a:pt x="523" y="97"/>
                    </a:lnTo>
                    <a:lnTo>
                      <a:pt x="521" y="94"/>
                    </a:lnTo>
                    <a:lnTo>
                      <a:pt x="521" y="88"/>
                    </a:lnTo>
                    <a:lnTo>
                      <a:pt x="517" y="85"/>
                    </a:lnTo>
                    <a:lnTo>
                      <a:pt x="521" y="85"/>
                    </a:lnTo>
                    <a:lnTo>
                      <a:pt x="523" y="81"/>
                    </a:lnTo>
                    <a:lnTo>
                      <a:pt x="530" y="85"/>
                    </a:lnTo>
                    <a:lnTo>
                      <a:pt x="530" y="81"/>
                    </a:lnTo>
                    <a:lnTo>
                      <a:pt x="532" y="81"/>
                    </a:lnTo>
                    <a:lnTo>
                      <a:pt x="542" y="85"/>
                    </a:lnTo>
                    <a:lnTo>
                      <a:pt x="540" y="81"/>
                    </a:lnTo>
                    <a:lnTo>
                      <a:pt x="548" y="72"/>
                    </a:lnTo>
                    <a:lnTo>
                      <a:pt x="553" y="70"/>
                    </a:lnTo>
                    <a:lnTo>
                      <a:pt x="561" y="72"/>
                    </a:lnTo>
                    <a:lnTo>
                      <a:pt x="561" y="70"/>
                    </a:lnTo>
                    <a:lnTo>
                      <a:pt x="540" y="61"/>
                    </a:lnTo>
                    <a:lnTo>
                      <a:pt x="546" y="61"/>
                    </a:lnTo>
                    <a:lnTo>
                      <a:pt x="546" y="56"/>
                    </a:lnTo>
                    <a:lnTo>
                      <a:pt x="546" y="54"/>
                    </a:lnTo>
                    <a:lnTo>
                      <a:pt x="540" y="54"/>
                    </a:lnTo>
                    <a:lnTo>
                      <a:pt x="542" y="52"/>
                    </a:lnTo>
                    <a:lnTo>
                      <a:pt x="548" y="54"/>
                    </a:lnTo>
                    <a:lnTo>
                      <a:pt x="561" y="56"/>
                    </a:lnTo>
                    <a:lnTo>
                      <a:pt x="578" y="61"/>
                    </a:lnTo>
                    <a:lnTo>
                      <a:pt x="571" y="54"/>
                    </a:lnTo>
                    <a:lnTo>
                      <a:pt x="578" y="54"/>
                    </a:lnTo>
                    <a:lnTo>
                      <a:pt x="578" y="52"/>
                    </a:lnTo>
                    <a:lnTo>
                      <a:pt x="563" y="47"/>
                    </a:lnTo>
                    <a:lnTo>
                      <a:pt x="555" y="47"/>
                    </a:lnTo>
                    <a:lnTo>
                      <a:pt x="521" y="38"/>
                    </a:lnTo>
                    <a:lnTo>
                      <a:pt x="503" y="31"/>
                    </a:lnTo>
                    <a:lnTo>
                      <a:pt x="482" y="31"/>
                    </a:lnTo>
                    <a:lnTo>
                      <a:pt x="490" y="38"/>
                    </a:lnTo>
                    <a:lnTo>
                      <a:pt x="486" y="38"/>
                    </a:lnTo>
                    <a:lnTo>
                      <a:pt x="477" y="36"/>
                    </a:lnTo>
                    <a:lnTo>
                      <a:pt x="482" y="36"/>
                    </a:lnTo>
                    <a:lnTo>
                      <a:pt x="482" y="31"/>
                    </a:lnTo>
                    <a:lnTo>
                      <a:pt x="475" y="31"/>
                    </a:lnTo>
                    <a:lnTo>
                      <a:pt x="475" y="36"/>
                    </a:lnTo>
                    <a:lnTo>
                      <a:pt x="452" y="36"/>
                    </a:lnTo>
                    <a:lnTo>
                      <a:pt x="444" y="31"/>
                    </a:lnTo>
                    <a:lnTo>
                      <a:pt x="436" y="29"/>
                    </a:lnTo>
                    <a:lnTo>
                      <a:pt x="415" y="29"/>
                    </a:lnTo>
                    <a:lnTo>
                      <a:pt x="398" y="22"/>
                    </a:lnTo>
                    <a:lnTo>
                      <a:pt x="365" y="20"/>
                    </a:lnTo>
                    <a:lnTo>
                      <a:pt x="365" y="22"/>
                    </a:lnTo>
                    <a:lnTo>
                      <a:pt x="371" y="27"/>
                    </a:lnTo>
                    <a:lnTo>
                      <a:pt x="356" y="22"/>
                    </a:lnTo>
                    <a:lnTo>
                      <a:pt x="354" y="27"/>
                    </a:lnTo>
                    <a:lnTo>
                      <a:pt x="342" y="22"/>
                    </a:lnTo>
                    <a:lnTo>
                      <a:pt x="344" y="27"/>
                    </a:lnTo>
                    <a:lnTo>
                      <a:pt x="344" y="29"/>
                    </a:lnTo>
                    <a:lnTo>
                      <a:pt x="331" y="22"/>
                    </a:lnTo>
                    <a:lnTo>
                      <a:pt x="331" y="20"/>
                    </a:lnTo>
                    <a:lnTo>
                      <a:pt x="323" y="18"/>
                    </a:lnTo>
                    <a:lnTo>
                      <a:pt x="302" y="13"/>
                    </a:lnTo>
                    <a:lnTo>
                      <a:pt x="308" y="18"/>
                    </a:lnTo>
                    <a:lnTo>
                      <a:pt x="296" y="18"/>
                    </a:lnTo>
                    <a:lnTo>
                      <a:pt x="292" y="18"/>
                    </a:lnTo>
                    <a:lnTo>
                      <a:pt x="288" y="18"/>
                    </a:lnTo>
                    <a:lnTo>
                      <a:pt x="275" y="18"/>
                    </a:lnTo>
                    <a:lnTo>
                      <a:pt x="269" y="11"/>
                    </a:lnTo>
                    <a:lnTo>
                      <a:pt x="263" y="11"/>
                    </a:lnTo>
                    <a:lnTo>
                      <a:pt x="271" y="13"/>
                    </a:lnTo>
                    <a:lnTo>
                      <a:pt x="260" y="13"/>
                    </a:lnTo>
                    <a:lnTo>
                      <a:pt x="263" y="18"/>
                    </a:lnTo>
                    <a:lnTo>
                      <a:pt x="252" y="18"/>
                    </a:lnTo>
                    <a:lnTo>
                      <a:pt x="267" y="9"/>
                    </a:lnTo>
                    <a:lnTo>
                      <a:pt x="263" y="4"/>
                    </a:lnTo>
                    <a:lnTo>
                      <a:pt x="252" y="2"/>
                    </a:lnTo>
                    <a:lnTo>
                      <a:pt x="238" y="2"/>
                    </a:lnTo>
                    <a:lnTo>
                      <a:pt x="231" y="0"/>
                    </a:lnTo>
                    <a:lnTo>
                      <a:pt x="223" y="0"/>
                    </a:lnTo>
                    <a:lnTo>
                      <a:pt x="217" y="2"/>
                    </a:lnTo>
                    <a:lnTo>
                      <a:pt x="217" y="4"/>
                    </a:lnTo>
                    <a:lnTo>
                      <a:pt x="198" y="4"/>
                    </a:lnTo>
                    <a:lnTo>
                      <a:pt x="187" y="9"/>
                    </a:lnTo>
                    <a:lnTo>
                      <a:pt x="181" y="11"/>
                    </a:lnTo>
                    <a:lnTo>
                      <a:pt x="187" y="13"/>
                    </a:lnTo>
                    <a:lnTo>
                      <a:pt x="167" y="18"/>
                    </a:lnTo>
                    <a:lnTo>
                      <a:pt x="169" y="20"/>
                    </a:lnTo>
                    <a:lnTo>
                      <a:pt x="177" y="22"/>
                    </a:lnTo>
                    <a:lnTo>
                      <a:pt x="175" y="22"/>
                    </a:lnTo>
                    <a:lnTo>
                      <a:pt x="158" y="20"/>
                    </a:lnTo>
                    <a:lnTo>
                      <a:pt x="156" y="22"/>
                    </a:lnTo>
                    <a:lnTo>
                      <a:pt x="167" y="29"/>
                    </a:lnTo>
                    <a:lnTo>
                      <a:pt x="156" y="27"/>
                    </a:lnTo>
                    <a:lnTo>
                      <a:pt x="154" y="25"/>
                    </a:lnTo>
                    <a:lnTo>
                      <a:pt x="152" y="2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59" name="Romania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733029" y="3005964"/>
              <a:ext cx="227448" cy="139336"/>
            </a:xfrm>
            <a:custGeom>
              <a:avLst/>
              <a:gdLst/>
              <a:ahLst/>
              <a:cxnLst>
                <a:cxn ang="0">
                  <a:pos x="37" y="16"/>
                </a:cxn>
                <a:cxn ang="0">
                  <a:pos x="41" y="16"/>
                </a:cxn>
                <a:cxn ang="0">
                  <a:pos x="41" y="18"/>
                </a:cxn>
                <a:cxn ang="0">
                  <a:pos x="37" y="21"/>
                </a:cxn>
                <a:cxn ang="0">
                  <a:pos x="39" y="25"/>
                </a:cxn>
                <a:cxn ang="0">
                  <a:pos x="31" y="21"/>
                </a:cxn>
                <a:cxn ang="0">
                  <a:pos x="25" y="25"/>
                </a:cxn>
                <a:cxn ang="0">
                  <a:pos x="16" y="25"/>
                </a:cxn>
                <a:cxn ang="0">
                  <a:pos x="14" y="21"/>
                </a:cxn>
                <a:cxn ang="0">
                  <a:pos x="12" y="18"/>
                </a:cxn>
                <a:cxn ang="0">
                  <a:pos x="8" y="18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6" y="9"/>
                </a:cxn>
                <a:cxn ang="0">
                  <a:pos x="8" y="3"/>
                </a:cxn>
                <a:cxn ang="0">
                  <a:pos x="12" y="0"/>
                </a:cxn>
                <a:cxn ang="0">
                  <a:pos x="21" y="3"/>
                </a:cxn>
                <a:cxn ang="0">
                  <a:pos x="29" y="0"/>
                </a:cxn>
                <a:cxn ang="0">
                  <a:pos x="33" y="7"/>
                </a:cxn>
                <a:cxn ang="0">
                  <a:pos x="35" y="12"/>
                </a:cxn>
                <a:cxn ang="0">
                  <a:pos x="37" y="16"/>
                </a:cxn>
              </a:cxnLst>
              <a:rect l="0" t="0" r="r" b="b"/>
              <a:pathLst>
                <a:path w="41" h="25">
                  <a:moveTo>
                    <a:pt x="37" y="16"/>
                  </a:moveTo>
                  <a:lnTo>
                    <a:pt x="41" y="16"/>
                  </a:lnTo>
                  <a:lnTo>
                    <a:pt x="41" y="18"/>
                  </a:lnTo>
                  <a:lnTo>
                    <a:pt x="37" y="21"/>
                  </a:lnTo>
                  <a:lnTo>
                    <a:pt x="39" y="25"/>
                  </a:lnTo>
                  <a:lnTo>
                    <a:pt x="31" y="21"/>
                  </a:lnTo>
                  <a:lnTo>
                    <a:pt x="25" y="25"/>
                  </a:lnTo>
                  <a:lnTo>
                    <a:pt x="16" y="25"/>
                  </a:lnTo>
                  <a:lnTo>
                    <a:pt x="14" y="21"/>
                  </a:lnTo>
                  <a:lnTo>
                    <a:pt x="12" y="18"/>
                  </a:lnTo>
                  <a:lnTo>
                    <a:pt x="8" y="18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6" y="9"/>
                  </a:lnTo>
                  <a:lnTo>
                    <a:pt x="8" y="3"/>
                  </a:lnTo>
                  <a:lnTo>
                    <a:pt x="12" y="0"/>
                  </a:lnTo>
                  <a:lnTo>
                    <a:pt x="21" y="3"/>
                  </a:lnTo>
                  <a:lnTo>
                    <a:pt x="29" y="0"/>
                  </a:lnTo>
                  <a:lnTo>
                    <a:pt x="33" y="7"/>
                  </a:lnTo>
                  <a:lnTo>
                    <a:pt x="35" y="12"/>
                  </a:lnTo>
                  <a:lnTo>
                    <a:pt x="37" y="1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60" name="Qatar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5518276" y="3706548"/>
              <a:ext cx="33285" cy="50161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7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0" y="2"/>
                </a:cxn>
              </a:cxnLst>
              <a:rect l="0" t="0" r="r" b="b"/>
              <a:pathLst>
                <a:path w="6" h="9">
                  <a:moveTo>
                    <a:pt x="0" y="2"/>
                  </a:moveTo>
                  <a:lnTo>
                    <a:pt x="4" y="0"/>
                  </a:lnTo>
                  <a:lnTo>
                    <a:pt x="6" y="0"/>
                  </a:lnTo>
                  <a:lnTo>
                    <a:pt x="6" y="7"/>
                  </a:lnTo>
                  <a:lnTo>
                    <a:pt x="4" y="9"/>
                  </a:lnTo>
                  <a:lnTo>
                    <a:pt x="2" y="7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61" name="Portugal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022949" y="3206607"/>
              <a:ext cx="94308" cy="150483"/>
            </a:xfrm>
            <a:custGeom>
              <a:avLst/>
              <a:gdLst/>
              <a:ahLst/>
              <a:cxnLst>
                <a:cxn ang="0">
                  <a:pos x="13" y="18"/>
                </a:cxn>
                <a:cxn ang="0">
                  <a:pos x="13" y="14"/>
                </a:cxn>
                <a:cxn ang="0">
                  <a:pos x="15" y="9"/>
                </a:cxn>
                <a:cxn ang="0">
                  <a:pos x="15" y="7"/>
                </a:cxn>
                <a:cxn ang="0">
                  <a:pos x="17" y="0"/>
                </a:cxn>
                <a:cxn ang="0">
                  <a:pos x="15" y="0"/>
                </a:cxn>
                <a:cxn ang="0">
                  <a:pos x="7" y="0"/>
                </a:cxn>
                <a:cxn ang="0">
                  <a:pos x="7" y="5"/>
                </a:cxn>
                <a:cxn ang="0">
                  <a:pos x="0" y="16"/>
                </a:cxn>
                <a:cxn ang="0">
                  <a:pos x="2" y="18"/>
                </a:cxn>
                <a:cxn ang="0">
                  <a:pos x="2" y="27"/>
                </a:cxn>
                <a:cxn ang="0">
                  <a:pos x="13" y="25"/>
                </a:cxn>
                <a:cxn ang="0">
                  <a:pos x="13" y="23"/>
                </a:cxn>
                <a:cxn ang="0">
                  <a:pos x="13" y="18"/>
                </a:cxn>
              </a:cxnLst>
              <a:rect l="0" t="0" r="r" b="b"/>
              <a:pathLst>
                <a:path w="17" h="27">
                  <a:moveTo>
                    <a:pt x="13" y="18"/>
                  </a:moveTo>
                  <a:lnTo>
                    <a:pt x="13" y="14"/>
                  </a:lnTo>
                  <a:lnTo>
                    <a:pt x="15" y="9"/>
                  </a:lnTo>
                  <a:lnTo>
                    <a:pt x="15" y="7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7" y="0"/>
                  </a:lnTo>
                  <a:lnTo>
                    <a:pt x="7" y="5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27"/>
                  </a:lnTo>
                  <a:lnTo>
                    <a:pt x="13" y="25"/>
                  </a:lnTo>
                  <a:lnTo>
                    <a:pt x="13" y="23"/>
                  </a:lnTo>
                  <a:lnTo>
                    <a:pt x="13" y="1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62" name="Poland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4594342" y="2805321"/>
              <a:ext cx="227448" cy="167203"/>
            </a:xfrm>
            <a:custGeom>
              <a:avLst/>
              <a:gdLst/>
              <a:ahLst/>
              <a:cxnLst>
                <a:cxn ang="0">
                  <a:pos x="39" y="18"/>
                </a:cxn>
                <a:cxn ang="0">
                  <a:pos x="37" y="16"/>
                </a:cxn>
                <a:cxn ang="0">
                  <a:pos x="39" y="9"/>
                </a:cxn>
                <a:cxn ang="0">
                  <a:pos x="37" y="3"/>
                </a:cxn>
                <a:cxn ang="0">
                  <a:pos x="33" y="3"/>
                </a:cxn>
                <a:cxn ang="0">
                  <a:pos x="23" y="0"/>
                </a:cxn>
                <a:cxn ang="0">
                  <a:pos x="18" y="3"/>
                </a:cxn>
                <a:cxn ang="0">
                  <a:pos x="16" y="0"/>
                </a:cxn>
                <a:cxn ang="0">
                  <a:pos x="0" y="5"/>
                </a:cxn>
                <a:cxn ang="0">
                  <a:pos x="2" y="21"/>
                </a:cxn>
                <a:cxn ang="0">
                  <a:pos x="8" y="21"/>
                </a:cxn>
                <a:cxn ang="0">
                  <a:pos x="10" y="25"/>
                </a:cxn>
                <a:cxn ang="0">
                  <a:pos x="14" y="25"/>
                </a:cxn>
                <a:cxn ang="0">
                  <a:pos x="25" y="30"/>
                </a:cxn>
                <a:cxn ang="0">
                  <a:pos x="31" y="30"/>
                </a:cxn>
                <a:cxn ang="0">
                  <a:pos x="33" y="30"/>
                </a:cxn>
                <a:cxn ang="0">
                  <a:pos x="41" y="25"/>
                </a:cxn>
                <a:cxn ang="0">
                  <a:pos x="39" y="23"/>
                </a:cxn>
                <a:cxn ang="0">
                  <a:pos x="39" y="18"/>
                </a:cxn>
              </a:cxnLst>
              <a:rect l="0" t="0" r="r" b="b"/>
              <a:pathLst>
                <a:path w="41" h="30">
                  <a:moveTo>
                    <a:pt x="39" y="18"/>
                  </a:moveTo>
                  <a:lnTo>
                    <a:pt x="37" y="16"/>
                  </a:lnTo>
                  <a:lnTo>
                    <a:pt x="39" y="9"/>
                  </a:lnTo>
                  <a:lnTo>
                    <a:pt x="37" y="3"/>
                  </a:lnTo>
                  <a:lnTo>
                    <a:pt x="33" y="3"/>
                  </a:lnTo>
                  <a:lnTo>
                    <a:pt x="23" y="0"/>
                  </a:lnTo>
                  <a:lnTo>
                    <a:pt x="18" y="3"/>
                  </a:lnTo>
                  <a:lnTo>
                    <a:pt x="16" y="0"/>
                  </a:lnTo>
                  <a:lnTo>
                    <a:pt x="0" y="5"/>
                  </a:lnTo>
                  <a:lnTo>
                    <a:pt x="2" y="21"/>
                  </a:lnTo>
                  <a:lnTo>
                    <a:pt x="8" y="21"/>
                  </a:lnTo>
                  <a:lnTo>
                    <a:pt x="10" y="25"/>
                  </a:lnTo>
                  <a:lnTo>
                    <a:pt x="14" y="25"/>
                  </a:lnTo>
                  <a:lnTo>
                    <a:pt x="25" y="30"/>
                  </a:lnTo>
                  <a:lnTo>
                    <a:pt x="31" y="30"/>
                  </a:lnTo>
                  <a:lnTo>
                    <a:pt x="33" y="30"/>
                  </a:lnTo>
                  <a:lnTo>
                    <a:pt x="41" y="25"/>
                  </a:lnTo>
                  <a:lnTo>
                    <a:pt x="39" y="23"/>
                  </a:lnTo>
                  <a:lnTo>
                    <a:pt x="39" y="1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63" name="Philippines"/>
            <p:cNvGrpSpPr/>
            <p:nvPr/>
          </p:nvGrpSpPr>
          <p:grpSpPr>
            <a:xfrm>
              <a:off x="7312617" y="3964595"/>
              <a:ext cx="244090" cy="401289"/>
              <a:chOff x="7312617" y="3964595"/>
              <a:chExt cx="244090" cy="401289"/>
            </a:xfrm>
            <a:grpFill/>
          </p:grpSpPr>
          <p:sp>
            <p:nvSpPr>
              <p:cNvPr id="340" name="Philippines"/>
              <p:cNvSpPr>
                <a:spLocks/>
              </p:cNvSpPr>
              <p:nvPr>
                <p:custDataLst>
                  <p:tags r:id="rId239"/>
                </p:custDataLst>
              </p:nvPr>
            </p:nvSpPr>
            <p:spPr bwMode="auto">
              <a:xfrm>
                <a:off x="7356997" y="3964595"/>
                <a:ext cx="127592" cy="172777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0" y="20"/>
                  </a:cxn>
                  <a:cxn ang="0">
                    <a:pos x="5" y="20"/>
                  </a:cxn>
                  <a:cxn ang="0">
                    <a:pos x="5" y="27"/>
                  </a:cxn>
                  <a:cxn ang="0">
                    <a:pos x="9" y="27"/>
                  </a:cxn>
                  <a:cxn ang="0">
                    <a:pos x="13" y="31"/>
                  </a:cxn>
                  <a:cxn ang="0">
                    <a:pos x="13" y="27"/>
                  </a:cxn>
                  <a:cxn ang="0">
                    <a:pos x="17" y="31"/>
                  </a:cxn>
                  <a:cxn ang="0">
                    <a:pos x="23" y="31"/>
                  </a:cxn>
                  <a:cxn ang="0">
                    <a:pos x="19" y="27"/>
                  </a:cxn>
                  <a:cxn ang="0">
                    <a:pos x="13" y="24"/>
                  </a:cxn>
                  <a:cxn ang="0">
                    <a:pos x="11" y="27"/>
                  </a:cxn>
                  <a:cxn ang="0">
                    <a:pos x="11" y="24"/>
                  </a:cxn>
                  <a:cxn ang="0">
                    <a:pos x="9" y="18"/>
                  </a:cxn>
                  <a:cxn ang="0">
                    <a:pos x="11" y="9"/>
                  </a:cxn>
                  <a:cxn ang="0">
                    <a:pos x="9" y="6"/>
                  </a:cxn>
                  <a:cxn ang="0">
                    <a:pos x="9" y="0"/>
                  </a:cxn>
                  <a:cxn ang="0">
                    <a:pos x="0" y="0"/>
                  </a:cxn>
                  <a:cxn ang="0">
                    <a:pos x="2" y="11"/>
                  </a:cxn>
                  <a:cxn ang="0">
                    <a:pos x="0" y="11"/>
                  </a:cxn>
                </a:cxnLst>
                <a:rect l="0" t="0" r="r" b="b"/>
                <a:pathLst>
                  <a:path w="23" h="31">
                    <a:moveTo>
                      <a:pt x="0" y="11"/>
                    </a:moveTo>
                    <a:lnTo>
                      <a:pt x="0" y="20"/>
                    </a:lnTo>
                    <a:lnTo>
                      <a:pt x="5" y="20"/>
                    </a:lnTo>
                    <a:lnTo>
                      <a:pt x="5" y="27"/>
                    </a:lnTo>
                    <a:lnTo>
                      <a:pt x="9" y="27"/>
                    </a:lnTo>
                    <a:lnTo>
                      <a:pt x="13" y="31"/>
                    </a:lnTo>
                    <a:lnTo>
                      <a:pt x="13" y="27"/>
                    </a:lnTo>
                    <a:lnTo>
                      <a:pt x="17" y="31"/>
                    </a:lnTo>
                    <a:lnTo>
                      <a:pt x="23" y="31"/>
                    </a:lnTo>
                    <a:lnTo>
                      <a:pt x="19" y="27"/>
                    </a:lnTo>
                    <a:lnTo>
                      <a:pt x="13" y="24"/>
                    </a:lnTo>
                    <a:lnTo>
                      <a:pt x="11" y="27"/>
                    </a:lnTo>
                    <a:lnTo>
                      <a:pt x="11" y="24"/>
                    </a:lnTo>
                    <a:lnTo>
                      <a:pt x="9" y="18"/>
                    </a:lnTo>
                    <a:lnTo>
                      <a:pt x="11" y="9"/>
                    </a:lnTo>
                    <a:lnTo>
                      <a:pt x="9" y="6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2" y="11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41" name="Philippines"/>
              <p:cNvSpPr>
                <a:spLocks/>
              </p:cNvSpPr>
              <p:nvPr>
                <p:custDataLst>
                  <p:tags r:id="rId240"/>
                </p:custDataLst>
              </p:nvPr>
            </p:nvSpPr>
            <p:spPr bwMode="auto">
              <a:xfrm>
                <a:off x="7312617" y="4198679"/>
                <a:ext cx="55475" cy="89175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10" y="3"/>
                  </a:cxn>
                  <a:cxn ang="0">
                    <a:pos x="8" y="0"/>
                  </a:cxn>
                  <a:cxn ang="0">
                    <a:pos x="8" y="3"/>
                  </a:cxn>
                  <a:cxn ang="0">
                    <a:pos x="4" y="9"/>
                  </a:cxn>
                  <a:cxn ang="0">
                    <a:pos x="0" y="14"/>
                  </a:cxn>
                  <a:cxn ang="0">
                    <a:pos x="0" y="16"/>
                  </a:cxn>
                </a:cxnLst>
                <a:rect l="0" t="0" r="r" b="b"/>
                <a:pathLst>
                  <a:path w="10" h="16">
                    <a:moveTo>
                      <a:pt x="0" y="16"/>
                    </a:moveTo>
                    <a:lnTo>
                      <a:pt x="10" y="3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4" y="9"/>
                    </a:lnTo>
                    <a:lnTo>
                      <a:pt x="0" y="14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42" name="Philippines"/>
              <p:cNvSpPr>
                <a:spLocks/>
              </p:cNvSpPr>
              <p:nvPr>
                <p:custDataLst>
                  <p:tags r:id="rId241"/>
                </p:custDataLst>
              </p:nvPr>
            </p:nvSpPr>
            <p:spPr bwMode="auto">
              <a:xfrm>
                <a:off x="7368092" y="4115078"/>
                <a:ext cx="38833" cy="5016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7" y="9"/>
                  </a:cxn>
                  <a:cxn ang="0">
                    <a:pos x="7" y="6"/>
                  </a:cxn>
                  <a:cxn ang="0">
                    <a:pos x="7" y="4"/>
                  </a:cxn>
                  <a:cxn ang="0">
                    <a:pos x="3" y="2"/>
                  </a:cxn>
                  <a:cxn ang="0">
                    <a:pos x="0" y="0"/>
                  </a:cxn>
                </a:cxnLst>
                <a:rect l="0" t="0" r="r" b="b"/>
                <a:pathLst>
                  <a:path w="7" h="9">
                    <a:moveTo>
                      <a:pt x="0" y="0"/>
                    </a:moveTo>
                    <a:lnTo>
                      <a:pt x="7" y="9"/>
                    </a:lnTo>
                    <a:lnTo>
                      <a:pt x="7" y="6"/>
                    </a:lnTo>
                    <a:lnTo>
                      <a:pt x="7" y="4"/>
                    </a:lnTo>
                    <a:lnTo>
                      <a:pt x="3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43" name="Philippines"/>
              <p:cNvSpPr>
                <a:spLocks/>
              </p:cNvSpPr>
              <p:nvPr>
                <p:custDataLst>
                  <p:tags r:id="rId242"/>
                </p:custDataLst>
              </p:nvPr>
            </p:nvSpPr>
            <p:spPr bwMode="auto">
              <a:xfrm>
                <a:off x="7484590" y="4148518"/>
                <a:ext cx="22190" cy="89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7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2" y="9"/>
                  </a:cxn>
                  <a:cxn ang="0">
                    <a:pos x="2" y="16"/>
                  </a:cxn>
                  <a:cxn ang="0">
                    <a:pos x="4" y="12"/>
                  </a:cxn>
                  <a:cxn ang="0">
                    <a:pos x="2" y="9"/>
                  </a:cxn>
                  <a:cxn ang="0">
                    <a:pos x="4" y="9"/>
                  </a:cxn>
                  <a:cxn ang="0">
                    <a:pos x="4" y="3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16">
                    <a:moveTo>
                      <a:pt x="0" y="0"/>
                    </a:moveTo>
                    <a:lnTo>
                      <a:pt x="2" y="7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2" y="16"/>
                    </a:lnTo>
                    <a:lnTo>
                      <a:pt x="4" y="12"/>
                    </a:lnTo>
                    <a:lnTo>
                      <a:pt x="2" y="9"/>
                    </a:lnTo>
                    <a:lnTo>
                      <a:pt x="4" y="9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44" name="Philippines"/>
              <p:cNvSpPr>
                <a:spLocks/>
              </p:cNvSpPr>
              <p:nvPr>
                <p:custDataLst>
                  <p:tags r:id="rId243"/>
                </p:custDataLst>
              </p:nvPr>
            </p:nvSpPr>
            <p:spPr bwMode="auto">
              <a:xfrm>
                <a:off x="7418020" y="4165239"/>
                <a:ext cx="77665" cy="100322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6" y="9"/>
                  </a:cxn>
                  <a:cxn ang="0">
                    <a:pos x="6" y="13"/>
                  </a:cxn>
                  <a:cxn ang="0">
                    <a:pos x="2" y="13"/>
                  </a:cxn>
                  <a:cxn ang="0">
                    <a:pos x="6" y="18"/>
                  </a:cxn>
                  <a:cxn ang="0">
                    <a:pos x="8" y="15"/>
                  </a:cxn>
                  <a:cxn ang="0">
                    <a:pos x="8" y="13"/>
                  </a:cxn>
                  <a:cxn ang="0">
                    <a:pos x="8" y="15"/>
                  </a:cxn>
                  <a:cxn ang="0">
                    <a:pos x="12" y="13"/>
                  </a:cxn>
                  <a:cxn ang="0">
                    <a:pos x="12" y="15"/>
                  </a:cxn>
                  <a:cxn ang="0">
                    <a:pos x="14" y="15"/>
                  </a:cxn>
                  <a:cxn ang="0">
                    <a:pos x="14" y="13"/>
                  </a:cxn>
                  <a:cxn ang="0">
                    <a:pos x="12" y="13"/>
                  </a:cxn>
                  <a:cxn ang="0">
                    <a:pos x="12" y="6"/>
                  </a:cxn>
                  <a:cxn ang="0">
                    <a:pos x="8" y="9"/>
                  </a:cxn>
                  <a:cxn ang="0">
                    <a:pos x="6" y="4"/>
                  </a:cxn>
                  <a:cxn ang="0">
                    <a:pos x="2" y="4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0" y="9"/>
                  </a:cxn>
                </a:cxnLst>
                <a:rect l="0" t="0" r="r" b="b"/>
                <a:pathLst>
                  <a:path w="14" h="18">
                    <a:moveTo>
                      <a:pt x="0" y="9"/>
                    </a:moveTo>
                    <a:lnTo>
                      <a:pt x="6" y="9"/>
                    </a:lnTo>
                    <a:lnTo>
                      <a:pt x="6" y="13"/>
                    </a:lnTo>
                    <a:lnTo>
                      <a:pt x="2" y="13"/>
                    </a:lnTo>
                    <a:lnTo>
                      <a:pt x="6" y="18"/>
                    </a:lnTo>
                    <a:lnTo>
                      <a:pt x="8" y="15"/>
                    </a:lnTo>
                    <a:lnTo>
                      <a:pt x="8" y="13"/>
                    </a:lnTo>
                    <a:lnTo>
                      <a:pt x="8" y="15"/>
                    </a:lnTo>
                    <a:lnTo>
                      <a:pt x="12" y="13"/>
                    </a:lnTo>
                    <a:lnTo>
                      <a:pt x="12" y="15"/>
                    </a:lnTo>
                    <a:lnTo>
                      <a:pt x="14" y="15"/>
                    </a:lnTo>
                    <a:lnTo>
                      <a:pt x="14" y="13"/>
                    </a:lnTo>
                    <a:lnTo>
                      <a:pt x="12" y="13"/>
                    </a:lnTo>
                    <a:lnTo>
                      <a:pt x="12" y="6"/>
                    </a:lnTo>
                    <a:lnTo>
                      <a:pt x="8" y="9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45" name="Philippines"/>
              <p:cNvSpPr>
                <a:spLocks/>
              </p:cNvSpPr>
              <p:nvPr>
                <p:custDataLst>
                  <p:tags r:id="rId244"/>
                </p:custDataLst>
              </p:nvPr>
            </p:nvSpPr>
            <p:spPr bwMode="auto">
              <a:xfrm>
                <a:off x="7429115" y="4237694"/>
                <a:ext cx="127592" cy="128190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0" y="18"/>
                  </a:cxn>
                  <a:cxn ang="0">
                    <a:pos x="4" y="11"/>
                  </a:cxn>
                  <a:cxn ang="0">
                    <a:pos x="4" y="14"/>
                  </a:cxn>
                  <a:cxn ang="0">
                    <a:pos x="10" y="11"/>
                  </a:cxn>
                  <a:cxn ang="0">
                    <a:pos x="12" y="14"/>
                  </a:cxn>
                  <a:cxn ang="0">
                    <a:pos x="10" y="20"/>
                  </a:cxn>
                  <a:cxn ang="0">
                    <a:pos x="19" y="23"/>
                  </a:cxn>
                  <a:cxn ang="0">
                    <a:pos x="19" y="20"/>
                  </a:cxn>
                  <a:cxn ang="0">
                    <a:pos x="19" y="18"/>
                  </a:cxn>
                  <a:cxn ang="0">
                    <a:pos x="19" y="14"/>
                  </a:cxn>
                  <a:cxn ang="0">
                    <a:pos x="21" y="20"/>
                  </a:cxn>
                  <a:cxn ang="0">
                    <a:pos x="23" y="14"/>
                  </a:cxn>
                  <a:cxn ang="0">
                    <a:pos x="21" y="5"/>
                  </a:cxn>
                  <a:cxn ang="0">
                    <a:pos x="14" y="0"/>
                  </a:cxn>
                  <a:cxn ang="0">
                    <a:pos x="19" y="5"/>
                  </a:cxn>
                  <a:cxn ang="0">
                    <a:pos x="14" y="5"/>
                  </a:cxn>
                  <a:cxn ang="0">
                    <a:pos x="12" y="5"/>
                  </a:cxn>
                  <a:cxn ang="0">
                    <a:pos x="12" y="9"/>
                  </a:cxn>
                  <a:cxn ang="0">
                    <a:pos x="10" y="11"/>
                  </a:cxn>
                  <a:cxn ang="0">
                    <a:pos x="10" y="9"/>
                  </a:cxn>
                  <a:cxn ang="0">
                    <a:pos x="6" y="9"/>
                  </a:cxn>
                  <a:cxn ang="0">
                    <a:pos x="0" y="11"/>
                  </a:cxn>
                  <a:cxn ang="0">
                    <a:pos x="0" y="14"/>
                  </a:cxn>
                </a:cxnLst>
                <a:rect l="0" t="0" r="r" b="b"/>
                <a:pathLst>
                  <a:path w="23" h="23">
                    <a:moveTo>
                      <a:pt x="0" y="14"/>
                    </a:moveTo>
                    <a:lnTo>
                      <a:pt x="0" y="18"/>
                    </a:lnTo>
                    <a:lnTo>
                      <a:pt x="4" y="11"/>
                    </a:lnTo>
                    <a:lnTo>
                      <a:pt x="4" y="14"/>
                    </a:lnTo>
                    <a:lnTo>
                      <a:pt x="10" y="11"/>
                    </a:lnTo>
                    <a:lnTo>
                      <a:pt x="12" y="14"/>
                    </a:lnTo>
                    <a:lnTo>
                      <a:pt x="10" y="20"/>
                    </a:lnTo>
                    <a:lnTo>
                      <a:pt x="19" y="23"/>
                    </a:lnTo>
                    <a:lnTo>
                      <a:pt x="19" y="20"/>
                    </a:lnTo>
                    <a:lnTo>
                      <a:pt x="19" y="18"/>
                    </a:lnTo>
                    <a:lnTo>
                      <a:pt x="19" y="14"/>
                    </a:lnTo>
                    <a:lnTo>
                      <a:pt x="21" y="20"/>
                    </a:lnTo>
                    <a:lnTo>
                      <a:pt x="23" y="14"/>
                    </a:lnTo>
                    <a:lnTo>
                      <a:pt x="21" y="5"/>
                    </a:lnTo>
                    <a:lnTo>
                      <a:pt x="14" y="0"/>
                    </a:lnTo>
                    <a:lnTo>
                      <a:pt x="19" y="5"/>
                    </a:lnTo>
                    <a:lnTo>
                      <a:pt x="14" y="5"/>
                    </a:lnTo>
                    <a:lnTo>
                      <a:pt x="12" y="5"/>
                    </a:lnTo>
                    <a:lnTo>
                      <a:pt x="12" y="9"/>
                    </a:lnTo>
                    <a:lnTo>
                      <a:pt x="10" y="11"/>
                    </a:lnTo>
                    <a:lnTo>
                      <a:pt x="10" y="9"/>
                    </a:lnTo>
                    <a:lnTo>
                      <a:pt x="6" y="9"/>
                    </a:lnTo>
                    <a:lnTo>
                      <a:pt x="0" y="11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64" name="Peru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2114609" y="4549806"/>
              <a:ext cx="338397" cy="590784"/>
            </a:xfrm>
            <a:custGeom>
              <a:avLst/>
              <a:gdLst/>
              <a:ahLst/>
              <a:cxnLst>
                <a:cxn ang="0">
                  <a:pos x="2" y="21"/>
                </a:cxn>
                <a:cxn ang="0">
                  <a:pos x="0" y="25"/>
                </a:cxn>
                <a:cxn ang="0">
                  <a:pos x="2" y="34"/>
                </a:cxn>
                <a:cxn ang="0">
                  <a:pos x="0" y="34"/>
                </a:cxn>
                <a:cxn ang="0">
                  <a:pos x="4" y="41"/>
                </a:cxn>
                <a:cxn ang="0">
                  <a:pos x="10" y="50"/>
                </a:cxn>
                <a:cxn ang="0">
                  <a:pos x="27" y="86"/>
                </a:cxn>
                <a:cxn ang="0">
                  <a:pos x="52" y="106"/>
                </a:cxn>
                <a:cxn ang="0">
                  <a:pos x="58" y="102"/>
                </a:cxn>
                <a:cxn ang="0">
                  <a:pos x="61" y="95"/>
                </a:cxn>
                <a:cxn ang="0">
                  <a:pos x="58" y="93"/>
                </a:cxn>
                <a:cxn ang="0">
                  <a:pos x="58" y="72"/>
                </a:cxn>
                <a:cxn ang="0">
                  <a:pos x="56" y="63"/>
                </a:cxn>
                <a:cxn ang="0">
                  <a:pos x="50" y="63"/>
                </a:cxn>
                <a:cxn ang="0">
                  <a:pos x="50" y="57"/>
                </a:cxn>
                <a:cxn ang="0">
                  <a:pos x="44" y="59"/>
                </a:cxn>
                <a:cxn ang="0">
                  <a:pos x="40" y="52"/>
                </a:cxn>
                <a:cxn ang="0">
                  <a:pos x="36" y="43"/>
                </a:cxn>
                <a:cxn ang="0">
                  <a:pos x="40" y="34"/>
                </a:cxn>
                <a:cxn ang="0">
                  <a:pos x="42" y="30"/>
                </a:cxn>
                <a:cxn ang="0">
                  <a:pos x="52" y="25"/>
                </a:cxn>
                <a:cxn ang="0">
                  <a:pos x="50" y="23"/>
                </a:cxn>
                <a:cxn ang="0">
                  <a:pos x="50" y="16"/>
                </a:cxn>
                <a:cxn ang="0">
                  <a:pos x="48" y="14"/>
                </a:cxn>
                <a:cxn ang="0">
                  <a:pos x="36" y="16"/>
                </a:cxn>
                <a:cxn ang="0">
                  <a:pos x="33" y="7"/>
                </a:cxn>
                <a:cxn ang="0">
                  <a:pos x="27" y="0"/>
                </a:cxn>
                <a:cxn ang="0">
                  <a:pos x="25" y="0"/>
                </a:cxn>
                <a:cxn ang="0">
                  <a:pos x="27" y="7"/>
                </a:cxn>
                <a:cxn ang="0">
                  <a:pos x="25" y="9"/>
                </a:cxn>
                <a:cxn ang="0">
                  <a:pos x="21" y="16"/>
                </a:cxn>
                <a:cxn ang="0">
                  <a:pos x="13" y="21"/>
                </a:cxn>
                <a:cxn ang="0">
                  <a:pos x="8" y="30"/>
                </a:cxn>
                <a:cxn ang="0">
                  <a:pos x="2" y="25"/>
                </a:cxn>
                <a:cxn ang="0">
                  <a:pos x="2" y="23"/>
                </a:cxn>
                <a:cxn ang="0">
                  <a:pos x="2" y="21"/>
                </a:cxn>
              </a:cxnLst>
              <a:rect l="0" t="0" r="r" b="b"/>
              <a:pathLst>
                <a:path w="61" h="106">
                  <a:moveTo>
                    <a:pt x="2" y="21"/>
                  </a:moveTo>
                  <a:lnTo>
                    <a:pt x="0" y="25"/>
                  </a:lnTo>
                  <a:lnTo>
                    <a:pt x="2" y="34"/>
                  </a:lnTo>
                  <a:lnTo>
                    <a:pt x="0" y="34"/>
                  </a:lnTo>
                  <a:lnTo>
                    <a:pt x="4" y="41"/>
                  </a:lnTo>
                  <a:lnTo>
                    <a:pt x="10" y="50"/>
                  </a:lnTo>
                  <a:lnTo>
                    <a:pt x="27" y="86"/>
                  </a:lnTo>
                  <a:lnTo>
                    <a:pt x="52" y="106"/>
                  </a:lnTo>
                  <a:lnTo>
                    <a:pt x="58" y="102"/>
                  </a:lnTo>
                  <a:lnTo>
                    <a:pt x="61" y="95"/>
                  </a:lnTo>
                  <a:lnTo>
                    <a:pt x="58" y="93"/>
                  </a:lnTo>
                  <a:lnTo>
                    <a:pt x="58" y="72"/>
                  </a:lnTo>
                  <a:lnTo>
                    <a:pt x="56" y="63"/>
                  </a:lnTo>
                  <a:lnTo>
                    <a:pt x="50" y="63"/>
                  </a:lnTo>
                  <a:lnTo>
                    <a:pt x="50" y="57"/>
                  </a:lnTo>
                  <a:lnTo>
                    <a:pt x="44" y="59"/>
                  </a:lnTo>
                  <a:lnTo>
                    <a:pt x="40" y="52"/>
                  </a:lnTo>
                  <a:lnTo>
                    <a:pt x="36" y="43"/>
                  </a:lnTo>
                  <a:lnTo>
                    <a:pt x="40" y="34"/>
                  </a:lnTo>
                  <a:lnTo>
                    <a:pt x="42" y="30"/>
                  </a:lnTo>
                  <a:lnTo>
                    <a:pt x="52" y="25"/>
                  </a:lnTo>
                  <a:lnTo>
                    <a:pt x="50" y="23"/>
                  </a:lnTo>
                  <a:lnTo>
                    <a:pt x="50" y="16"/>
                  </a:lnTo>
                  <a:lnTo>
                    <a:pt x="48" y="14"/>
                  </a:lnTo>
                  <a:lnTo>
                    <a:pt x="36" y="16"/>
                  </a:lnTo>
                  <a:lnTo>
                    <a:pt x="33" y="7"/>
                  </a:lnTo>
                  <a:lnTo>
                    <a:pt x="27" y="0"/>
                  </a:lnTo>
                  <a:lnTo>
                    <a:pt x="25" y="0"/>
                  </a:lnTo>
                  <a:lnTo>
                    <a:pt x="27" y="7"/>
                  </a:lnTo>
                  <a:lnTo>
                    <a:pt x="25" y="9"/>
                  </a:lnTo>
                  <a:lnTo>
                    <a:pt x="21" y="16"/>
                  </a:lnTo>
                  <a:lnTo>
                    <a:pt x="13" y="21"/>
                  </a:lnTo>
                  <a:lnTo>
                    <a:pt x="8" y="30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2" y="2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65" name="Paraguay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2624980" y="5168457"/>
              <a:ext cx="221900" cy="273098"/>
            </a:xfrm>
            <a:custGeom>
              <a:avLst/>
              <a:gdLst/>
              <a:ahLst/>
              <a:cxnLst>
                <a:cxn ang="0">
                  <a:pos x="40" y="38"/>
                </a:cxn>
                <a:cxn ang="0">
                  <a:pos x="40" y="27"/>
                </a:cxn>
                <a:cxn ang="0">
                  <a:pos x="35" y="27"/>
                </a:cxn>
                <a:cxn ang="0">
                  <a:pos x="35" y="18"/>
                </a:cxn>
                <a:cxn ang="0">
                  <a:pos x="31" y="18"/>
                </a:cxn>
                <a:cxn ang="0">
                  <a:pos x="23" y="16"/>
                </a:cxn>
                <a:cxn ang="0">
                  <a:pos x="21" y="7"/>
                </a:cxn>
                <a:cxn ang="0">
                  <a:pos x="19" y="0"/>
                </a:cxn>
                <a:cxn ang="0">
                  <a:pos x="4" y="4"/>
                </a:cxn>
                <a:cxn ang="0">
                  <a:pos x="0" y="18"/>
                </a:cxn>
                <a:cxn ang="0">
                  <a:pos x="12" y="27"/>
                </a:cxn>
                <a:cxn ang="0">
                  <a:pos x="19" y="31"/>
                </a:cxn>
                <a:cxn ang="0">
                  <a:pos x="27" y="34"/>
                </a:cxn>
                <a:cxn ang="0">
                  <a:pos x="27" y="40"/>
                </a:cxn>
                <a:cxn ang="0">
                  <a:pos x="23" y="47"/>
                </a:cxn>
                <a:cxn ang="0">
                  <a:pos x="35" y="49"/>
                </a:cxn>
                <a:cxn ang="0">
                  <a:pos x="37" y="49"/>
                </a:cxn>
                <a:cxn ang="0">
                  <a:pos x="40" y="43"/>
                </a:cxn>
                <a:cxn ang="0">
                  <a:pos x="40" y="40"/>
                </a:cxn>
                <a:cxn ang="0">
                  <a:pos x="40" y="38"/>
                </a:cxn>
              </a:cxnLst>
              <a:rect l="0" t="0" r="r" b="b"/>
              <a:pathLst>
                <a:path w="40" h="49">
                  <a:moveTo>
                    <a:pt x="40" y="38"/>
                  </a:moveTo>
                  <a:lnTo>
                    <a:pt x="40" y="27"/>
                  </a:lnTo>
                  <a:lnTo>
                    <a:pt x="35" y="27"/>
                  </a:lnTo>
                  <a:lnTo>
                    <a:pt x="35" y="18"/>
                  </a:lnTo>
                  <a:lnTo>
                    <a:pt x="31" y="18"/>
                  </a:lnTo>
                  <a:lnTo>
                    <a:pt x="23" y="16"/>
                  </a:lnTo>
                  <a:lnTo>
                    <a:pt x="21" y="7"/>
                  </a:lnTo>
                  <a:lnTo>
                    <a:pt x="19" y="0"/>
                  </a:lnTo>
                  <a:lnTo>
                    <a:pt x="4" y="4"/>
                  </a:lnTo>
                  <a:lnTo>
                    <a:pt x="0" y="18"/>
                  </a:lnTo>
                  <a:lnTo>
                    <a:pt x="12" y="27"/>
                  </a:lnTo>
                  <a:lnTo>
                    <a:pt x="19" y="31"/>
                  </a:lnTo>
                  <a:lnTo>
                    <a:pt x="27" y="34"/>
                  </a:lnTo>
                  <a:lnTo>
                    <a:pt x="27" y="40"/>
                  </a:lnTo>
                  <a:lnTo>
                    <a:pt x="23" y="47"/>
                  </a:lnTo>
                  <a:lnTo>
                    <a:pt x="35" y="49"/>
                  </a:lnTo>
                  <a:lnTo>
                    <a:pt x="37" y="49"/>
                  </a:lnTo>
                  <a:lnTo>
                    <a:pt x="40" y="43"/>
                  </a:lnTo>
                  <a:lnTo>
                    <a:pt x="40" y="40"/>
                  </a:lnTo>
                  <a:lnTo>
                    <a:pt x="40" y="3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66" name="Papua New Guinea"/>
            <p:cNvGrpSpPr/>
            <p:nvPr/>
          </p:nvGrpSpPr>
          <p:grpSpPr>
            <a:xfrm>
              <a:off x="7939484" y="4638981"/>
              <a:ext cx="393874" cy="261952"/>
              <a:chOff x="7939484" y="4638981"/>
              <a:chExt cx="393874" cy="261952"/>
            </a:xfrm>
            <a:grpFill/>
          </p:grpSpPr>
          <p:sp>
            <p:nvSpPr>
              <p:cNvPr id="336" name="Papua New Guinea"/>
              <p:cNvSpPr>
                <a:spLocks/>
              </p:cNvSpPr>
              <p:nvPr>
                <p:custDataLst>
                  <p:tags r:id="rId235"/>
                </p:custDataLst>
              </p:nvPr>
            </p:nvSpPr>
            <p:spPr bwMode="auto">
              <a:xfrm>
                <a:off x="7939484" y="4638981"/>
                <a:ext cx="227448" cy="26195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" y="5"/>
                  </a:cxn>
                  <a:cxn ang="0">
                    <a:pos x="18" y="9"/>
                  </a:cxn>
                  <a:cxn ang="0">
                    <a:pos x="23" y="16"/>
                  </a:cxn>
                  <a:cxn ang="0">
                    <a:pos x="27" y="18"/>
                  </a:cxn>
                  <a:cxn ang="0">
                    <a:pos x="31" y="18"/>
                  </a:cxn>
                  <a:cxn ang="0">
                    <a:pos x="31" y="23"/>
                  </a:cxn>
                  <a:cxn ang="0">
                    <a:pos x="27" y="25"/>
                  </a:cxn>
                  <a:cxn ang="0">
                    <a:pos x="27" y="27"/>
                  </a:cxn>
                  <a:cxn ang="0">
                    <a:pos x="31" y="32"/>
                  </a:cxn>
                  <a:cxn ang="0">
                    <a:pos x="33" y="36"/>
                  </a:cxn>
                  <a:cxn ang="0">
                    <a:pos x="37" y="36"/>
                  </a:cxn>
                  <a:cxn ang="0">
                    <a:pos x="37" y="41"/>
                  </a:cxn>
                  <a:cxn ang="0">
                    <a:pos x="39" y="41"/>
                  </a:cxn>
                  <a:cxn ang="0">
                    <a:pos x="41" y="43"/>
                  </a:cxn>
                  <a:cxn ang="0">
                    <a:pos x="41" y="47"/>
                  </a:cxn>
                  <a:cxn ang="0">
                    <a:pos x="39" y="47"/>
                  </a:cxn>
                  <a:cxn ang="0">
                    <a:pos x="37" y="43"/>
                  </a:cxn>
                  <a:cxn ang="0">
                    <a:pos x="27" y="43"/>
                  </a:cxn>
                  <a:cxn ang="0">
                    <a:pos x="23" y="32"/>
                  </a:cxn>
                  <a:cxn ang="0">
                    <a:pos x="16" y="27"/>
                  </a:cxn>
                  <a:cxn ang="0">
                    <a:pos x="14" y="27"/>
                  </a:cxn>
                  <a:cxn ang="0">
                    <a:pos x="8" y="34"/>
                  </a:cxn>
                  <a:cxn ang="0">
                    <a:pos x="6" y="36"/>
                  </a:cxn>
                  <a:cxn ang="0">
                    <a:pos x="0" y="36"/>
                  </a:cxn>
                  <a:cxn ang="0">
                    <a:pos x="0" y="18"/>
                  </a:cxn>
                  <a:cxn ang="0">
                    <a:pos x="0" y="0"/>
                  </a:cxn>
                </a:cxnLst>
                <a:rect l="0" t="0" r="r" b="b"/>
                <a:pathLst>
                  <a:path w="41" h="47">
                    <a:moveTo>
                      <a:pt x="0" y="0"/>
                    </a:moveTo>
                    <a:lnTo>
                      <a:pt x="10" y="5"/>
                    </a:lnTo>
                    <a:lnTo>
                      <a:pt x="18" y="9"/>
                    </a:lnTo>
                    <a:lnTo>
                      <a:pt x="23" y="16"/>
                    </a:lnTo>
                    <a:lnTo>
                      <a:pt x="27" y="18"/>
                    </a:lnTo>
                    <a:lnTo>
                      <a:pt x="31" y="18"/>
                    </a:lnTo>
                    <a:lnTo>
                      <a:pt x="31" y="23"/>
                    </a:lnTo>
                    <a:lnTo>
                      <a:pt x="27" y="25"/>
                    </a:lnTo>
                    <a:lnTo>
                      <a:pt x="27" y="27"/>
                    </a:lnTo>
                    <a:lnTo>
                      <a:pt x="31" y="32"/>
                    </a:lnTo>
                    <a:lnTo>
                      <a:pt x="33" y="36"/>
                    </a:lnTo>
                    <a:lnTo>
                      <a:pt x="37" y="36"/>
                    </a:lnTo>
                    <a:lnTo>
                      <a:pt x="37" y="41"/>
                    </a:lnTo>
                    <a:lnTo>
                      <a:pt x="39" y="41"/>
                    </a:lnTo>
                    <a:lnTo>
                      <a:pt x="41" y="43"/>
                    </a:lnTo>
                    <a:lnTo>
                      <a:pt x="41" y="47"/>
                    </a:lnTo>
                    <a:lnTo>
                      <a:pt x="39" y="47"/>
                    </a:lnTo>
                    <a:lnTo>
                      <a:pt x="37" y="43"/>
                    </a:lnTo>
                    <a:lnTo>
                      <a:pt x="27" y="43"/>
                    </a:lnTo>
                    <a:lnTo>
                      <a:pt x="23" y="32"/>
                    </a:lnTo>
                    <a:lnTo>
                      <a:pt x="16" y="27"/>
                    </a:lnTo>
                    <a:lnTo>
                      <a:pt x="14" y="27"/>
                    </a:lnTo>
                    <a:lnTo>
                      <a:pt x="8" y="34"/>
                    </a:lnTo>
                    <a:lnTo>
                      <a:pt x="6" y="36"/>
                    </a:lnTo>
                    <a:lnTo>
                      <a:pt x="0" y="36"/>
                    </a:lnTo>
                    <a:lnTo>
                      <a:pt x="0" y="1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37" name="Papua New Guinea"/>
              <p:cNvSpPr>
                <a:spLocks/>
              </p:cNvSpPr>
              <p:nvPr>
                <p:custDataLst>
                  <p:tags r:id="rId236"/>
                </p:custDataLst>
              </p:nvPr>
            </p:nvSpPr>
            <p:spPr bwMode="auto">
              <a:xfrm>
                <a:off x="8122552" y="4689141"/>
                <a:ext cx="116498" cy="78028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4" y="14"/>
                  </a:cxn>
                  <a:cxn ang="0">
                    <a:pos x="13" y="14"/>
                  </a:cxn>
                  <a:cxn ang="0">
                    <a:pos x="17" y="7"/>
                  </a:cxn>
                  <a:cxn ang="0">
                    <a:pos x="21" y="5"/>
                  </a:cxn>
                  <a:cxn ang="0">
                    <a:pos x="21" y="0"/>
                  </a:cxn>
                  <a:cxn ang="0">
                    <a:pos x="17" y="0"/>
                  </a:cxn>
                  <a:cxn ang="0">
                    <a:pos x="17" y="5"/>
                  </a:cxn>
                  <a:cxn ang="0">
                    <a:pos x="15" y="5"/>
                  </a:cxn>
                  <a:cxn ang="0">
                    <a:pos x="13" y="7"/>
                  </a:cxn>
                  <a:cxn ang="0">
                    <a:pos x="6" y="7"/>
                  </a:cxn>
                  <a:cxn ang="0">
                    <a:pos x="0" y="7"/>
                  </a:cxn>
                </a:cxnLst>
                <a:rect l="0" t="0" r="r" b="b"/>
                <a:pathLst>
                  <a:path w="21" h="14">
                    <a:moveTo>
                      <a:pt x="0" y="7"/>
                    </a:moveTo>
                    <a:lnTo>
                      <a:pt x="4" y="14"/>
                    </a:lnTo>
                    <a:lnTo>
                      <a:pt x="13" y="14"/>
                    </a:lnTo>
                    <a:lnTo>
                      <a:pt x="17" y="7"/>
                    </a:lnTo>
                    <a:lnTo>
                      <a:pt x="21" y="5"/>
                    </a:lnTo>
                    <a:lnTo>
                      <a:pt x="21" y="0"/>
                    </a:lnTo>
                    <a:lnTo>
                      <a:pt x="17" y="0"/>
                    </a:lnTo>
                    <a:lnTo>
                      <a:pt x="17" y="5"/>
                    </a:lnTo>
                    <a:lnTo>
                      <a:pt x="15" y="5"/>
                    </a:lnTo>
                    <a:lnTo>
                      <a:pt x="13" y="7"/>
                    </a:lnTo>
                    <a:lnTo>
                      <a:pt x="6" y="7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38" name="Papua New Guinea"/>
              <p:cNvSpPr>
                <a:spLocks/>
              </p:cNvSpPr>
              <p:nvPr>
                <p:custDataLst>
                  <p:tags r:id="rId237"/>
                </p:custDataLst>
              </p:nvPr>
            </p:nvSpPr>
            <p:spPr bwMode="auto">
              <a:xfrm>
                <a:off x="8205764" y="4638981"/>
                <a:ext cx="44380" cy="7802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" y="7"/>
                  </a:cxn>
                  <a:cxn ang="0">
                    <a:pos x="8" y="14"/>
                  </a:cxn>
                  <a:cxn ang="0">
                    <a:pos x="8" y="7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14">
                    <a:moveTo>
                      <a:pt x="0" y="0"/>
                    </a:moveTo>
                    <a:lnTo>
                      <a:pt x="6" y="7"/>
                    </a:lnTo>
                    <a:lnTo>
                      <a:pt x="8" y="14"/>
                    </a:lnTo>
                    <a:lnTo>
                      <a:pt x="8" y="7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39" name="Papua New Guinea"/>
              <p:cNvSpPr>
                <a:spLocks/>
              </p:cNvSpPr>
              <p:nvPr>
                <p:custDataLst>
                  <p:tags r:id="rId238"/>
                </p:custDataLst>
              </p:nvPr>
            </p:nvSpPr>
            <p:spPr bwMode="auto">
              <a:xfrm>
                <a:off x="8294525" y="4728156"/>
                <a:ext cx="38833" cy="5016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9"/>
                  </a:cxn>
                  <a:cxn ang="0">
                    <a:pos x="7" y="7"/>
                  </a:cxn>
                  <a:cxn ang="0">
                    <a:pos x="2" y="4"/>
                  </a:cxn>
                  <a:cxn ang="0">
                    <a:pos x="0" y="0"/>
                  </a:cxn>
                </a:cxnLst>
                <a:rect l="0" t="0" r="r" b="b"/>
                <a:pathLst>
                  <a:path w="7" h="9">
                    <a:moveTo>
                      <a:pt x="0" y="0"/>
                    </a:moveTo>
                    <a:lnTo>
                      <a:pt x="2" y="9"/>
                    </a:lnTo>
                    <a:lnTo>
                      <a:pt x="7" y="7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grpSp>
          <p:nvGrpSpPr>
            <p:cNvPr id="67" name="Panama"/>
            <p:cNvGrpSpPr/>
            <p:nvPr/>
          </p:nvGrpSpPr>
          <p:grpSpPr>
            <a:xfrm>
              <a:off x="2070229" y="4248840"/>
              <a:ext cx="149783" cy="66881"/>
              <a:chOff x="2070229" y="4248840"/>
              <a:chExt cx="149783" cy="66881"/>
            </a:xfrm>
            <a:grpFill/>
          </p:grpSpPr>
          <p:sp>
            <p:nvSpPr>
              <p:cNvPr id="331" name="Panama"/>
              <p:cNvSpPr>
                <a:spLocks/>
              </p:cNvSpPr>
              <p:nvPr>
                <p:custDataLst>
                  <p:tags r:id="rId231"/>
                </p:custDataLst>
              </p:nvPr>
            </p:nvSpPr>
            <p:spPr bwMode="auto">
              <a:xfrm>
                <a:off x="2136799" y="4265560"/>
                <a:ext cx="22190" cy="1114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32" name="Panama"/>
              <p:cNvSpPr>
                <a:spLocks/>
              </p:cNvSpPr>
              <p:nvPr>
                <p:custDataLst>
                  <p:tags r:id="rId232"/>
                </p:custDataLst>
              </p:nvPr>
            </p:nvSpPr>
            <p:spPr bwMode="auto">
              <a:xfrm>
                <a:off x="2136799" y="4248840"/>
                <a:ext cx="22190" cy="167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0"/>
                  </a:cxn>
                  <a:cxn ang="0">
                    <a:pos x="4" y="3"/>
                  </a:cxn>
                  <a:cxn ang="0">
                    <a:pos x="2" y="3"/>
                  </a:cxn>
                  <a:cxn ang="0">
                    <a:pos x="0" y="0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lnTo>
                      <a:pt x="4" y="0"/>
                    </a:lnTo>
                    <a:lnTo>
                      <a:pt x="4" y="3"/>
                    </a:lnTo>
                    <a:lnTo>
                      <a:pt x="2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grpSp>
            <p:nvGrpSpPr>
              <p:cNvPr id="333" name="Panama"/>
              <p:cNvGrpSpPr/>
              <p:nvPr/>
            </p:nvGrpSpPr>
            <p:grpSpPr>
              <a:xfrm>
                <a:off x="2070229" y="4248840"/>
                <a:ext cx="149783" cy="66881"/>
                <a:chOff x="2070229" y="4248840"/>
                <a:chExt cx="149783" cy="66881"/>
              </a:xfrm>
              <a:grpFill/>
            </p:grpSpPr>
            <p:sp>
              <p:nvSpPr>
                <p:cNvPr id="334" name="Panama"/>
                <p:cNvSpPr>
                  <a:spLocks/>
                </p:cNvSpPr>
                <p:nvPr>
                  <p:custDataLst>
                    <p:tags r:id="rId233"/>
                  </p:custDataLst>
                </p:nvPr>
              </p:nvSpPr>
              <p:spPr bwMode="auto">
                <a:xfrm>
                  <a:off x="2158989" y="4248840"/>
                  <a:ext cx="61023" cy="66881"/>
                </a:xfrm>
                <a:custGeom>
                  <a:avLst/>
                  <a:gdLst/>
                  <a:ahLst/>
                  <a:cxnLst>
                    <a:cxn ang="0">
                      <a:pos x="11" y="7"/>
                    </a:cxn>
                    <a:cxn ang="0">
                      <a:pos x="5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7"/>
                    </a:cxn>
                    <a:cxn ang="0">
                      <a:pos x="5" y="9"/>
                    </a:cxn>
                    <a:cxn ang="0">
                      <a:pos x="9" y="12"/>
                    </a:cxn>
                    <a:cxn ang="0">
                      <a:pos x="11" y="9"/>
                    </a:cxn>
                    <a:cxn ang="0">
                      <a:pos x="11" y="7"/>
                    </a:cxn>
                  </a:cxnLst>
                  <a:rect l="0" t="0" r="r" b="b"/>
                  <a:pathLst>
                    <a:path w="11" h="12">
                      <a:moveTo>
                        <a:pt x="11" y="7"/>
                      </a:move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7"/>
                      </a:lnTo>
                      <a:lnTo>
                        <a:pt x="5" y="9"/>
                      </a:lnTo>
                      <a:lnTo>
                        <a:pt x="9" y="12"/>
                      </a:lnTo>
                      <a:lnTo>
                        <a:pt x="11" y="9"/>
                      </a:lnTo>
                      <a:lnTo>
                        <a:pt x="11" y="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de-DE" sz="2844" kern="0">
                    <a:solidFill>
                      <a:srgbClr val="002663"/>
                    </a:solidFill>
                  </a:endParaRPr>
                </a:p>
              </p:txBody>
            </p:sp>
            <p:sp>
              <p:nvSpPr>
                <p:cNvPr id="335" name="Panama"/>
                <p:cNvSpPr>
                  <a:spLocks/>
                </p:cNvSpPr>
                <p:nvPr>
                  <p:custDataLst>
                    <p:tags r:id="rId234"/>
                  </p:custDataLst>
                </p:nvPr>
              </p:nvSpPr>
              <p:spPr bwMode="auto">
                <a:xfrm>
                  <a:off x="2070229" y="4248840"/>
                  <a:ext cx="88760" cy="6688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4" y="3"/>
                    </a:cxn>
                    <a:cxn ang="0">
                      <a:pos x="8" y="3"/>
                    </a:cxn>
                    <a:cxn ang="0">
                      <a:pos x="12" y="0"/>
                    </a:cxn>
                    <a:cxn ang="0">
                      <a:pos x="16" y="3"/>
                    </a:cxn>
                    <a:cxn ang="0">
                      <a:pos x="10" y="7"/>
                    </a:cxn>
                    <a:cxn ang="0">
                      <a:pos x="12" y="12"/>
                    </a:cxn>
                    <a:cxn ang="0">
                      <a:pos x="10" y="12"/>
                    </a:cxn>
                    <a:cxn ang="0">
                      <a:pos x="8" y="9"/>
                    </a:cxn>
                    <a:cxn ang="0">
                      <a:pos x="0" y="7"/>
                    </a:cxn>
                    <a:cxn ang="0">
                      <a:pos x="0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6" h="12">
                      <a:moveTo>
                        <a:pt x="2" y="0"/>
                      </a:moveTo>
                      <a:lnTo>
                        <a:pt x="4" y="3"/>
                      </a:lnTo>
                      <a:lnTo>
                        <a:pt x="8" y="3"/>
                      </a:lnTo>
                      <a:lnTo>
                        <a:pt x="12" y="0"/>
                      </a:lnTo>
                      <a:lnTo>
                        <a:pt x="16" y="3"/>
                      </a:lnTo>
                      <a:lnTo>
                        <a:pt x="10" y="7"/>
                      </a:lnTo>
                      <a:lnTo>
                        <a:pt x="12" y="12"/>
                      </a:lnTo>
                      <a:lnTo>
                        <a:pt x="10" y="12"/>
                      </a:lnTo>
                      <a:lnTo>
                        <a:pt x="8" y="9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de-DE" sz="2844" kern="0">
                    <a:solidFill>
                      <a:srgbClr val="002663"/>
                    </a:solidFill>
                  </a:endParaRPr>
                </a:p>
              </p:txBody>
            </p:sp>
          </p:grpSp>
        </p:grpSp>
        <p:sp>
          <p:nvSpPr>
            <p:cNvPr id="68" name="Palestine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5125874" y="3501008"/>
              <a:ext cx="22190" cy="39014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4" y="7"/>
                </a:cxn>
                <a:cxn ang="0">
                  <a:pos x="4" y="5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0" y="5"/>
                </a:cxn>
              </a:cxnLst>
              <a:rect l="0" t="0" r="r" b="b"/>
              <a:pathLst>
                <a:path w="4" h="7">
                  <a:moveTo>
                    <a:pt x="0" y="5"/>
                  </a:moveTo>
                  <a:lnTo>
                    <a:pt x="4" y="7"/>
                  </a:lnTo>
                  <a:lnTo>
                    <a:pt x="4" y="5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69" name="Pakistan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5787054" y="3357090"/>
              <a:ext cx="393872" cy="429155"/>
            </a:xfrm>
            <a:custGeom>
              <a:avLst/>
              <a:gdLst/>
              <a:ahLst/>
              <a:cxnLst>
                <a:cxn ang="0">
                  <a:pos x="39" y="75"/>
                </a:cxn>
                <a:cxn ang="0">
                  <a:pos x="48" y="75"/>
                </a:cxn>
                <a:cxn ang="0">
                  <a:pos x="48" y="73"/>
                </a:cxn>
                <a:cxn ang="0">
                  <a:pos x="48" y="66"/>
                </a:cxn>
                <a:cxn ang="0">
                  <a:pos x="45" y="66"/>
                </a:cxn>
                <a:cxn ang="0">
                  <a:pos x="45" y="64"/>
                </a:cxn>
                <a:cxn ang="0">
                  <a:pos x="41" y="59"/>
                </a:cxn>
                <a:cxn ang="0">
                  <a:pos x="41" y="57"/>
                </a:cxn>
                <a:cxn ang="0">
                  <a:pos x="45" y="55"/>
                </a:cxn>
                <a:cxn ang="0">
                  <a:pos x="48" y="55"/>
                </a:cxn>
                <a:cxn ang="0">
                  <a:pos x="50" y="55"/>
                </a:cxn>
                <a:cxn ang="0">
                  <a:pos x="62" y="34"/>
                </a:cxn>
                <a:cxn ang="0">
                  <a:pos x="60" y="30"/>
                </a:cxn>
                <a:cxn ang="0">
                  <a:pos x="62" y="30"/>
                </a:cxn>
                <a:cxn ang="0">
                  <a:pos x="56" y="23"/>
                </a:cxn>
                <a:cxn ang="0">
                  <a:pos x="56" y="16"/>
                </a:cxn>
                <a:cxn ang="0">
                  <a:pos x="54" y="14"/>
                </a:cxn>
                <a:cxn ang="0">
                  <a:pos x="62" y="14"/>
                </a:cxn>
                <a:cxn ang="0">
                  <a:pos x="68" y="14"/>
                </a:cxn>
                <a:cxn ang="0">
                  <a:pos x="71" y="12"/>
                </a:cxn>
                <a:cxn ang="0">
                  <a:pos x="62" y="7"/>
                </a:cxn>
                <a:cxn ang="0">
                  <a:pos x="60" y="0"/>
                </a:cxn>
                <a:cxn ang="0">
                  <a:pos x="54" y="0"/>
                </a:cxn>
                <a:cxn ang="0">
                  <a:pos x="50" y="0"/>
                </a:cxn>
                <a:cxn ang="0">
                  <a:pos x="48" y="0"/>
                </a:cxn>
                <a:cxn ang="0">
                  <a:pos x="41" y="5"/>
                </a:cxn>
                <a:cxn ang="0">
                  <a:pos x="41" y="14"/>
                </a:cxn>
                <a:cxn ang="0">
                  <a:pos x="41" y="16"/>
                </a:cxn>
                <a:cxn ang="0">
                  <a:pos x="37" y="16"/>
                </a:cxn>
                <a:cxn ang="0">
                  <a:pos x="39" y="21"/>
                </a:cxn>
                <a:cxn ang="0">
                  <a:pos x="37" y="23"/>
                </a:cxn>
                <a:cxn ang="0">
                  <a:pos x="37" y="32"/>
                </a:cxn>
                <a:cxn ang="0">
                  <a:pos x="25" y="34"/>
                </a:cxn>
                <a:cxn ang="0">
                  <a:pos x="25" y="41"/>
                </a:cxn>
                <a:cxn ang="0">
                  <a:pos x="6" y="43"/>
                </a:cxn>
                <a:cxn ang="0">
                  <a:pos x="0" y="41"/>
                </a:cxn>
                <a:cxn ang="0">
                  <a:pos x="6" y="50"/>
                </a:cxn>
                <a:cxn ang="0">
                  <a:pos x="8" y="50"/>
                </a:cxn>
                <a:cxn ang="0">
                  <a:pos x="10" y="57"/>
                </a:cxn>
                <a:cxn ang="0">
                  <a:pos x="10" y="59"/>
                </a:cxn>
                <a:cxn ang="0">
                  <a:pos x="6" y="64"/>
                </a:cxn>
                <a:cxn ang="0">
                  <a:pos x="6" y="68"/>
                </a:cxn>
                <a:cxn ang="0">
                  <a:pos x="16" y="68"/>
                </a:cxn>
                <a:cxn ang="0">
                  <a:pos x="20" y="68"/>
                </a:cxn>
                <a:cxn ang="0">
                  <a:pos x="29" y="68"/>
                </a:cxn>
                <a:cxn ang="0">
                  <a:pos x="33" y="77"/>
                </a:cxn>
                <a:cxn ang="0">
                  <a:pos x="37" y="77"/>
                </a:cxn>
                <a:cxn ang="0">
                  <a:pos x="39" y="75"/>
                </a:cxn>
              </a:cxnLst>
              <a:rect l="0" t="0" r="r" b="b"/>
              <a:pathLst>
                <a:path w="71" h="77">
                  <a:moveTo>
                    <a:pt x="39" y="75"/>
                  </a:moveTo>
                  <a:lnTo>
                    <a:pt x="48" y="75"/>
                  </a:lnTo>
                  <a:lnTo>
                    <a:pt x="48" y="73"/>
                  </a:lnTo>
                  <a:lnTo>
                    <a:pt x="48" y="66"/>
                  </a:lnTo>
                  <a:lnTo>
                    <a:pt x="45" y="66"/>
                  </a:lnTo>
                  <a:lnTo>
                    <a:pt x="45" y="64"/>
                  </a:lnTo>
                  <a:lnTo>
                    <a:pt x="41" y="59"/>
                  </a:lnTo>
                  <a:lnTo>
                    <a:pt x="41" y="57"/>
                  </a:lnTo>
                  <a:lnTo>
                    <a:pt x="45" y="55"/>
                  </a:lnTo>
                  <a:lnTo>
                    <a:pt x="48" y="55"/>
                  </a:lnTo>
                  <a:lnTo>
                    <a:pt x="50" y="55"/>
                  </a:lnTo>
                  <a:lnTo>
                    <a:pt x="62" y="34"/>
                  </a:lnTo>
                  <a:lnTo>
                    <a:pt x="60" y="30"/>
                  </a:lnTo>
                  <a:lnTo>
                    <a:pt x="62" y="30"/>
                  </a:lnTo>
                  <a:lnTo>
                    <a:pt x="56" y="23"/>
                  </a:lnTo>
                  <a:lnTo>
                    <a:pt x="56" y="16"/>
                  </a:lnTo>
                  <a:lnTo>
                    <a:pt x="54" y="14"/>
                  </a:lnTo>
                  <a:lnTo>
                    <a:pt x="62" y="14"/>
                  </a:lnTo>
                  <a:lnTo>
                    <a:pt x="68" y="14"/>
                  </a:lnTo>
                  <a:lnTo>
                    <a:pt x="71" y="12"/>
                  </a:lnTo>
                  <a:lnTo>
                    <a:pt x="62" y="7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1" y="5"/>
                  </a:lnTo>
                  <a:lnTo>
                    <a:pt x="41" y="14"/>
                  </a:lnTo>
                  <a:lnTo>
                    <a:pt x="41" y="16"/>
                  </a:lnTo>
                  <a:lnTo>
                    <a:pt x="37" y="16"/>
                  </a:lnTo>
                  <a:lnTo>
                    <a:pt x="39" y="21"/>
                  </a:lnTo>
                  <a:lnTo>
                    <a:pt x="37" y="23"/>
                  </a:lnTo>
                  <a:lnTo>
                    <a:pt x="37" y="32"/>
                  </a:lnTo>
                  <a:lnTo>
                    <a:pt x="25" y="34"/>
                  </a:lnTo>
                  <a:lnTo>
                    <a:pt x="25" y="41"/>
                  </a:lnTo>
                  <a:lnTo>
                    <a:pt x="6" y="43"/>
                  </a:lnTo>
                  <a:lnTo>
                    <a:pt x="0" y="41"/>
                  </a:lnTo>
                  <a:lnTo>
                    <a:pt x="6" y="50"/>
                  </a:lnTo>
                  <a:lnTo>
                    <a:pt x="8" y="50"/>
                  </a:lnTo>
                  <a:lnTo>
                    <a:pt x="10" y="57"/>
                  </a:lnTo>
                  <a:lnTo>
                    <a:pt x="10" y="59"/>
                  </a:lnTo>
                  <a:lnTo>
                    <a:pt x="6" y="64"/>
                  </a:lnTo>
                  <a:lnTo>
                    <a:pt x="6" y="68"/>
                  </a:lnTo>
                  <a:lnTo>
                    <a:pt x="16" y="68"/>
                  </a:lnTo>
                  <a:lnTo>
                    <a:pt x="20" y="68"/>
                  </a:lnTo>
                  <a:lnTo>
                    <a:pt x="29" y="68"/>
                  </a:lnTo>
                  <a:lnTo>
                    <a:pt x="33" y="77"/>
                  </a:lnTo>
                  <a:lnTo>
                    <a:pt x="37" y="77"/>
                  </a:lnTo>
                  <a:lnTo>
                    <a:pt x="39" y="7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70" name="Oman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5598440" y="3763952"/>
              <a:ext cx="188615" cy="250804"/>
            </a:xfrm>
            <a:custGeom>
              <a:avLst/>
              <a:gdLst/>
              <a:ahLst/>
              <a:cxnLst>
                <a:cxn ang="0">
                  <a:pos x="9" y="45"/>
                </a:cxn>
                <a:cxn ang="0">
                  <a:pos x="11" y="45"/>
                </a:cxn>
                <a:cxn ang="0">
                  <a:pos x="15" y="38"/>
                </a:cxn>
                <a:cxn ang="0">
                  <a:pos x="19" y="38"/>
                </a:cxn>
                <a:cxn ang="0">
                  <a:pos x="23" y="33"/>
                </a:cxn>
                <a:cxn ang="0">
                  <a:pos x="25" y="33"/>
                </a:cxn>
                <a:cxn ang="0">
                  <a:pos x="25" y="27"/>
                </a:cxn>
                <a:cxn ang="0">
                  <a:pos x="31" y="18"/>
                </a:cxn>
                <a:cxn ang="0">
                  <a:pos x="34" y="11"/>
                </a:cxn>
                <a:cxn ang="0">
                  <a:pos x="27" y="4"/>
                </a:cxn>
                <a:cxn ang="0">
                  <a:pos x="19" y="2"/>
                </a:cxn>
                <a:cxn ang="0">
                  <a:pos x="17" y="0"/>
                </a:cxn>
                <a:cxn ang="0">
                  <a:pos x="15" y="2"/>
                </a:cxn>
                <a:cxn ang="0">
                  <a:pos x="15" y="4"/>
                </a:cxn>
                <a:cxn ang="0">
                  <a:pos x="11" y="4"/>
                </a:cxn>
                <a:cxn ang="0">
                  <a:pos x="15" y="9"/>
                </a:cxn>
                <a:cxn ang="0">
                  <a:pos x="17" y="11"/>
                </a:cxn>
                <a:cxn ang="0">
                  <a:pos x="17" y="18"/>
                </a:cxn>
                <a:cxn ang="0">
                  <a:pos x="11" y="29"/>
                </a:cxn>
                <a:cxn ang="0">
                  <a:pos x="0" y="38"/>
                </a:cxn>
                <a:cxn ang="0">
                  <a:pos x="2" y="45"/>
                </a:cxn>
                <a:cxn ang="0">
                  <a:pos x="4" y="45"/>
                </a:cxn>
                <a:cxn ang="0">
                  <a:pos x="9" y="45"/>
                </a:cxn>
              </a:cxnLst>
              <a:rect l="0" t="0" r="r" b="b"/>
              <a:pathLst>
                <a:path w="34" h="45">
                  <a:moveTo>
                    <a:pt x="9" y="45"/>
                  </a:moveTo>
                  <a:lnTo>
                    <a:pt x="11" y="45"/>
                  </a:lnTo>
                  <a:lnTo>
                    <a:pt x="15" y="38"/>
                  </a:lnTo>
                  <a:lnTo>
                    <a:pt x="19" y="38"/>
                  </a:lnTo>
                  <a:lnTo>
                    <a:pt x="23" y="33"/>
                  </a:lnTo>
                  <a:lnTo>
                    <a:pt x="25" y="33"/>
                  </a:lnTo>
                  <a:lnTo>
                    <a:pt x="25" y="27"/>
                  </a:lnTo>
                  <a:lnTo>
                    <a:pt x="31" y="18"/>
                  </a:lnTo>
                  <a:lnTo>
                    <a:pt x="34" y="11"/>
                  </a:lnTo>
                  <a:lnTo>
                    <a:pt x="27" y="4"/>
                  </a:lnTo>
                  <a:lnTo>
                    <a:pt x="19" y="2"/>
                  </a:lnTo>
                  <a:lnTo>
                    <a:pt x="17" y="0"/>
                  </a:lnTo>
                  <a:lnTo>
                    <a:pt x="15" y="2"/>
                  </a:lnTo>
                  <a:lnTo>
                    <a:pt x="15" y="4"/>
                  </a:lnTo>
                  <a:lnTo>
                    <a:pt x="11" y="4"/>
                  </a:lnTo>
                  <a:lnTo>
                    <a:pt x="15" y="9"/>
                  </a:lnTo>
                  <a:lnTo>
                    <a:pt x="17" y="11"/>
                  </a:lnTo>
                  <a:lnTo>
                    <a:pt x="17" y="18"/>
                  </a:lnTo>
                  <a:lnTo>
                    <a:pt x="11" y="29"/>
                  </a:lnTo>
                  <a:lnTo>
                    <a:pt x="0" y="38"/>
                  </a:lnTo>
                  <a:lnTo>
                    <a:pt x="2" y="45"/>
                  </a:lnTo>
                  <a:lnTo>
                    <a:pt x="4" y="45"/>
                  </a:lnTo>
                  <a:lnTo>
                    <a:pt x="9" y="4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71" name="Norway"/>
            <p:cNvGrpSpPr/>
            <p:nvPr/>
          </p:nvGrpSpPr>
          <p:grpSpPr>
            <a:xfrm>
              <a:off x="4405727" y="2103066"/>
              <a:ext cx="499275" cy="601932"/>
              <a:chOff x="4405727" y="2103066"/>
              <a:chExt cx="499275" cy="601932"/>
            </a:xfrm>
            <a:grpFill/>
          </p:grpSpPr>
          <p:sp>
            <p:nvSpPr>
              <p:cNvPr id="329" name="Norway"/>
              <p:cNvSpPr>
                <a:spLocks/>
              </p:cNvSpPr>
              <p:nvPr>
                <p:custDataLst>
                  <p:tags r:id="rId229"/>
                </p:custDataLst>
              </p:nvPr>
            </p:nvSpPr>
            <p:spPr bwMode="auto">
              <a:xfrm>
                <a:off x="4533319" y="2103066"/>
                <a:ext cx="266280" cy="89175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2" y="7"/>
                  </a:cxn>
                  <a:cxn ang="0">
                    <a:pos x="4" y="9"/>
                  </a:cxn>
                  <a:cxn ang="0">
                    <a:pos x="9" y="9"/>
                  </a:cxn>
                  <a:cxn ang="0">
                    <a:pos x="9" y="14"/>
                  </a:cxn>
                  <a:cxn ang="0">
                    <a:pos x="17" y="16"/>
                  </a:cxn>
                  <a:cxn ang="0">
                    <a:pos x="21" y="9"/>
                  </a:cxn>
                  <a:cxn ang="0">
                    <a:pos x="27" y="9"/>
                  </a:cxn>
                  <a:cxn ang="0">
                    <a:pos x="27" y="14"/>
                  </a:cxn>
                  <a:cxn ang="0">
                    <a:pos x="42" y="14"/>
                  </a:cxn>
                  <a:cxn ang="0">
                    <a:pos x="21" y="7"/>
                  </a:cxn>
                  <a:cxn ang="0">
                    <a:pos x="21" y="3"/>
                  </a:cxn>
                  <a:cxn ang="0">
                    <a:pos x="36" y="7"/>
                  </a:cxn>
                  <a:cxn ang="0">
                    <a:pos x="48" y="3"/>
                  </a:cxn>
                  <a:cxn ang="0">
                    <a:pos x="44" y="0"/>
                  </a:cxn>
                  <a:cxn ang="0">
                    <a:pos x="25" y="0"/>
                  </a:cxn>
                  <a:cxn ang="0">
                    <a:pos x="13" y="3"/>
                  </a:cxn>
                  <a:cxn ang="0">
                    <a:pos x="6" y="3"/>
                  </a:cxn>
                  <a:cxn ang="0">
                    <a:pos x="0" y="3"/>
                  </a:cxn>
                </a:cxnLst>
                <a:rect l="0" t="0" r="r" b="b"/>
                <a:pathLst>
                  <a:path w="48" h="16">
                    <a:moveTo>
                      <a:pt x="0" y="3"/>
                    </a:moveTo>
                    <a:lnTo>
                      <a:pt x="2" y="7"/>
                    </a:lnTo>
                    <a:lnTo>
                      <a:pt x="4" y="9"/>
                    </a:lnTo>
                    <a:lnTo>
                      <a:pt x="9" y="9"/>
                    </a:lnTo>
                    <a:lnTo>
                      <a:pt x="9" y="14"/>
                    </a:lnTo>
                    <a:lnTo>
                      <a:pt x="17" y="16"/>
                    </a:lnTo>
                    <a:lnTo>
                      <a:pt x="21" y="9"/>
                    </a:lnTo>
                    <a:lnTo>
                      <a:pt x="27" y="9"/>
                    </a:lnTo>
                    <a:lnTo>
                      <a:pt x="27" y="14"/>
                    </a:lnTo>
                    <a:lnTo>
                      <a:pt x="42" y="14"/>
                    </a:lnTo>
                    <a:lnTo>
                      <a:pt x="21" y="7"/>
                    </a:lnTo>
                    <a:lnTo>
                      <a:pt x="21" y="3"/>
                    </a:lnTo>
                    <a:lnTo>
                      <a:pt x="36" y="7"/>
                    </a:lnTo>
                    <a:lnTo>
                      <a:pt x="48" y="3"/>
                    </a:lnTo>
                    <a:lnTo>
                      <a:pt x="44" y="0"/>
                    </a:lnTo>
                    <a:lnTo>
                      <a:pt x="25" y="0"/>
                    </a:lnTo>
                    <a:lnTo>
                      <a:pt x="13" y="3"/>
                    </a:lnTo>
                    <a:lnTo>
                      <a:pt x="6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30" name="Norway"/>
              <p:cNvSpPr>
                <a:spLocks/>
              </p:cNvSpPr>
              <p:nvPr>
                <p:custDataLst>
                  <p:tags r:id="rId230"/>
                </p:custDataLst>
              </p:nvPr>
            </p:nvSpPr>
            <p:spPr bwMode="auto">
              <a:xfrm>
                <a:off x="4405727" y="2331578"/>
                <a:ext cx="499275" cy="373420"/>
              </a:xfrm>
              <a:custGeom>
                <a:avLst/>
                <a:gdLst/>
                <a:ahLst/>
                <a:cxnLst>
                  <a:cxn ang="0">
                    <a:pos x="52" y="11"/>
                  </a:cxn>
                  <a:cxn ang="0">
                    <a:pos x="52" y="16"/>
                  </a:cxn>
                  <a:cxn ang="0">
                    <a:pos x="48" y="11"/>
                  </a:cxn>
                  <a:cxn ang="0">
                    <a:pos x="44" y="16"/>
                  </a:cxn>
                  <a:cxn ang="0">
                    <a:pos x="42" y="16"/>
                  </a:cxn>
                  <a:cxn ang="0">
                    <a:pos x="40" y="20"/>
                  </a:cxn>
                  <a:cxn ang="0">
                    <a:pos x="34" y="25"/>
                  </a:cxn>
                  <a:cxn ang="0">
                    <a:pos x="32" y="34"/>
                  </a:cxn>
                  <a:cxn ang="0">
                    <a:pos x="34" y="36"/>
                  </a:cxn>
                  <a:cxn ang="0">
                    <a:pos x="25" y="36"/>
                  </a:cxn>
                  <a:cxn ang="0">
                    <a:pos x="25" y="43"/>
                  </a:cxn>
                  <a:cxn ang="0">
                    <a:pos x="27" y="52"/>
                  </a:cxn>
                  <a:cxn ang="0">
                    <a:pos x="25" y="52"/>
                  </a:cxn>
                  <a:cxn ang="0">
                    <a:pos x="27" y="58"/>
                  </a:cxn>
                  <a:cxn ang="0">
                    <a:pos x="25" y="58"/>
                  </a:cxn>
                  <a:cxn ang="0">
                    <a:pos x="23" y="61"/>
                  </a:cxn>
                  <a:cxn ang="0">
                    <a:pos x="19" y="61"/>
                  </a:cxn>
                  <a:cxn ang="0">
                    <a:pos x="9" y="67"/>
                  </a:cxn>
                  <a:cxn ang="0">
                    <a:pos x="2" y="67"/>
                  </a:cxn>
                  <a:cxn ang="0">
                    <a:pos x="2" y="61"/>
                  </a:cxn>
                  <a:cxn ang="0">
                    <a:pos x="0" y="61"/>
                  </a:cxn>
                  <a:cxn ang="0">
                    <a:pos x="2" y="58"/>
                  </a:cxn>
                  <a:cxn ang="0">
                    <a:pos x="0" y="54"/>
                  </a:cxn>
                  <a:cxn ang="0">
                    <a:pos x="0" y="52"/>
                  </a:cxn>
                  <a:cxn ang="0">
                    <a:pos x="0" y="47"/>
                  </a:cxn>
                  <a:cxn ang="0">
                    <a:pos x="9" y="43"/>
                  </a:cxn>
                  <a:cxn ang="0">
                    <a:pos x="11" y="43"/>
                  </a:cxn>
                  <a:cxn ang="0">
                    <a:pos x="13" y="36"/>
                  </a:cxn>
                  <a:cxn ang="0">
                    <a:pos x="17" y="38"/>
                  </a:cxn>
                  <a:cxn ang="0">
                    <a:pos x="25" y="29"/>
                  </a:cxn>
                  <a:cxn ang="0">
                    <a:pos x="32" y="20"/>
                  </a:cxn>
                  <a:cxn ang="0">
                    <a:pos x="40" y="16"/>
                  </a:cxn>
                  <a:cxn ang="0">
                    <a:pos x="36" y="16"/>
                  </a:cxn>
                  <a:cxn ang="0">
                    <a:pos x="34" y="11"/>
                  </a:cxn>
                  <a:cxn ang="0">
                    <a:pos x="40" y="9"/>
                  </a:cxn>
                  <a:cxn ang="0">
                    <a:pos x="40" y="11"/>
                  </a:cxn>
                  <a:cxn ang="0">
                    <a:pos x="42" y="11"/>
                  </a:cxn>
                  <a:cxn ang="0">
                    <a:pos x="44" y="11"/>
                  </a:cxn>
                  <a:cxn ang="0">
                    <a:pos x="42" y="11"/>
                  </a:cxn>
                  <a:cxn ang="0">
                    <a:pos x="42" y="9"/>
                  </a:cxn>
                  <a:cxn ang="0">
                    <a:pos x="48" y="4"/>
                  </a:cxn>
                  <a:cxn ang="0">
                    <a:pos x="57" y="4"/>
                  </a:cxn>
                  <a:cxn ang="0">
                    <a:pos x="63" y="2"/>
                  </a:cxn>
                  <a:cxn ang="0">
                    <a:pos x="67" y="2"/>
                  </a:cxn>
                  <a:cxn ang="0">
                    <a:pos x="71" y="0"/>
                  </a:cxn>
                  <a:cxn ang="0">
                    <a:pos x="71" y="2"/>
                  </a:cxn>
                  <a:cxn ang="0">
                    <a:pos x="73" y="2"/>
                  </a:cxn>
                  <a:cxn ang="0">
                    <a:pos x="75" y="2"/>
                  </a:cxn>
                  <a:cxn ang="0">
                    <a:pos x="80" y="0"/>
                  </a:cxn>
                  <a:cxn ang="0">
                    <a:pos x="82" y="2"/>
                  </a:cxn>
                  <a:cxn ang="0">
                    <a:pos x="90" y="2"/>
                  </a:cxn>
                  <a:cxn ang="0">
                    <a:pos x="82" y="4"/>
                  </a:cxn>
                  <a:cxn ang="0">
                    <a:pos x="90" y="9"/>
                  </a:cxn>
                  <a:cxn ang="0">
                    <a:pos x="84" y="11"/>
                  </a:cxn>
                  <a:cxn ang="0">
                    <a:pos x="84" y="9"/>
                  </a:cxn>
                  <a:cxn ang="0">
                    <a:pos x="80" y="4"/>
                  </a:cxn>
                  <a:cxn ang="0">
                    <a:pos x="73" y="4"/>
                  </a:cxn>
                  <a:cxn ang="0">
                    <a:pos x="73" y="11"/>
                  </a:cxn>
                  <a:cxn ang="0">
                    <a:pos x="71" y="11"/>
                  </a:cxn>
                  <a:cxn ang="0">
                    <a:pos x="63" y="11"/>
                  </a:cxn>
                  <a:cxn ang="0">
                    <a:pos x="57" y="9"/>
                  </a:cxn>
                  <a:cxn ang="0">
                    <a:pos x="54" y="11"/>
                  </a:cxn>
                  <a:cxn ang="0">
                    <a:pos x="52" y="11"/>
                  </a:cxn>
                </a:cxnLst>
                <a:rect l="0" t="0" r="r" b="b"/>
                <a:pathLst>
                  <a:path w="90" h="67">
                    <a:moveTo>
                      <a:pt x="52" y="11"/>
                    </a:moveTo>
                    <a:lnTo>
                      <a:pt x="52" y="16"/>
                    </a:lnTo>
                    <a:lnTo>
                      <a:pt x="48" y="11"/>
                    </a:lnTo>
                    <a:lnTo>
                      <a:pt x="44" y="16"/>
                    </a:lnTo>
                    <a:lnTo>
                      <a:pt x="42" y="16"/>
                    </a:lnTo>
                    <a:lnTo>
                      <a:pt x="40" y="20"/>
                    </a:lnTo>
                    <a:lnTo>
                      <a:pt x="34" y="25"/>
                    </a:lnTo>
                    <a:lnTo>
                      <a:pt x="32" y="34"/>
                    </a:lnTo>
                    <a:lnTo>
                      <a:pt x="34" y="36"/>
                    </a:lnTo>
                    <a:lnTo>
                      <a:pt x="25" y="36"/>
                    </a:lnTo>
                    <a:lnTo>
                      <a:pt x="25" y="43"/>
                    </a:lnTo>
                    <a:lnTo>
                      <a:pt x="27" y="52"/>
                    </a:lnTo>
                    <a:lnTo>
                      <a:pt x="25" y="52"/>
                    </a:lnTo>
                    <a:lnTo>
                      <a:pt x="27" y="58"/>
                    </a:lnTo>
                    <a:lnTo>
                      <a:pt x="25" y="58"/>
                    </a:lnTo>
                    <a:lnTo>
                      <a:pt x="23" y="61"/>
                    </a:lnTo>
                    <a:lnTo>
                      <a:pt x="19" y="61"/>
                    </a:lnTo>
                    <a:lnTo>
                      <a:pt x="9" y="67"/>
                    </a:lnTo>
                    <a:lnTo>
                      <a:pt x="2" y="67"/>
                    </a:lnTo>
                    <a:lnTo>
                      <a:pt x="2" y="61"/>
                    </a:lnTo>
                    <a:lnTo>
                      <a:pt x="0" y="61"/>
                    </a:lnTo>
                    <a:lnTo>
                      <a:pt x="2" y="58"/>
                    </a:lnTo>
                    <a:lnTo>
                      <a:pt x="0" y="54"/>
                    </a:lnTo>
                    <a:lnTo>
                      <a:pt x="0" y="52"/>
                    </a:lnTo>
                    <a:lnTo>
                      <a:pt x="0" y="47"/>
                    </a:lnTo>
                    <a:lnTo>
                      <a:pt x="9" y="43"/>
                    </a:lnTo>
                    <a:lnTo>
                      <a:pt x="11" y="43"/>
                    </a:lnTo>
                    <a:lnTo>
                      <a:pt x="13" y="36"/>
                    </a:lnTo>
                    <a:lnTo>
                      <a:pt x="17" y="38"/>
                    </a:lnTo>
                    <a:lnTo>
                      <a:pt x="25" y="29"/>
                    </a:lnTo>
                    <a:lnTo>
                      <a:pt x="32" y="20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4" y="11"/>
                    </a:lnTo>
                    <a:lnTo>
                      <a:pt x="40" y="9"/>
                    </a:lnTo>
                    <a:lnTo>
                      <a:pt x="40" y="11"/>
                    </a:lnTo>
                    <a:lnTo>
                      <a:pt x="42" y="11"/>
                    </a:lnTo>
                    <a:lnTo>
                      <a:pt x="44" y="11"/>
                    </a:lnTo>
                    <a:lnTo>
                      <a:pt x="42" y="11"/>
                    </a:lnTo>
                    <a:lnTo>
                      <a:pt x="42" y="9"/>
                    </a:lnTo>
                    <a:lnTo>
                      <a:pt x="48" y="4"/>
                    </a:lnTo>
                    <a:lnTo>
                      <a:pt x="57" y="4"/>
                    </a:lnTo>
                    <a:lnTo>
                      <a:pt x="63" y="2"/>
                    </a:lnTo>
                    <a:lnTo>
                      <a:pt x="67" y="2"/>
                    </a:lnTo>
                    <a:lnTo>
                      <a:pt x="71" y="0"/>
                    </a:lnTo>
                    <a:lnTo>
                      <a:pt x="71" y="2"/>
                    </a:lnTo>
                    <a:lnTo>
                      <a:pt x="73" y="2"/>
                    </a:lnTo>
                    <a:lnTo>
                      <a:pt x="75" y="2"/>
                    </a:lnTo>
                    <a:lnTo>
                      <a:pt x="80" y="0"/>
                    </a:lnTo>
                    <a:lnTo>
                      <a:pt x="82" y="2"/>
                    </a:lnTo>
                    <a:lnTo>
                      <a:pt x="90" y="2"/>
                    </a:lnTo>
                    <a:lnTo>
                      <a:pt x="82" y="4"/>
                    </a:lnTo>
                    <a:lnTo>
                      <a:pt x="90" y="9"/>
                    </a:lnTo>
                    <a:lnTo>
                      <a:pt x="84" y="11"/>
                    </a:lnTo>
                    <a:lnTo>
                      <a:pt x="84" y="9"/>
                    </a:lnTo>
                    <a:lnTo>
                      <a:pt x="80" y="4"/>
                    </a:lnTo>
                    <a:lnTo>
                      <a:pt x="73" y="4"/>
                    </a:lnTo>
                    <a:lnTo>
                      <a:pt x="73" y="11"/>
                    </a:lnTo>
                    <a:lnTo>
                      <a:pt x="71" y="11"/>
                    </a:lnTo>
                    <a:lnTo>
                      <a:pt x="63" y="11"/>
                    </a:lnTo>
                    <a:lnTo>
                      <a:pt x="57" y="9"/>
                    </a:lnTo>
                    <a:lnTo>
                      <a:pt x="54" y="11"/>
                    </a:lnTo>
                    <a:lnTo>
                      <a:pt x="52" y="11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72" name="North Korea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7268236" y="3184313"/>
              <a:ext cx="116498" cy="150483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2"/>
                </a:cxn>
                <a:cxn ang="0">
                  <a:pos x="12" y="4"/>
                </a:cxn>
                <a:cxn ang="0">
                  <a:pos x="12" y="9"/>
                </a:cxn>
                <a:cxn ang="0">
                  <a:pos x="8" y="4"/>
                </a:cxn>
                <a:cxn ang="0">
                  <a:pos x="0" y="18"/>
                </a:cxn>
                <a:cxn ang="0">
                  <a:pos x="8" y="18"/>
                </a:cxn>
                <a:cxn ang="0">
                  <a:pos x="8" y="27"/>
                </a:cxn>
                <a:cxn ang="0">
                  <a:pos x="16" y="27"/>
                </a:cxn>
                <a:cxn ang="0">
                  <a:pos x="18" y="27"/>
                </a:cxn>
                <a:cxn ang="0">
                  <a:pos x="21" y="22"/>
                </a:cxn>
                <a:cxn ang="0">
                  <a:pos x="16" y="20"/>
                </a:cxn>
                <a:cxn ang="0">
                  <a:pos x="12" y="13"/>
                </a:cxn>
                <a:cxn ang="0">
                  <a:pos x="21" y="11"/>
                </a:cxn>
                <a:cxn ang="0">
                  <a:pos x="18" y="4"/>
                </a:cxn>
                <a:cxn ang="0">
                  <a:pos x="21" y="0"/>
                </a:cxn>
                <a:cxn ang="0">
                  <a:pos x="18" y="0"/>
                </a:cxn>
                <a:cxn ang="0">
                  <a:pos x="16" y="0"/>
                </a:cxn>
              </a:cxnLst>
              <a:rect l="0" t="0" r="r" b="b"/>
              <a:pathLst>
                <a:path w="21" h="27">
                  <a:moveTo>
                    <a:pt x="16" y="0"/>
                  </a:moveTo>
                  <a:lnTo>
                    <a:pt x="16" y="2"/>
                  </a:lnTo>
                  <a:lnTo>
                    <a:pt x="12" y="4"/>
                  </a:lnTo>
                  <a:lnTo>
                    <a:pt x="12" y="9"/>
                  </a:lnTo>
                  <a:lnTo>
                    <a:pt x="8" y="4"/>
                  </a:lnTo>
                  <a:lnTo>
                    <a:pt x="0" y="18"/>
                  </a:lnTo>
                  <a:lnTo>
                    <a:pt x="8" y="18"/>
                  </a:lnTo>
                  <a:lnTo>
                    <a:pt x="8" y="27"/>
                  </a:lnTo>
                  <a:lnTo>
                    <a:pt x="16" y="27"/>
                  </a:lnTo>
                  <a:lnTo>
                    <a:pt x="18" y="27"/>
                  </a:lnTo>
                  <a:lnTo>
                    <a:pt x="21" y="22"/>
                  </a:lnTo>
                  <a:lnTo>
                    <a:pt x="16" y="20"/>
                  </a:lnTo>
                  <a:lnTo>
                    <a:pt x="12" y="13"/>
                  </a:lnTo>
                  <a:lnTo>
                    <a:pt x="21" y="11"/>
                  </a:lnTo>
                  <a:lnTo>
                    <a:pt x="18" y="4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73" name="Nigeria"/>
            <p:cNvSpPr>
              <a:spLocks/>
            </p:cNvSpPr>
            <p:nvPr/>
          </p:nvSpPr>
          <p:spPr bwMode="auto">
            <a:xfrm>
              <a:off x="4292616" y="4099910"/>
              <a:ext cx="328430" cy="317948"/>
            </a:xfrm>
            <a:custGeom>
              <a:avLst/>
              <a:gdLst>
                <a:gd name="T0" fmla="*/ 7 w 904"/>
                <a:gd name="T1" fmla="*/ 576 h 737"/>
                <a:gd name="T2" fmla="*/ 1 w 904"/>
                <a:gd name="T3" fmla="*/ 575 h 737"/>
                <a:gd name="T4" fmla="*/ 8 w 904"/>
                <a:gd name="T5" fmla="*/ 487 h 737"/>
                <a:gd name="T6" fmla="*/ 7 w 904"/>
                <a:gd name="T7" fmla="*/ 409 h 737"/>
                <a:gd name="T8" fmla="*/ 37 w 904"/>
                <a:gd name="T9" fmla="*/ 355 h 737"/>
                <a:gd name="T10" fmla="*/ 52 w 904"/>
                <a:gd name="T11" fmla="*/ 314 h 737"/>
                <a:gd name="T12" fmla="*/ 72 w 904"/>
                <a:gd name="T13" fmla="*/ 276 h 737"/>
                <a:gd name="T14" fmla="*/ 85 w 904"/>
                <a:gd name="T15" fmla="*/ 235 h 737"/>
                <a:gd name="T16" fmla="*/ 76 w 904"/>
                <a:gd name="T17" fmla="*/ 169 h 737"/>
                <a:gd name="T18" fmla="*/ 79 w 904"/>
                <a:gd name="T19" fmla="*/ 159 h 737"/>
                <a:gd name="T20" fmla="*/ 104 w 904"/>
                <a:gd name="T21" fmla="*/ 90 h 737"/>
                <a:gd name="T22" fmla="*/ 138 w 904"/>
                <a:gd name="T23" fmla="*/ 26 h 737"/>
                <a:gd name="T24" fmla="*/ 213 w 904"/>
                <a:gd name="T25" fmla="*/ 7 h 737"/>
                <a:gd name="T26" fmla="*/ 288 w 904"/>
                <a:gd name="T27" fmla="*/ 26 h 737"/>
                <a:gd name="T28" fmla="*/ 338 w 904"/>
                <a:gd name="T29" fmla="*/ 72 h 737"/>
                <a:gd name="T30" fmla="*/ 400 w 904"/>
                <a:gd name="T31" fmla="*/ 48 h 737"/>
                <a:gd name="T32" fmla="*/ 483 w 904"/>
                <a:gd name="T33" fmla="*/ 85 h 737"/>
                <a:gd name="T34" fmla="*/ 571 w 904"/>
                <a:gd name="T35" fmla="*/ 52 h 737"/>
                <a:gd name="T36" fmla="*/ 660 w 904"/>
                <a:gd name="T37" fmla="*/ 47 h 737"/>
                <a:gd name="T38" fmla="*/ 737 w 904"/>
                <a:gd name="T39" fmla="*/ 66 h 737"/>
                <a:gd name="T40" fmla="*/ 790 w 904"/>
                <a:gd name="T41" fmla="*/ 34 h 737"/>
                <a:gd name="T42" fmla="*/ 854 w 904"/>
                <a:gd name="T43" fmla="*/ 69 h 737"/>
                <a:gd name="T44" fmla="*/ 890 w 904"/>
                <a:gd name="T45" fmla="*/ 133 h 737"/>
                <a:gd name="T46" fmla="*/ 891 w 904"/>
                <a:gd name="T47" fmla="*/ 189 h 737"/>
                <a:gd name="T48" fmla="*/ 823 w 904"/>
                <a:gd name="T49" fmla="*/ 240 h 737"/>
                <a:gd name="T50" fmla="*/ 791 w 904"/>
                <a:gd name="T51" fmla="*/ 305 h 737"/>
                <a:gd name="T52" fmla="*/ 767 w 904"/>
                <a:gd name="T53" fmla="*/ 354 h 737"/>
                <a:gd name="T54" fmla="*/ 728 w 904"/>
                <a:gd name="T55" fmla="*/ 414 h 737"/>
                <a:gd name="T56" fmla="*/ 711 w 904"/>
                <a:gd name="T57" fmla="*/ 457 h 737"/>
                <a:gd name="T58" fmla="*/ 687 w 904"/>
                <a:gd name="T59" fmla="*/ 515 h 737"/>
                <a:gd name="T60" fmla="*/ 650 w 904"/>
                <a:gd name="T61" fmla="*/ 567 h 737"/>
                <a:gd name="T62" fmla="*/ 611 w 904"/>
                <a:gd name="T63" fmla="*/ 532 h 737"/>
                <a:gd name="T64" fmla="*/ 591 w 904"/>
                <a:gd name="T65" fmla="*/ 519 h 737"/>
                <a:gd name="T66" fmla="*/ 591 w 904"/>
                <a:gd name="T67" fmla="*/ 519 h 737"/>
                <a:gd name="T68" fmla="*/ 533 w 904"/>
                <a:gd name="T69" fmla="*/ 543 h 737"/>
                <a:gd name="T70" fmla="*/ 486 w 904"/>
                <a:gd name="T71" fmla="*/ 592 h 737"/>
                <a:gd name="T72" fmla="*/ 464 w 904"/>
                <a:gd name="T73" fmla="*/ 631 h 737"/>
                <a:gd name="T74" fmla="*/ 429 w 904"/>
                <a:gd name="T75" fmla="*/ 703 h 737"/>
                <a:gd name="T76" fmla="*/ 412 w 904"/>
                <a:gd name="T77" fmla="*/ 692 h 737"/>
                <a:gd name="T78" fmla="*/ 360 w 904"/>
                <a:gd name="T79" fmla="*/ 717 h 737"/>
                <a:gd name="T80" fmla="*/ 317 w 904"/>
                <a:gd name="T81" fmla="*/ 715 h 737"/>
                <a:gd name="T82" fmla="*/ 295 w 904"/>
                <a:gd name="T83" fmla="*/ 725 h 737"/>
                <a:gd name="T84" fmla="*/ 261 w 904"/>
                <a:gd name="T85" fmla="*/ 737 h 737"/>
                <a:gd name="T86" fmla="*/ 238 w 904"/>
                <a:gd name="T87" fmla="*/ 724 h 737"/>
                <a:gd name="T88" fmla="*/ 204 w 904"/>
                <a:gd name="T89" fmla="*/ 692 h 737"/>
                <a:gd name="T90" fmla="*/ 203 w 904"/>
                <a:gd name="T91" fmla="*/ 647 h 737"/>
                <a:gd name="T92" fmla="*/ 186 w 904"/>
                <a:gd name="T93" fmla="*/ 633 h 737"/>
                <a:gd name="T94" fmla="*/ 171 w 904"/>
                <a:gd name="T95" fmla="*/ 614 h 737"/>
                <a:gd name="T96" fmla="*/ 148 w 904"/>
                <a:gd name="T97" fmla="*/ 588 h 737"/>
                <a:gd name="T98" fmla="*/ 91 w 904"/>
                <a:gd name="T99" fmla="*/ 572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04" h="737">
                  <a:moveTo>
                    <a:pt x="35" y="574"/>
                  </a:moveTo>
                  <a:cubicBezTo>
                    <a:pt x="26" y="575"/>
                    <a:pt x="16" y="575"/>
                    <a:pt x="7" y="576"/>
                  </a:cubicBezTo>
                  <a:cubicBezTo>
                    <a:pt x="5" y="576"/>
                    <a:pt x="3" y="576"/>
                    <a:pt x="1" y="576"/>
                  </a:cubicBezTo>
                  <a:cubicBezTo>
                    <a:pt x="1" y="575"/>
                    <a:pt x="1" y="575"/>
                    <a:pt x="1" y="575"/>
                  </a:cubicBezTo>
                  <a:cubicBezTo>
                    <a:pt x="3" y="559"/>
                    <a:pt x="8" y="542"/>
                    <a:pt x="3" y="526"/>
                  </a:cubicBezTo>
                  <a:cubicBezTo>
                    <a:pt x="10" y="515"/>
                    <a:pt x="1" y="499"/>
                    <a:pt x="8" y="487"/>
                  </a:cubicBezTo>
                  <a:cubicBezTo>
                    <a:pt x="0" y="477"/>
                    <a:pt x="7" y="465"/>
                    <a:pt x="1" y="453"/>
                  </a:cubicBezTo>
                  <a:cubicBezTo>
                    <a:pt x="7" y="439"/>
                    <a:pt x="1" y="424"/>
                    <a:pt x="7" y="409"/>
                  </a:cubicBezTo>
                  <a:cubicBezTo>
                    <a:pt x="6" y="397"/>
                    <a:pt x="7" y="386"/>
                    <a:pt x="9" y="374"/>
                  </a:cubicBezTo>
                  <a:cubicBezTo>
                    <a:pt x="12" y="360"/>
                    <a:pt x="37" y="374"/>
                    <a:pt x="37" y="355"/>
                  </a:cubicBezTo>
                  <a:cubicBezTo>
                    <a:pt x="40" y="345"/>
                    <a:pt x="35" y="335"/>
                    <a:pt x="45" y="329"/>
                  </a:cubicBezTo>
                  <a:cubicBezTo>
                    <a:pt x="46" y="322"/>
                    <a:pt x="58" y="322"/>
                    <a:pt x="52" y="314"/>
                  </a:cubicBezTo>
                  <a:cubicBezTo>
                    <a:pt x="57" y="305"/>
                    <a:pt x="75" y="311"/>
                    <a:pt x="74" y="295"/>
                  </a:cubicBezTo>
                  <a:cubicBezTo>
                    <a:pt x="80" y="289"/>
                    <a:pt x="78" y="282"/>
                    <a:pt x="72" y="276"/>
                  </a:cubicBezTo>
                  <a:cubicBezTo>
                    <a:pt x="73" y="268"/>
                    <a:pt x="80" y="261"/>
                    <a:pt x="87" y="265"/>
                  </a:cubicBezTo>
                  <a:cubicBezTo>
                    <a:pt x="94" y="255"/>
                    <a:pt x="93" y="244"/>
                    <a:pt x="85" y="235"/>
                  </a:cubicBezTo>
                  <a:cubicBezTo>
                    <a:pt x="89" y="221"/>
                    <a:pt x="81" y="208"/>
                    <a:pt x="72" y="197"/>
                  </a:cubicBezTo>
                  <a:cubicBezTo>
                    <a:pt x="62" y="189"/>
                    <a:pt x="70" y="177"/>
                    <a:pt x="76" y="169"/>
                  </a:cubicBezTo>
                  <a:cubicBezTo>
                    <a:pt x="77" y="167"/>
                    <a:pt x="77" y="167"/>
                    <a:pt x="77" y="167"/>
                  </a:cubicBezTo>
                  <a:cubicBezTo>
                    <a:pt x="81" y="167"/>
                    <a:pt x="84" y="164"/>
                    <a:pt x="79" y="159"/>
                  </a:cubicBezTo>
                  <a:cubicBezTo>
                    <a:pt x="80" y="146"/>
                    <a:pt x="81" y="132"/>
                    <a:pt x="82" y="117"/>
                  </a:cubicBezTo>
                  <a:cubicBezTo>
                    <a:pt x="78" y="102"/>
                    <a:pt x="95" y="98"/>
                    <a:pt x="104" y="90"/>
                  </a:cubicBezTo>
                  <a:cubicBezTo>
                    <a:pt x="113" y="79"/>
                    <a:pt x="120" y="66"/>
                    <a:pt x="120" y="52"/>
                  </a:cubicBezTo>
                  <a:cubicBezTo>
                    <a:pt x="114" y="36"/>
                    <a:pt x="130" y="34"/>
                    <a:pt x="138" y="26"/>
                  </a:cubicBezTo>
                  <a:cubicBezTo>
                    <a:pt x="145" y="16"/>
                    <a:pt x="158" y="18"/>
                    <a:pt x="168" y="14"/>
                  </a:cubicBezTo>
                  <a:cubicBezTo>
                    <a:pt x="182" y="13"/>
                    <a:pt x="202" y="22"/>
                    <a:pt x="213" y="7"/>
                  </a:cubicBezTo>
                  <a:cubicBezTo>
                    <a:pt x="226" y="0"/>
                    <a:pt x="238" y="13"/>
                    <a:pt x="251" y="17"/>
                  </a:cubicBezTo>
                  <a:cubicBezTo>
                    <a:pt x="263" y="25"/>
                    <a:pt x="277" y="17"/>
                    <a:pt x="288" y="26"/>
                  </a:cubicBezTo>
                  <a:cubicBezTo>
                    <a:pt x="297" y="35"/>
                    <a:pt x="307" y="44"/>
                    <a:pt x="312" y="56"/>
                  </a:cubicBezTo>
                  <a:cubicBezTo>
                    <a:pt x="316" y="66"/>
                    <a:pt x="326" y="77"/>
                    <a:pt x="338" y="72"/>
                  </a:cubicBezTo>
                  <a:cubicBezTo>
                    <a:pt x="343" y="63"/>
                    <a:pt x="352" y="64"/>
                    <a:pt x="360" y="64"/>
                  </a:cubicBezTo>
                  <a:cubicBezTo>
                    <a:pt x="374" y="59"/>
                    <a:pt x="385" y="44"/>
                    <a:pt x="400" y="48"/>
                  </a:cubicBezTo>
                  <a:cubicBezTo>
                    <a:pt x="419" y="47"/>
                    <a:pt x="427" y="67"/>
                    <a:pt x="444" y="68"/>
                  </a:cubicBezTo>
                  <a:cubicBezTo>
                    <a:pt x="454" y="79"/>
                    <a:pt x="468" y="85"/>
                    <a:pt x="483" y="85"/>
                  </a:cubicBezTo>
                  <a:cubicBezTo>
                    <a:pt x="498" y="85"/>
                    <a:pt x="514" y="92"/>
                    <a:pt x="528" y="86"/>
                  </a:cubicBezTo>
                  <a:cubicBezTo>
                    <a:pt x="539" y="72"/>
                    <a:pt x="552" y="57"/>
                    <a:pt x="571" y="52"/>
                  </a:cubicBezTo>
                  <a:cubicBezTo>
                    <a:pt x="586" y="53"/>
                    <a:pt x="601" y="43"/>
                    <a:pt x="616" y="46"/>
                  </a:cubicBezTo>
                  <a:cubicBezTo>
                    <a:pt x="631" y="50"/>
                    <a:pt x="645" y="44"/>
                    <a:pt x="660" y="47"/>
                  </a:cubicBezTo>
                  <a:cubicBezTo>
                    <a:pt x="675" y="51"/>
                    <a:pt x="691" y="54"/>
                    <a:pt x="704" y="64"/>
                  </a:cubicBezTo>
                  <a:cubicBezTo>
                    <a:pt x="714" y="64"/>
                    <a:pt x="729" y="74"/>
                    <a:pt x="737" y="66"/>
                  </a:cubicBezTo>
                  <a:cubicBezTo>
                    <a:pt x="741" y="53"/>
                    <a:pt x="753" y="54"/>
                    <a:pt x="760" y="44"/>
                  </a:cubicBezTo>
                  <a:cubicBezTo>
                    <a:pt x="767" y="33"/>
                    <a:pt x="781" y="35"/>
                    <a:pt x="790" y="34"/>
                  </a:cubicBezTo>
                  <a:cubicBezTo>
                    <a:pt x="795" y="20"/>
                    <a:pt x="809" y="20"/>
                    <a:pt x="821" y="21"/>
                  </a:cubicBezTo>
                  <a:cubicBezTo>
                    <a:pt x="832" y="37"/>
                    <a:pt x="843" y="53"/>
                    <a:pt x="854" y="69"/>
                  </a:cubicBezTo>
                  <a:cubicBezTo>
                    <a:pt x="856" y="86"/>
                    <a:pt x="864" y="103"/>
                    <a:pt x="862" y="120"/>
                  </a:cubicBezTo>
                  <a:cubicBezTo>
                    <a:pt x="868" y="129"/>
                    <a:pt x="887" y="117"/>
                    <a:pt x="890" y="133"/>
                  </a:cubicBezTo>
                  <a:cubicBezTo>
                    <a:pt x="903" y="138"/>
                    <a:pt x="893" y="153"/>
                    <a:pt x="894" y="163"/>
                  </a:cubicBezTo>
                  <a:cubicBezTo>
                    <a:pt x="885" y="172"/>
                    <a:pt x="904" y="182"/>
                    <a:pt x="891" y="189"/>
                  </a:cubicBezTo>
                  <a:cubicBezTo>
                    <a:pt x="876" y="194"/>
                    <a:pt x="865" y="213"/>
                    <a:pt x="848" y="205"/>
                  </a:cubicBezTo>
                  <a:cubicBezTo>
                    <a:pt x="835" y="213"/>
                    <a:pt x="832" y="228"/>
                    <a:pt x="823" y="240"/>
                  </a:cubicBezTo>
                  <a:cubicBezTo>
                    <a:pt x="811" y="252"/>
                    <a:pt x="811" y="270"/>
                    <a:pt x="807" y="286"/>
                  </a:cubicBezTo>
                  <a:cubicBezTo>
                    <a:pt x="805" y="296"/>
                    <a:pt x="787" y="290"/>
                    <a:pt x="791" y="305"/>
                  </a:cubicBezTo>
                  <a:cubicBezTo>
                    <a:pt x="793" y="317"/>
                    <a:pt x="795" y="340"/>
                    <a:pt x="776" y="338"/>
                  </a:cubicBezTo>
                  <a:cubicBezTo>
                    <a:pt x="771" y="343"/>
                    <a:pt x="758" y="348"/>
                    <a:pt x="767" y="354"/>
                  </a:cubicBezTo>
                  <a:cubicBezTo>
                    <a:pt x="757" y="367"/>
                    <a:pt x="766" y="389"/>
                    <a:pt x="750" y="398"/>
                  </a:cubicBezTo>
                  <a:cubicBezTo>
                    <a:pt x="748" y="411"/>
                    <a:pt x="723" y="397"/>
                    <a:pt x="728" y="414"/>
                  </a:cubicBezTo>
                  <a:cubicBezTo>
                    <a:pt x="723" y="420"/>
                    <a:pt x="711" y="420"/>
                    <a:pt x="716" y="431"/>
                  </a:cubicBezTo>
                  <a:cubicBezTo>
                    <a:pt x="714" y="440"/>
                    <a:pt x="713" y="449"/>
                    <a:pt x="711" y="457"/>
                  </a:cubicBezTo>
                  <a:cubicBezTo>
                    <a:pt x="696" y="468"/>
                    <a:pt x="703" y="488"/>
                    <a:pt x="686" y="497"/>
                  </a:cubicBezTo>
                  <a:cubicBezTo>
                    <a:pt x="679" y="504"/>
                    <a:pt x="679" y="509"/>
                    <a:pt x="687" y="515"/>
                  </a:cubicBezTo>
                  <a:cubicBezTo>
                    <a:pt x="687" y="528"/>
                    <a:pt x="657" y="529"/>
                    <a:pt x="666" y="547"/>
                  </a:cubicBezTo>
                  <a:cubicBezTo>
                    <a:pt x="663" y="556"/>
                    <a:pt x="653" y="558"/>
                    <a:pt x="650" y="567"/>
                  </a:cubicBezTo>
                  <a:cubicBezTo>
                    <a:pt x="638" y="574"/>
                    <a:pt x="623" y="567"/>
                    <a:pt x="628" y="552"/>
                  </a:cubicBezTo>
                  <a:cubicBezTo>
                    <a:pt x="628" y="541"/>
                    <a:pt x="610" y="545"/>
                    <a:pt x="611" y="532"/>
                  </a:cubicBezTo>
                  <a:cubicBezTo>
                    <a:pt x="606" y="528"/>
                    <a:pt x="592" y="520"/>
                    <a:pt x="591" y="519"/>
                  </a:cubicBezTo>
                  <a:cubicBezTo>
                    <a:pt x="591" y="519"/>
                    <a:pt x="591" y="519"/>
                    <a:pt x="591" y="519"/>
                  </a:cubicBezTo>
                  <a:cubicBezTo>
                    <a:pt x="591" y="519"/>
                    <a:pt x="591" y="519"/>
                    <a:pt x="591" y="519"/>
                  </a:cubicBezTo>
                  <a:cubicBezTo>
                    <a:pt x="591" y="519"/>
                    <a:pt x="591" y="519"/>
                    <a:pt x="591" y="519"/>
                  </a:cubicBezTo>
                  <a:cubicBezTo>
                    <a:pt x="591" y="535"/>
                    <a:pt x="575" y="540"/>
                    <a:pt x="563" y="534"/>
                  </a:cubicBezTo>
                  <a:cubicBezTo>
                    <a:pt x="557" y="515"/>
                    <a:pt x="546" y="544"/>
                    <a:pt x="533" y="543"/>
                  </a:cubicBezTo>
                  <a:cubicBezTo>
                    <a:pt x="526" y="546"/>
                    <a:pt x="529" y="564"/>
                    <a:pt x="516" y="564"/>
                  </a:cubicBezTo>
                  <a:cubicBezTo>
                    <a:pt x="505" y="573"/>
                    <a:pt x="496" y="582"/>
                    <a:pt x="486" y="592"/>
                  </a:cubicBezTo>
                  <a:cubicBezTo>
                    <a:pt x="477" y="599"/>
                    <a:pt x="471" y="609"/>
                    <a:pt x="462" y="614"/>
                  </a:cubicBezTo>
                  <a:cubicBezTo>
                    <a:pt x="462" y="621"/>
                    <a:pt x="458" y="627"/>
                    <a:pt x="464" y="631"/>
                  </a:cubicBezTo>
                  <a:cubicBezTo>
                    <a:pt x="458" y="645"/>
                    <a:pt x="461" y="662"/>
                    <a:pt x="450" y="674"/>
                  </a:cubicBezTo>
                  <a:cubicBezTo>
                    <a:pt x="444" y="684"/>
                    <a:pt x="434" y="694"/>
                    <a:pt x="429" y="703"/>
                  </a:cubicBezTo>
                  <a:cubicBezTo>
                    <a:pt x="427" y="699"/>
                    <a:pt x="424" y="696"/>
                    <a:pt x="422" y="692"/>
                  </a:cubicBezTo>
                  <a:cubicBezTo>
                    <a:pt x="419" y="689"/>
                    <a:pt x="412" y="685"/>
                    <a:pt x="412" y="692"/>
                  </a:cubicBezTo>
                  <a:cubicBezTo>
                    <a:pt x="408" y="699"/>
                    <a:pt x="408" y="708"/>
                    <a:pt x="407" y="716"/>
                  </a:cubicBezTo>
                  <a:cubicBezTo>
                    <a:pt x="391" y="715"/>
                    <a:pt x="375" y="715"/>
                    <a:pt x="360" y="717"/>
                  </a:cubicBezTo>
                  <a:cubicBezTo>
                    <a:pt x="349" y="713"/>
                    <a:pt x="339" y="707"/>
                    <a:pt x="328" y="704"/>
                  </a:cubicBezTo>
                  <a:cubicBezTo>
                    <a:pt x="325" y="708"/>
                    <a:pt x="323" y="714"/>
                    <a:pt x="317" y="715"/>
                  </a:cubicBezTo>
                  <a:cubicBezTo>
                    <a:pt x="314" y="719"/>
                    <a:pt x="312" y="723"/>
                    <a:pt x="307" y="724"/>
                  </a:cubicBezTo>
                  <a:cubicBezTo>
                    <a:pt x="302" y="723"/>
                    <a:pt x="300" y="731"/>
                    <a:pt x="295" y="725"/>
                  </a:cubicBezTo>
                  <a:cubicBezTo>
                    <a:pt x="291" y="720"/>
                    <a:pt x="287" y="731"/>
                    <a:pt x="285" y="724"/>
                  </a:cubicBezTo>
                  <a:cubicBezTo>
                    <a:pt x="277" y="729"/>
                    <a:pt x="269" y="733"/>
                    <a:pt x="261" y="737"/>
                  </a:cubicBezTo>
                  <a:cubicBezTo>
                    <a:pt x="259" y="735"/>
                    <a:pt x="259" y="728"/>
                    <a:pt x="257" y="724"/>
                  </a:cubicBezTo>
                  <a:cubicBezTo>
                    <a:pt x="251" y="725"/>
                    <a:pt x="244" y="727"/>
                    <a:pt x="238" y="724"/>
                  </a:cubicBezTo>
                  <a:cubicBezTo>
                    <a:pt x="234" y="722"/>
                    <a:pt x="228" y="723"/>
                    <a:pt x="226" y="719"/>
                  </a:cubicBezTo>
                  <a:cubicBezTo>
                    <a:pt x="221" y="709"/>
                    <a:pt x="212" y="700"/>
                    <a:pt x="204" y="692"/>
                  </a:cubicBezTo>
                  <a:cubicBezTo>
                    <a:pt x="201" y="681"/>
                    <a:pt x="197" y="669"/>
                    <a:pt x="197" y="657"/>
                  </a:cubicBezTo>
                  <a:cubicBezTo>
                    <a:pt x="195" y="652"/>
                    <a:pt x="199" y="649"/>
                    <a:pt x="203" y="647"/>
                  </a:cubicBezTo>
                  <a:cubicBezTo>
                    <a:pt x="204" y="646"/>
                    <a:pt x="195" y="646"/>
                    <a:pt x="193" y="644"/>
                  </a:cubicBezTo>
                  <a:cubicBezTo>
                    <a:pt x="187" y="644"/>
                    <a:pt x="188" y="637"/>
                    <a:pt x="186" y="633"/>
                  </a:cubicBezTo>
                  <a:cubicBezTo>
                    <a:pt x="186" y="629"/>
                    <a:pt x="182" y="626"/>
                    <a:pt x="179" y="623"/>
                  </a:cubicBezTo>
                  <a:cubicBezTo>
                    <a:pt x="178" y="618"/>
                    <a:pt x="176" y="614"/>
                    <a:pt x="171" y="614"/>
                  </a:cubicBezTo>
                  <a:cubicBezTo>
                    <a:pt x="169" y="608"/>
                    <a:pt x="165" y="604"/>
                    <a:pt x="162" y="599"/>
                  </a:cubicBezTo>
                  <a:cubicBezTo>
                    <a:pt x="159" y="593"/>
                    <a:pt x="153" y="591"/>
                    <a:pt x="148" y="588"/>
                  </a:cubicBezTo>
                  <a:cubicBezTo>
                    <a:pt x="141" y="585"/>
                    <a:pt x="135" y="579"/>
                    <a:pt x="127" y="577"/>
                  </a:cubicBezTo>
                  <a:cubicBezTo>
                    <a:pt x="116" y="573"/>
                    <a:pt x="103" y="574"/>
                    <a:pt x="91" y="572"/>
                  </a:cubicBezTo>
                  <a:cubicBezTo>
                    <a:pt x="72" y="571"/>
                    <a:pt x="54" y="573"/>
                    <a:pt x="35" y="574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74" name="Niger"/>
            <p:cNvSpPr>
              <a:spLocks/>
            </p:cNvSpPr>
            <p:nvPr/>
          </p:nvSpPr>
          <p:spPr bwMode="auto">
            <a:xfrm>
              <a:off x="4227211" y="3792810"/>
              <a:ext cx="429702" cy="378867"/>
            </a:xfrm>
            <a:custGeom>
              <a:avLst/>
              <a:gdLst>
                <a:gd name="T0" fmla="*/ 28 w 1180"/>
                <a:gd name="T1" fmla="*/ 629 h 878"/>
                <a:gd name="T2" fmla="*/ 38 w 1180"/>
                <a:gd name="T3" fmla="*/ 627 h 878"/>
                <a:gd name="T4" fmla="*/ 117 w 1180"/>
                <a:gd name="T5" fmla="*/ 606 h 878"/>
                <a:gd name="T6" fmla="*/ 252 w 1180"/>
                <a:gd name="T7" fmla="*/ 602 h 878"/>
                <a:gd name="T8" fmla="*/ 290 w 1180"/>
                <a:gd name="T9" fmla="*/ 564 h 878"/>
                <a:gd name="T10" fmla="*/ 317 w 1180"/>
                <a:gd name="T11" fmla="*/ 476 h 878"/>
                <a:gd name="T12" fmla="*/ 437 w 1180"/>
                <a:gd name="T13" fmla="*/ 299 h 878"/>
                <a:gd name="T14" fmla="*/ 888 w 1180"/>
                <a:gd name="T15" fmla="*/ 0 h 878"/>
                <a:gd name="T16" fmla="*/ 995 w 1180"/>
                <a:gd name="T17" fmla="*/ 26 h 878"/>
                <a:gd name="T18" fmla="*/ 1059 w 1180"/>
                <a:gd name="T19" fmla="*/ 62 h 878"/>
                <a:gd name="T20" fmla="*/ 1112 w 1180"/>
                <a:gd name="T21" fmla="*/ 99 h 878"/>
                <a:gd name="T22" fmla="*/ 1146 w 1180"/>
                <a:gd name="T23" fmla="*/ 191 h 878"/>
                <a:gd name="T24" fmla="*/ 1165 w 1180"/>
                <a:gd name="T25" fmla="*/ 250 h 878"/>
                <a:gd name="T26" fmla="*/ 1142 w 1180"/>
                <a:gd name="T27" fmla="*/ 405 h 878"/>
                <a:gd name="T28" fmla="*/ 1052 w 1180"/>
                <a:gd name="T29" fmla="*/ 585 h 878"/>
                <a:gd name="T30" fmla="*/ 1004 w 1180"/>
                <a:gd name="T31" fmla="*/ 662 h 878"/>
                <a:gd name="T32" fmla="*/ 1000 w 1180"/>
                <a:gd name="T33" fmla="*/ 732 h 878"/>
                <a:gd name="T34" fmla="*/ 939 w 1180"/>
                <a:gd name="T35" fmla="*/ 755 h 878"/>
                <a:gd name="T36" fmla="*/ 883 w 1180"/>
                <a:gd name="T37" fmla="*/ 775 h 878"/>
                <a:gd name="T38" fmla="*/ 795 w 1180"/>
                <a:gd name="T39" fmla="*/ 757 h 878"/>
                <a:gd name="T40" fmla="*/ 707 w 1180"/>
                <a:gd name="T41" fmla="*/ 797 h 878"/>
                <a:gd name="T42" fmla="*/ 623 w 1180"/>
                <a:gd name="T43" fmla="*/ 779 h 878"/>
                <a:gd name="T44" fmla="*/ 539 w 1180"/>
                <a:gd name="T45" fmla="*/ 775 h 878"/>
                <a:gd name="T46" fmla="*/ 491 w 1180"/>
                <a:gd name="T47" fmla="*/ 767 h 878"/>
                <a:gd name="T48" fmla="*/ 430 w 1180"/>
                <a:gd name="T49" fmla="*/ 728 h 878"/>
                <a:gd name="T50" fmla="*/ 347 w 1180"/>
                <a:gd name="T51" fmla="*/ 725 h 878"/>
                <a:gd name="T52" fmla="*/ 299 w 1180"/>
                <a:gd name="T53" fmla="*/ 763 h 878"/>
                <a:gd name="T54" fmla="*/ 261 w 1180"/>
                <a:gd name="T55" fmla="*/ 828 h 878"/>
                <a:gd name="T56" fmla="*/ 256 w 1180"/>
                <a:gd name="T57" fmla="*/ 878 h 878"/>
                <a:gd name="T58" fmla="*/ 213 w 1180"/>
                <a:gd name="T59" fmla="*/ 838 h 878"/>
                <a:gd name="T60" fmla="*/ 168 w 1180"/>
                <a:gd name="T61" fmla="*/ 851 h 878"/>
                <a:gd name="T62" fmla="*/ 165 w 1180"/>
                <a:gd name="T63" fmla="*/ 861 h 878"/>
                <a:gd name="T64" fmla="*/ 156 w 1180"/>
                <a:gd name="T65" fmla="*/ 815 h 878"/>
                <a:gd name="T66" fmla="*/ 89 w 1180"/>
                <a:gd name="T67" fmla="*/ 790 h 878"/>
                <a:gd name="T68" fmla="*/ 76 w 1180"/>
                <a:gd name="T69" fmla="*/ 754 h 878"/>
                <a:gd name="T70" fmla="*/ 53 w 1180"/>
                <a:gd name="T71" fmla="*/ 729 h 878"/>
                <a:gd name="T72" fmla="*/ 24 w 1180"/>
                <a:gd name="T73" fmla="*/ 692 h 878"/>
                <a:gd name="T74" fmla="*/ 17 w 1180"/>
                <a:gd name="T75" fmla="*/ 633 h 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80" h="878">
                  <a:moveTo>
                    <a:pt x="17" y="633"/>
                  </a:moveTo>
                  <a:cubicBezTo>
                    <a:pt x="18" y="628"/>
                    <a:pt x="20" y="625"/>
                    <a:pt x="28" y="629"/>
                  </a:cubicBezTo>
                  <a:cubicBezTo>
                    <a:pt x="31" y="630"/>
                    <a:pt x="35" y="629"/>
                    <a:pt x="38" y="627"/>
                  </a:cubicBezTo>
                  <a:cubicBezTo>
                    <a:pt x="38" y="627"/>
                    <a:pt x="38" y="627"/>
                    <a:pt x="38" y="627"/>
                  </a:cubicBezTo>
                  <a:cubicBezTo>
                    <a:pt x="54" y="634"/>
                    <a:pt x="75" y="631"/>
                    <a:pt x="85" y="617"/>
                  </a:cubicBezTo>
                  <a:cubicBezTo>
                    <a:pt x="93" y="606"/>
                    <a:pt x="105" y="605"/>
                    <a:pt x="117" y="606"/>
                  </a:cubicBezTo>
                  <a:cubicBezTo>
                    <a:pt x="151" y="604"/>
                    <a:pt x="186" y="602"/>
                    <a:pt x="221" y="604"/>
                  </a:cubicBezTo>
                  <a:cubicBezTo>
                    <a:pt x="226" y="591"/>
                    <a:pt x="241" y="603"/>
                    <a:pt x="252" y="602"/>
                  </a:cubicBezTo>
                  <a:cubicBezTo>
                    <a:pt x="263" y="608"/>
                    <a:pt x="258" y="589"/>
                    <a:pt x="269" y="587"/>
                  </a:cubicBezTo>
                  <a:cubicBezTo>
                    <a:pt x="277" y="579"/>
                    <a:pt x="292" y="579"/>
                    <a:pt x="290" y="564"/>
                  </a:cubicBezTo>
                  <a:cubicBezTo>
                    <a:pt x="298" y="550"/>
                    <a:pt x="298" y="533"/>
                    <a:pt x="312" y="523"/>
                  </a:cubicBezTo>
                  <a:cubicBezTo>
                    <a:pt x="312" y="507"/>
                    <a:pt x="312" y="491"/>
                    <a:pt x="317" y="476"/>
                  </a:cubicBezTo>
                  <a:cubicBezTo>
                    <a:pt x="320" y="424"/>
                    <a:pt x="321" y="372"/>
                    <a:pt x="324" y="320"/>
                  </a:cubicBezTo>
                  <a:cubicBezTo>
                    <a:pt x="362" y="313"/>
                    <a:pt x="399" y="306"/>
                    <a:pt x="437" y="299"/>
                  </a:cubicBezTo>
                  <a:cubicBezTo>
                    <a:pt x="478" y="265"/>
                    <a:pt x="518" y="230"/>
                    <a:pt x="559" y="196"/>
                  </a:cubicBezTo>
                  <a:cubicBezTo>
                    <a:pt x="668" y="130"/>
                    <a:pt x="778" y="64"/>
                    <a:pt x="888" y="0"/>
                  </a:cubicBezTo>
                  <a:cubicBezTo>
                    <a:pt x="888" y="0"/>
                    <a:pt x="888" y="0"/>
                    <a:pt x="888" y="0"/>
                  </a:cubicBezTo>
                  <a:cubicBezTo>
                    <a:pt x="924" y="9"/>
                    <a:pt x="960" y="16"/>
                    <a:pt x="995" y="26"/>
                  </a:cubicBezTo>
                  <a:cubicBezTo>
                    <a:pt x="1010" y="33"/>
                    <a:pt x="1020" y="46"/>
                    <a:pt x="1033" y="56"/>
                  </a:cubicBezTo>
                  <a:cubicBezTo>
                    <a:pt x="1041" y="64"/>
                    <a:pt x="1049" y="72"/>
                    <a:pt x="1059" y="62"/>
                  </a:cubicBezTo>
                  <a:cubicBezTo>
                    <a:pt x="1073" y="54"/>
                    <a:pt x="1087" y="47"/>
                    <a:pt x="1101" y="40"/>
                  </a:cubicBezTo>
                  <a:cubicBezTo>
                    <a:pt x="1105" y="59"/>
                    <a:pt x="1109" y="79"/>
                    <a:pt x="1112" y="99"/>
                  </a:cubicBezTo>
                  <a:cubicBezTo>
                    <a:pt x="1117" y="115"/>
                    <a:pt x="1114" y="133"/>
                    <a:pt x="1116" y="150"/>
                  </a:cubicBezTo>
                  <a:cubicBezTo>
                    <a:pt x="1128" y="162"/>
                    <a:pt x="1136" y="177"/>
                    <a:pt x="1146" y="191"/>
                  </a:cubicBezTo>
                  <a:cubicBezTo>
                    <a:pt x="1133" y="199"/>
                    <a:pt x="1148" y="211"/>
                    <a:pt x="1156" y="217"/>
                  </a:cubicBezTo>
                  <a:cubicBezTo>
                    <a:pt x="1164" y="226"/>
                    <a:pt x="1180" y="237"/>
                    <a:pt x="1165" y="250"/>
                  </a:cubicBezTo>
                  <a:cubicBezTo>
                    <a:pt x="1155" y="264"/>
                    <a:pt x="1154" y="281"/>
                    <a:pt x="1152" y="298"/>
                  </a:cubicBezTo>
                  <a:cubicBezTo>
                    <a:pt x="1147" y="333"/>
                    <a:pt x="1144" y="369"/>
                    <a:pt x="1142" y="405"/>
                  </a:cubicBezTo>
                  <a:cubicBezTo>
                    <a:pt x="1141" y="434"/>
                    <a:pt x="1139" y="464"/>
                    <a:pt x="1137" y="493"/>
                  </a:cubicBezTo>
                  <a:cubicBezTo>
                    <a:pt x="1109" y="524"/>
                    <a:pt x="1079" y="553"/>
                    <a:pt x="1052" y="585"/>
                  </a:cubicBezTo>
                  <a:cubicBezTo>
                    <a:pt x="1041" y="602"/>
                    <a:pt x="1029" y="619"/>
                    <a:pt x="1016" y="635"/>
                  </a:cubicBezTo>
                  <a:cubicBezTo>
                    <a:pt x="1008" y="643"/>
                    <a:pt x="1016" y="657"/>
                    <a:pt x="1004" y="662"/>
                  </a:cubicBezTo>
                  <a:cubicBezTo>
                    <a:pt x="1009" y="676"/>
                    <a:pt x="981" y="670"/>
                    <a:pt x="989" y="685"/>
                  </a:cubicBezTo>
                  <a:cubicBezTo>
                    <a:pt x="993" y="701"/>
                    <a:pt x="996" y="716"/>
                    <a:pt x="1000" y="732"/>
                  </a:cubicBezTo>
                  <a:cubicBezTo>
                    <a:pt x="988" y="731"/>
                    <a:pt x="974" y="731"/>
                    <a:pt x="969" y="745"/>
                  </a:cubicBezTo>
                  <a:cubicBezTo>
                    <a:pt x="960" y="746"/>
                    <a:pt x="946" y="744"/>
                    <a:pt x="939" y="755"/>
                  </a:cubicBezTo>
                  <a:cubicBezTo>
                    <a:pt x="932" y="765"/>
                    <a:pt x="920" y="764"/>
                    <a:pt x="916" y="777"/>
                  </a:cubicBezTo>
                  <a:cubicBezTo>
                    <a:pt x="908" y="785"/>
                    <a:pt x="893" y="775"/>
                    <a:pt x="883" y="775"/>
                  </a:cubicBezTo>
                  <a:cubicBezTo>
                    <a:pt x="870" y="765"/>
                    <a:pt x="854" y="762"/>
                    <a:pt x="839" y="758"/>
                  </a:cubicBezTo>
                  <a:cubicBezTo>
                    <a:pt x="824" y="755"/>
                    <a:pt x="810" y="761"/>
                    <a:pt x="795" y="757"/>
                  </a:cubicBezTo>
                  <a:cubicBezTo>
                    <a:pt x="780" y="754"/>
                    <a:pt x="765" y="764"/>
                    <a:pt x="750" y="763"/>
                  </a:cubicBezTo>
                  <a:cubicBezTo>
                    <a:pt x="731" y="768"/>
                    <a:pt x="718" y="783"/>
                    <a:pt x="707" y="797"/>
                  </a:cubicBezTo>
                  <a:cubicBezTo>
                    <a:pt x="693" y="803"/>
                    <a:pt x="677" y="796"/>
                    <a:pt x="662" y="796"/>
                  </a:cubicBezTo>
                  <a:cubicBezTo>
                    <a:pt x="647" y="796"/>
                    <a:pt x="633" y="790"/>
                    <a:pt x="623" y="779"/>
                  </a:cubicBezTo>
                  <a:cubicBezTo>
                    <a:pt x="606" y="778"/>
                    <a:pt x="598" y="758"/>
                    <a:pt x="579" y="759"/>
                  </a:cubicBezTo>
                  <a:cubicBezTo>
                    <a:pt x="564" y="755"/>
                    <a:pt x="553" y="770"/>
                    <a:pt x="539" y="775"/>
                  </a:cubicBezTo>
                  <a:cubicBezTo>
                    <a:pt x="531" y="775"/>
                    <a:pt x="522" y="774"/>
                    <a:pt x="517" y="783"/>
                  </a:cubicBezTo>
                  <a:cubicBezTo>
                    <a:pt x="505" y="788"/>
                    <a:pt x="495" y="777"/>
                    <a:pt x="491" y="767"/>
                  </a:cubicBezTo>
                  <a:cubicBezTo>
                    <a:pt x="486" y="755"/>
                    <a:pt x="476" y="746"/>
                    <a:pt x="467" y="737"/>
                  </a:cubicBezTo>
                  <a:cubicBezTo>
                    <a:pt x="456" y="728"/>
                    <a:pt x="442" y="736"/>
                    <a:pt x="430" y="728"/>
                  </a:cubicBezTo>
                  <a:cubicBezTo>
                    <a:pt x="417" y="724"/>
                    <a:pt x="405" y="711"/>
                    <a:pt x="392" y="718"/>
                  </a:cubicBezTo>
                  <a:cubicBezTo>
                    <a:pt x="381" y="733"/>
                    <a:pt x="361" y="724"/>
                    <a:pt x="347" y="725"/>
                  </a:cubicBezTo>
                  <a:cubicBezTo>
                    <a:pt x="337" y="729"/>
                    <a:pt x="324" y="727"/>
                    <a:pt x="317" y="737"/>
                  </a:cubicBezTo>
                  <a:cubicBezTo>
                    <a:pt x="309" y="745"/>
                    <a:pt x="293" y="747"/>
                    <a:pt x="299" y="763"/>
                  </a:cubicBezTo>
                  <a:cubicBezTo>
                    <a:pt x="299" y="777"/>
                    <a:pt x="292" y="790"/>
                    <a:pt x="283" y="801"/>
                  </a:cubicBezTo>
                  <a:cubicBezTo>
                    <a:pt x="274" y="809"/>
                    <a:pt x="257" y="813"/>
                    <a:pt x="261" y="828"/>
                  </a:cubicBezTo>
                  <a:cubicBezTo>
                    <a:pt x="260" y="843"/>
                    <a:pt x="259" y="857"/>
                    <a:pt x="258" y="870"/>
                  </a:cubicBezTo>
                  <a:cubicBezTo>
                    <a:pt x="263" y="875"/>
                    <a:pt x="260" y="878"/>
                    <a:pt x="256" y="878"/>
                  </a:cubicBezTo>
                  <a:cubicBezTo>
                    <a:pt x="252" y="877"/>
                    <a:pt x="248" y="875"/>
                    <a:pt x="248" y="870"/>
                  </a:cubicBezTo>
                  <a:cubicBezTo>
                    <a:pt x="231" y="866"/>
                    <a:pt x="227" y="848"/>
                    <a:pt x="213" y="838"/>
                  </a:cubicBezTo>
                  <a:cubicBezTo>
                    <a:pt x="207" y="828"/>
                    <a:pt x="196" y="823"/>
                    <a:pt x="187" y="833"/>
                  </a:cubicBezTo>
                  <a:cubicBezTo>
                    <a:pt x="177" y="834"/>
                    <a:pt x="159" y="836"/>
                    <a:pt x="168" y="851"/>
                  </a:cubicBezTo>
                  <a:cubicBezTo>
                    <a:pt x="173" y="854"/>
                    <a:pt x="169" y="862"/>
                    <a:pt x="166" y="862"/>
                  </a:cubicBezTo>
                  <a:cubicBezTo>
                    <a:pt x="166" y="862"/>
                    <a:pt x="165" y="862"/>
                    <a:pt x="165" y="861"/>
                  </a:cubicBezTo>
                  <a:cubicBezTo>
                    <a:pt x="158" y="852"/>
                    <a:pt x="152" y="841"/>
                    <a:pt x="145" y="832"/>
                  </a:cubicBezTo>
                  <a:cubicBezTo>
                    <a:pt x="139" y="820"/>
                    <a:pt x="166" y="828"/>
                    <a:pt x="156" y="815"/>
                  </a:cubicBezTo>
                  <a:cubicBezTo>
                    <a:pt x="155" y="802"/>
                    <a:pt x="137" y="795"/>
                    <a:pt x="129" y="808"/>
                  </a:cubicBezTo>
                  <a:cubicBezTo>
                    <a:pt x="114" y="813"/>
                    <a:pt x="100" y="801"/>
                    <a:pt x="89" y="790"/>
                  </a:cubicBezTo>
                  <a:cubicBezTo>
                    <a:pt x="83" y="781"/>
                    <a:pt x="72" y="780"/>
                    <a:pt x="66" y="772"/>
                  </a:cubicBezTo>
                  <a:cubicBezTo>
                    <a:pt x="67" y="765"/>
                    <a:pt x="64" y="744"/>
                    <a:pt x="76" y="754"/>
                  </a:cubicBezTo>
                  <a:cubicBezTo>
                    <a:pt x="82" y="754"/>
                    <a:pt x="93" y="752"/>
                    <a:pt x="81" y="748"/>
                  </a:cubicBezTo>
                  <a:cubicBezTo>
                    <a:pt x="68" y="747"/>
                    <a:pt x="68" y="729"/>
                    <a:pt x="53" y="729"/>
                  </a:cubicBezTo>
                  <a:cubicBezTo>
                    <a:pt x="49" y="725"/>
                    <a:pt x="37" y="728"/>
                    <a:pt x="39" y="719"/>
                  </a:cubicBezTo>
                  <a:cubicBezTo>
                    <a:pt x="32" y="712"/>
                    <a:pt x="26" y="702"/>
                    <a:pt x="24" y="692"/>
                  </a:cubicBezTo>
                  <a:cubicBezTo>
                    <a:pt x="36" y="676"/>
                    <a:pt x="0" y="669"/>
                    <a:pt x="15" y="652"/>
                  </a:cubicBezTo>
                  <a:cubicBezTo>
                    <a:pt x="16" y="647"/>
                    <a:pt x="15" y="638"/>
                    <a:pt x="17" y="633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75" name="Nicaragua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1964827" y="4064917"/>
              <a:ext cx="116498" cy="133762"/>
            </a:xfrm>
            <a:custGeom>
              <a:avLst/>
              <a:gdLst/>
              <a:ahLst/>
              <a:cxnLst>
                <a:cxn ang="0">
                  <a:pos x="15" y="24"/>
                </a:cxn>
                <a:cxn ang="0">
                  <a:pos x="21" y="6"/>
                </a:cxn>
                <a:cxn ang="0">
                  <a:pos x="21" y="0"/>
                </a:cxn>
                <a:cxn ang="0">
                  <a:pos x="12" y="2"/>
                </a:cxn>
                <a:cxn ang="0">
                  <a:pos x="0" y="13"/>
                </a:cxn>
                <a:cxn ang="0">
                  <a:pos x="0" y="15"/>
                </a:cxn>
                <a:cxn ang="0">
                  <a:pos x="6" y="24"/>
                </a:cxn>
                <a:cxn ang="0">
                  <a:pos x="10" y="24"/>
                </a:cxn>
                <a:cxn ang="0">
                  <a:pos x="15" y="24"/>
                </a:cxn>
              </a:cxnLst>
              <a:rect l="0" t="0" r="r" b="b"/>
              <a:pathLst>
                <a:path w="21" h="24">
                  <a:moveTo>
                    <a:pt x="15" y="24"/>
                  </a:moveTo>
                  <a:lnTo>
                    <a:pt x="21" y="6"/>
                  </a:lnTo>
                  <a:lnTo>
                    <a:pt x="21" y="0"/>
                  </a:lnTo>
                  <a:lnTo>
                    <a:pt x="12" y="2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6" y="24"/>
                  </a:lnTo>
                  <a:lnTo>
                    <a:pt x="10" y="24"/>
                  </a:lnTo>
                  <a:lnTo>
                    <a:pt x="15" y="2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76" name="New Zealand"/>
            <p:cNvGrpSpPr/>
            <p:nvPr/>
          </p:nvGrpSpPr>
          <p:grpSpPr>
            <a:xfrm>
              <a:off x="8155837" y="5670067"/>
              <a:ext cx="477085" cy="401287"/>
              <a:chOff x="8155837" y="5670067"/>
              <a:chExt cx="477085" cy="401287"/>
            </a:xfrm>
            <a:grpFill/>
          </p:grpSpPr>
          <p:sp>
            <p:nvSpPr>
              <p:cNvPr id="326" name="New Zealand"/>
              <p:cNvSpPr>
                <a:spLocks/>
              </p:cNvSpPr>
              <p:nvPr>
                <p:custDataLst>
                  <p:tags r:id="rId226"/>
                </p:custDataLst>
              </p:nvPr>
            </p:nvSpPr>
            <p:spPr bwMode="auto">
              <a:xfrm>
                <a:off x="8472045" y="5670067"/>
                <a:ext cx="160877" cy="211791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6" y="31"/>
                  </a:cxn>
                  <a:cxn ang="0">
                    <a:pos x="0" y="38"/>
                  </a:cxn>
                  <a:cxn ang="0">
                    <a:pos x="2" y="38"/>
                  </a:cxn>
                  <a:cxn ang="0">
                    <a:pos x="16" y="27"/>
                  </a:cxn>
                  <a:cxn ang="0">
                    <a:pos x="23" y="22"/>
                  </a:cxn>
                  <a:cxn ang="0">
                    <a:pos x="29" y="18"/>
                  </a:cxn>
                  <a:cxn ang="0">
                    <a:pos x="25" y="18"/>
                  </a:cxn>
                  <a:cxn ang="0">
                    <a:pos x="18" y="20"/>
                  </a:cxn>
                  <a:cxn ang="0">
                    <a:pos x="16" y="18"/>
                  </a:cxn>
                  <a:cxn ang="0">
                    <a:pos x="18" y="11"/>
                  </a:cxn>
                  <a:cxn ang="0">
                    <a:pos x="16" y="11"/>
                  </a:cxn>
                  <a:cxn ang="0">
                    <a:pos x="16" y="13"/>
                  </a:cxn>
                  <a:cxn ang="0">
                    <a:pos x="14" y="13"/>
                  </a:cxn>
                  <a:cxn ang="0">
                    <a:pos x="16" y="4"/>
                  </a:cxn>
                  <a:cxn ang="0">
                    <a:pos x="16" y="2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13"/>
                  </a:cxn>
                  <a:cxn ang="0">
                    <a:pos x="14" y="13"/>
                  </a:cxn>
                  <a:cxn ang="0">
                    <a:pos x="6" y="22"/>
                  </a:cxn>
                  <a:cxn ang="0">
                    <a:pos x="2" y="25"/>
                  </a:cxn>
                  <a:cxn ang="0">
                    <a:pos x="0" y="27"/>
                  </a:cxn>
                </a:cxnLst>
                <a:rect l="0" t="0" r="r" b="b"/>
                <a:pathLst>
                  <a:path w="29" h="38">
                    <a:moveTo>
                      <a:pt x="0" y="27"/>
                    </a:moveTo>
                    <a:lnTo>
                      <a:pt x="6" y="31"/>
                    </a:lnTo>
                    <a:lnTo>
                      <a:pt x="0" y="38"/>
                    </a:lnTo>
                    <a:lnTo>
                      <a:pt x="2" y="38"/>
                    </a:lnTo>
                    <a:lnTo>
                      <a:pt x="16" y="27"/>
                    </a:lnTo>
                    <a:lnTo>
                      <a:pt x="23" y="22"/>
                    </a:lnTo>
                    <a:lnTo>
                      <a:pt x="29" y="18"/>
                    </a:lnTo>
                    <a:lnTo>
                      <a:pt x="25" y="18"/>
                    </a:lnTo>
                    <a:lnTo>
                      <a:pt x="18" y="20"/>
                    </a:lnTo>
                    <a:lnTo>
                      <a:pt x="16" y="18"/>
                    </a:lnTo>
                    <a:lnTo>
                      <a:pt x="18" y="11"/>
                    </a:lnTo>
                    <a:lnTo>
                      <a:pt x="16" y="11"/>
                    </a:lnTo>
                    <a:lnTo>
                      <a:pt x="16" y="13"/>
                    </a:lnTo>
                    <a:lnTo>
                      <a:pt x="14" y="13"/>
                    </a:lnTo>
                    <a:lnTo>
                      <a:pt x="16" y="4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13"/>
                    </a:lnTo>
                    <a:lnTo>
                      <a:pt x="14" y="13"/>
                    </a:lnTo>
                    <a:lnTo>
                      <a:pt x="6" y="22"/>
                    </a:lnTo>
                    <a:lnTo>
                      <a:pt x="2" y="25"/>
                    </a:lnTo>
                    <a:lnTo>
                      <a:pt x="0" y="27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27" name="New Zealand"/>
              <p:cNvSpPr>
                <a:spLocks/>
              </p:cNvSpPr>
              <p:nvPr>
                <p:custDataLst>
                  <p:tags r:id="rId227"/>
                </p:custDataLst>
              </p:nvPr>
            </p:nvSpPr>
            <p:spPr bwMode="auto">
              <a:xfrm>
                <a:off x="8166933" y="5870710"/>
                <a:ext cx="294018" cy="189497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5" y="29"/>
                  </a:cxn>
                  <a:cxn ang="0">
                    <a:pos x="5" y="34"/>
                  </a:cxn>
                  <a:cxn ang="0">
                    <a:pos x="7" y="34"/>
                  </a:cxn>
                  <a:cxn ang="0">
                    <a:pos x="15" y="29"/>
                  </a:cxn>
                  <a:cxn ang="0">
                    <a:pos x="25" y="20"/>
                  </a:cxn>
                  <a:cxn ang="0">
                    <a:pos x="38" y="18"/>
                  </a:cxn>
                  <a:cxn ang="0">
                    <a:pos x="38" y="11"/>
                  </a:cxn>
                  <a:cxn ang="0">
                    <a:pos x="48" y="7"/>
                  </a:cxn>
                  <a:cxn ang="0">
                    <a:pos x="53" y="2"/>
                  </a:cxn>
                  <a:cxn ang="0">
                    <a:pos x="48" y="2"/>
                  </a:cxn>
                  <a:cxn ang="0">
                    <a:pos x="53" y="0"/>
                  </a:cxn>
                  <a:cxn ang="0">
                    <a:pos x="46" y="2"/>
                  </a:cxn>
                  <a:cxn ang="0">
                    <a:pos x="46" y="0"/>
                  </a:cxn>
                  <a:cxn ang="0">
                    <a:pos x="44" y="0"/>
                  </a:cxn>
                  <a:cxn ang="0">
                    <a:pos x="32" y="11"/>
                  </a:cxn>
                  <a:cxn ang="0">
                    <a:pos x="15" y="18"/>
                  </a:cxn>
                  <a:cxn ang="0">
                    <a:pos x="7" y="25"/>
                  </a:cxn>
                  <a:cxn ang="0">
                    <a:pos x="0" y="29"/>
                  </a:cxn>
                </a:cxnLst>
                <a:rect l="0" t="0" r="r" b="b"/>
                <a:pathLst>
                  <a:path w="53" h="34">
                    <a:moveTo>
                      <a:pt x="0" y="29"/>
                    </a:moveTo>
                    <a:lnTo>
                      <a:pt x="5" y="29"/>
                    </a:lnTo>
                    <a:lnTo>
                      <a:pt x="5" y="34"/>
                    </a:lnTo>
                    <a:lnTo>
                      <a:pt x="7" y="34"/>
                    </a:lnTo>
                    <a:lnTo>
                      <a:pt x="15" y="29"/>
                    </a:lnTo>
                    <a:lnTo>
                      <a:pt x="25" y="20"/>
                    </a:lnTo>
                    <a:lnTo>
                      <a:pt x="38" y="18"/>
                    </a:lnTo>
                    <a:lnTo>
                      <a:pt x="38" y="11"/>
                    </a:lnTo>
                    <a:lnTo>
                      <a:pt x="48" y="7"/>
                    </a:lnTo>
                    <a:lnTo>
                      <a:pt x="53" y="2"/>
                    </a:lnTo>
                    <a:lnTo>
                      <a:pt x="48" y="2"/>
                    </a:lnTo>
                    <a:lnTo>
                      <a:pt x="53" y="0"/>
                    </a:lnTo>
                    <a:lnTo>
                      <a:pt x="46" y="2"/>
                    </a:lnTo>
                    <a:lnTo>
                      <a:pt x="46" y="0"/>
                    </a:lnTo>
                    <a:lnTo>
                      <a:pt x="44" y="0"/>
                    </a:lnTo>
                    <a:lnTo>
                      <a:pt x="32" y="11"/>
                    </a:lnTo>
                    <a:lnTo>
                      <a:pt x="15" y="18"/>
                    </a:lnTo>
                    <a:lnTo>
                      <a:pt x="7" y="25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28" name="New Zealand"/>
              <p:cNvSpPr>
                <a:spLocks/>
              </p:cNvSpPr>
              <p:nvPr>
                <p:custDataLst>
                  <p:tags r:id="rId228"/>
                </p:custDataLst>
              </p:nvPr>
            </p:nvSpPr>
            <p:spPr bwMode="auto">
              <a:xfrm>
                <a:off x="8155837" y="6060207"/>
                <a:ext cx="38833" cy="1114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7" y="2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7" h="2">
                    <a:moveTo>
                      <a:pt x="0" y="2"/>
                    </a:moveTo>
                    <a:lnTo>
                      <a:pt x="7" y="2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77" name="Netherlands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4361347" y="2833187"/>
              <a:ext cx="94308" cy="89175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4" y="4"/>
                </a:cxn>
                <a:cxn ang="0">
                  <a:pos x="4" y="7"/>
                </a:cxn>
                <a:cxn ang="0">
                  <a:pos x="8" y="7"/>
                </a:cxn>
                <a:cxn ang="0">
                  <a:pos x="10" y="7"/>
                </a:cxn>
                <a:cxn ang="0">
                  <a:pos x="8" y="4"/>
                </a:cxn>
                <a:cxn ang="0">
                  <a:pos x="17" y="0"/>
                </a:cxn>
                <a:cxn ang="0">
                  <a:pos x="12" y="7"/>
                </a:cxn>
                <a:cxn ang="0">
                  <a:pos x="10" y="11"/>
                </a:cxn>
                <a:cxn ang="0">
                  <a:pos x="10" y="16"/>
                </a:cxn>
                <a:cxn ang="0">
                  <a:pos x="4" y="13"/>
                </a:cxn>
                <a:cxn ang="0">
                  <a:pos x="2" y="13"/>
                </a:cxn>
                <a:cxn ang="0">
                  <a:pos x="0" y="13"/>
                </a:cxn>
              </a:cxnLst>
              <a:rect l="0" t="0" r="r" b="b"/>
              <a:pathLst>
                <a:path w="17" h="16">
                  <a:moveTo>
                    <a:pt x="0" y="13"/>
                  </a:moveTo>
                  <a:lnTo>
                    <a:pt x="4" y="4"/>
                  </a:lnTo>
                  <a:lnTo>
                    <a:pt x="4" y="7"/>
                  </a:lnTo>
                  <a:lnTo>
                    <a:pt x="8" y="7"/>
                  </a:lnTo>
                  <a:lnTo>
                    <a:pt x="10" y="7"/>
                  </a:lnTo>
                  <a:lnTo>
                    <a:pt x="8" y="4"/>
                  </a:lnTo>
                  <a:lnTo>
                    <a:pt x="17" y="0"/>
                  </a:lnTo>
                  <a:lnTo>
                    <a:pt x="12" y="7"/>
                  </a:lnTo>
                  <a:lnTo>
                    <a:pt x="10" y="11"/>
                  </a:lnTo>
                  <a:lnTo>
                    <a:pt x="10" y="16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78" name="Nepal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6269687" y="3585601"/>
              <a:ext cx="221900" cy="128190"/>
            </a:xfrm>
            <a:custGeom>
              <a:avLst/>
              <a:gdLst/>
              <a:ahLst/>
              <a:cxnLst>
                <a:cxn ang="0">
                  <a:pos x="38" y="18"/>
                </a:cxn>
                <a:cxn ang="0">
                  <a:pos x="38" y="14"/>
                </a:cxn>
                <a:cxn ang="0">
                  <a:pos x="29" y="14"/>
                </a:cxn>
                <a:cxn ang="0">
                  <a:pos x="17" y="2"/>
                </a:cxn>
                <a:cxn ang="0">
                  <a:pos x="15" y="7"/>
                </a:cxn>
                <a:cxn ang="0">
                  <a:pos x="9" y="0"/>
                </a:cxn>
                <a:cxn ang="0">
                  <a:pos x="2" y="0"/>
                </a:cxn>
                <a:cxn ang="0">
                  <a:pos x="0" y="7"/>
                </a:cxn>
                <a:cxn ang="0">
                  <a:pos x="15" y="16"/>
                </a:cxn>
                <a:cxn ang="0">
                  <a:pos x="21" y="16"/>
                </a:cxn>
                <a:cxn ang="0">
                  <a:pos x="25" y="18"/>
                </a:cxn>
                <a:cxn ang="0">
                  <a:pos x="34" y="23"/>
                </a:cxn>
                <a:cxn ang="0">
                  <a:pos x="40" y="23"/>
                </a:cxn>
                <a:cxn ang="0">
                  <a:pos x="38" y="20"/>
                </a:cxn>
                <a:cxn ang="0">
                  <a:pos x="38" y="18"/>
                </a:cxn>
              </a:cxnLst>
              <a:rect l="0" t="0" r="r" b="b"/>
              <a:pathLst>
                <a:path w="40" h="23">
                  <a:moveTo>
                    <a:pt x="38" y="18"/>
                  </a:moveTo>
                  <a:lnTo>
                    <a:pt x="38" y="14"/>
                  </a:lnTo>
                  <a:lnTo>
                    <a:pt x="29" y="14"/>
                  </a:lnTo>
                  <a:lnTo>
                    <a:pt x="17" y="2"/>
                  </a:lnTo>
                  <a:lnTo>
                    <a:pt x="15" y="7"/>
                  </a:lnTo>
                  <a:lnTo>
                    <a:pt x="9" y="0"/>
                  </a:lnTo>
                  <a:lnTo>
                    <a:pt x="2" y="0"/>
                  </a:lnTo>
                  <a:lnTo>
                    <a:pt x="0" y="7"/>
                  </a:lnTo>
                  <a:lnTo>
                    <a:pt x="15" y="16"/>
                  </a:lnTo>
                  <a:lnTo>
                    <a:pt x="21" y="16"/>
                  </a:lnTo>
                  <a:lnTo>
                    <a:pt x="25" y="18"/>
                  </a:lnTo>
                  <a:lnTo>
                    <a:pt x="34" y="23"/>
                  </a:lnTo>
                  <a:lnTo>
                    <a:pt x="40" y="23"/>
                  </a:lnTo>
                  <a:lnTo>
                    <a:pt x="38" y="20"/>
                  </a:lnTo>
                  <a:lnTo>
                    <a:pt x="38" y="1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79" name="Namibia"/>
            <p:cNvSpPr>
              <a:spLocks/>
            </p:cNvSpPr>
            <p:nvPr/>
          </p:nvSpPr>
          <p:spPr bwMode="auto">
            <a:xfrm>
              <a:off x="4538060" y="5105494"/>
              <a:ext cx="360781" cy="387212"/>
            </a:xfrm>
            <a:custGeom>
              <a:avLst/>
              <a:gdLst>
                <a:gd name="T0" fmla="*/ 12 w 992"/>
                <a:gd name="T1" fmla="*/ 25 h 898"/>
                <a:gd name="T2" fmla="*/ 50 w 992"/>
                <a:gd name="T3" fmla="*/ 21 h 898"/>
                <a:gd name="T4" fmla="*/ 139 w 992"/>
                <a:gd name="T5" fmla="*/ 12 h 898"/>
                <a:gd name="T6" fmla="*/ 214 w 992"/>
                <a:gd name="T7" fmla="*/ 33 h 898"/>
                <a:gd name="T8" fmla="*/ 501 w 992"/>
                <a:gd name="T9" fmla="*/ 38 h 898"/>
                <a:gd name="T10" fmla="*/ 574 w 992"/>
                <a:gd name="T11" fmla="*/ 70 h 898"/>
                <a:gd name="T12" fmla="*/ 666 w 992"/>
                <a:gd name="T13" fmla="*/ 81 h 898"/>
                <a:gd name="T14" fmla="*/ 864 w 992"/>
                <a:gd name="T15" fmla="*/ 55 h 898"/>
                <a:gd name="T16" fmla="*/ 905 w 992"/>
                <a:gd name="T17" fmla="*/ 47 h 898"/>
                <a:gd name="T18" fmla="*/ 986 w 992"/>
                <a:gd name="T19" fmla="*/ 63 h 898"/>
                <a:gd name="T20" fmla="*/ 985 w 992"/>
                <a:gd name="T21" fmla="*/ 69 h 898"/>
                <a:gd name="T22" fmla="*/ 933 w 992"/>
                <a:gd name="T23" fmla="*/ 81 h 898"/>
                <a:gd name="T24" fmla="*/ 868 w 992"/>
                <a:gd name="T25" fmla="*/ 110 h 898"/>
                <a:gd name="T26" fmla="*/ 799 w 992"/>
                <a:gd name="T27" fmla="*/ 89 h 898"/>
                <a:gd name="T28" fmla="*/ 682 w 992"/>
                <a:gd name="T29" fmla="*/ 119 h 898"/>
                <a:gd name="T30" fmla="*/ 680 w 992"/>
                <a:gd name="T31" fmla="*/ 230 h 898"/>
                <a:gd name="T32" fmla="*/ 604 w 992"/>
                <a:gd name="T33" fmla="*/ 378 h 898"/>
                <a:gd name="T34" fmla="*/ 600 w 992"/>
                <a:gd name="T35" fmla="*/ 582 h 898"/>
                <a:gd name="T36" fmla="*/ 598 w 992"/>
                <a:gd name="T37" fmla="*/ 600 h 898"/>
                <a:gd name="T38" fmla="*/ 590 w 992"/>
                <a:gd name="T39" fmla="*/ 851 h 898"/>
                <a:gd name="T40" fmla="*/ 539 w 992"/>
                <a:gd name="T41" fmla="*/ 887 h 898"/>
                <a:gd name="T42" fmla="*/ 463 w 992"/>
                <a:gd name="T43" fmla="*/ 886 h 898"/>
                <a:gd name="T44" fmla="*/ 412 w 992"/>
                <a:gd name="T45" fmla="*/ 863 h 898"/>
                <a:gd name="T46" fmla="*/ 385 w 992"/>
                <a:gd name="T47" fmla="*/ 823 h 898"/>
                <a:gd name="T48" fmla="*/ 351 w 992"/>
                <a:gd name="T49" fmla="*/ 861 h 898"/>
                <a:gd name="T50" fmla="*/ 343 w 992"/>
                <a:gd name="T51" fmla="*/ 867 h 898"/>
                <a:gd name="T52" fmla="*/ 316 w 992"/>
                <a:gd name="T53" fmla="*/ 846 h 898"/>
                <a:gd name="T54" fmla="*/ 282 w 992"/>
                <a:gd name="T55" fmla="*/ 805 h 898"/>
                <a:gd name="T56" fmla="*/ 255 w 992"/>
                <a:gd name="T57" fmla="*/ 748 h 898"/>
                <a:gd name="T58" fmla="*/ 241 w 992"/>
                <a:gd name="T59" fmla="*/ 697 h 898"/>
                <a:gd name="T60" fmla="*/ 236 w 992"/>
                <a:gd name="T61" fmla="*/ 670 h 898"/>
                <a:gd name="T62" fmla="*/ 230 w 992"/>
                <a:gd name="T63" fmla="*/ 602 h 898"/>
                <a:gd name="T64" fmla="*/ 205 w 992"/>
                <a:gd name="T65" fmla="*/ 546 h 898"/>
                <a:gd name="T66" fmla="*/ 202 w 992"/>
                <a:gd name="T67" fmla="*/ 466 h 898"/>
                <a:gd name="T68" fmla="*/ 191 w 992"/>
                <a:gd name="T69" fmla="*/ 397 h 898"/>
                <a:gd name="T70" fmla="*/ 159 w 992"/>
                <a:gd name="T71" fmla="*/ 346 h 898"/>
                <a:gd name="T72" fmla="*/ 119 w 992"/>
                <a:gd name="T73" fmla="*/ 279 h 898"/>
                <a:gd name="T74" fmla="*/ 102 w 992"/>
                <a:gd name="T75" fmla="*/ 244 h 898"/>
                <a:gd name="T76" fmla="*/ 77 w 992"/>
                <a:gd name="T77" fmla="*/ 196 h 898"/>
                <a:gd name="T78" fmla="*/ 58 w 992"/>
                <a:gd name="T79" fmla="*/ 164 h 898"/>
                <a:gd name="T80" fmla="*/ 35 w 992"/>
                <a:gd name="T81" fmla="*/ 133 h 898"/>
                <a:gd name="T82" fmla="*/ 8 w 992"/>
                <a:gd name="T83" fmla="*/ 96 h 898"/>
                <a:gd name="T84" fmla="*/ 1 w 992"/>
                <a:gd name="T85" fmla="*/ 51 h 898"/>
                <a:gd name="T86" fmla="*/ 2 w 992"/>
                <a:gd name="T87" fmla="*/ 24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92" h="898">
                  <a:moveTo>
                    <a:pt x="2" y="24"/>
                  </a:moveTo>
                  <a:cubicBezTo>
                    <a:pt x="12" y="25"/>
                    <a:pt x="12" y="25"/>
                    <a:pt x="12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25" y="15"/>
                    <a:pt x="34" y="15"/>
                    <a:pt x="50" y="21"/>
                  </a:cubicBezTo>
                  <a:cubicBezTo>
                    <a:pt x="67" y="26"/>
                    <a:pt x="82" y="14"/>
                    <a:pt x="98" y="5"/>
                  </a:cubicBezTo>
                  <a:cubicBezTo>
                    <a:pt x="111" y="1"/>
                    <a:pt x="128" y="0"/>
                    <a:pt x="139" y="12"/>
                  </a:cubicBezTo>
                  <a:cubicBezTo>
                    <a:pt x="147" y="24"/>
                    <a:pt x="163" y="27"/>
                    <a:pt x="174" y="36"/>
                  </a:cubicBezTo>
                  <a:cubicBezTo>
                    <a:pt x="188" y="36"/>
                    <a:pt x="200" y="31"/>
                    <a:pt x="214" y="33"/>
                  </a:cubicBezTo>
                  <a:cubicBezTo>
                    <a:pt x="298" y="33"/>
                    <a:pt x="382" y="34"/>
                    <a:pt x="467" y="34"/>
                  </a:cubicBezTo>
                  <a:cubicBezTo>
                    <a:pt x="478" y="35"/>
                    <a:pt x="492" y="29"/>
                    <a:pt x="501" y="38"/>
                  </a:cubicBezTo>
                  <a:cubicBezTo>
                    <a:pt x="509" y="49"/>
                    <a:pt x="518" y="61"/>
                    <a:pt x="532" y="65"/>
                  </a:cubicBezTo>
                  <a:cubicBezTo>
                    <a:pt x="546" y="67"/>
                    <a:pt x="560" y="65"/>
                    <a:pt x="574" y="70"/>
                  </a:cubicBezTo>
                  <a:cubicBezTo>
                    <a:pt x="591" y="68"/>
                    <a:pt x="608" y="72"/>
                    <a:pt x="625" y="72"/>
                  </a:cubicBezTo>
                  <a:cubicBezTo>
                    <a:pt x="640" y="66"/>
                    <a:pt x="651" y="82"/>
                    <a:pt x="666" y="81"/>
                  </a:cubicBezTo>
                  <a:cubicBezTo>
                    <a:pt x="680" y="83"/>
                    <a:pt x="698" y="68"/>
                    <a:pt x="711" y="82"/>
                  </a:cubicBezTo>
                  <a:cubicBezTo>
                    <a:pt x="762" y="73"/>
                    <a:pt x="813" y="64"/>
                    <a:pt x="864" y="55"/>
                  </a:cubicBezTo>
                  <a:cubicBezTo>
                    <a:pt x="864" y="53"/>
                    <a:pt x="864" y="53"/>
                    <a:pt x="864" y="53"/>
                  </a:cubicBezTo>
                  <a:cubicBezTo>
                    <a:pt x="878" y="55"/>
                    <a:pt x="892" y="48"/>
                    <a:pt x="905" y="47"/>
                  </a:cubicBezTo>
                  <a:cubicBezTo>
                    <a:pt x="921" y="41"/>
                    <a:pt x="937" y="48"/>
                    <a:pt x="951" y="46"/>
                  </a:cubicBezTo>
                  <a:cubicBezTo>
                    <a:pt x="965" y="46"/>
                    <a:pt x="978" y="52"/>
                    <a:pt x="986" y="63"/>
                  </a:cubicBezTo>
                  <a:cubicBezTo>
                    <a:pt x="990" y="68"/>
                    <a:pt x="992" y="69"/>
                    <a:pt x="992" y="69"/>
                  </a:cubicBezTo>
                  <a:cubicBezTo>
                    <a:pt x="992" y="69"/>
                    <a:pt x="988" y="67"/>
                    <a:pt x="985" y="69"/>
                  </a:cubicBezTo>
                  <a:cubicBezTo>
                    <a:pt x="974" y="72"/>
                    <a:pt x="961" y="68"/>
                    <a:pt x="952" y="78"/>
                  </a:cubicBezTo>
                  <a:cubicBezTo>
                    <a:pt x="947" y="85"/>
                    <a:pt x="936" y="93"/>
                    <a:pt x="933" y="81"/>
                  </a:cubicBezTo>
                  <a:cubicBezTo>
                    <a:pt x="919" y="81"/>
                    <a:pt x="908" y="92"/>
                    <a:pt x="895" y="99"/>
                  </a:cubicBezTo>
                  <a:cubicBezTo>
                    <a:pt x="889" y="105"/>
                    <a:pt x="871" y="129"/>
                    <a:pt x="868" y="110"/>
                  </a:cubicBezTo>
                  <a:cubicBezTo>
                    <a:pt x="867" y="98"/>
                    <a:pt x="853" y="95"/>
                    <a:pt x="851" y="84"/>
                  </a:cubicBezTo>
                  <a:cubicBezTo>
                    <a:pt x="834" y="79"/>
                    <a:pt x="816" y="88"/>
                    <a:pt x="799" y="89"/>
                  </a:cubicBezTo>
                  <a:cubicBezTo>
                    <a:pt x="769" y="94"/>
                    <a:pt x="740" y="101"/>
                    <a:pt x="710" y="104"/>
                  </a:cubicBezTo>
                  <a:cubicBezTo>
                    <a:pt x="698" y="105"/>
                    <a:pt x="676" y="99"/>
                    <a:pt x="682" y="119"/>
                  </a:cubicBezTo>
                  <a:cubicBezTo>
                    <a:pt x="681" y="156"/>
                    <a:pt x="680" y="193"/>
                    <a:pt x="679" y="230"/>
                  </a:cubicBezTo>
                  <a:cubicBezTo>
                    <a:pt x="680" y="230"/>
                    <a:pt x="680" y="230"/>
                    <a:pt x="680" y="230"/>
                  </a:cubicBezTo>
                  <a:cubicBezTo>
                    <a:pt x="678" y="280"/>
                    <a:pt x="677" y="329"/>
                    <a:pt x="675" y="379"/>
                  </a:cubicBezTo>
                  <a:cubicBezTo>
                    <a:pt x="652" y="379"/>
                    <a:pt x="628" y="378"/>
                    <a:pt x="604" y="378"/>
                  </a:cubicBezTo>
                  <a:cubicBezTo>
                    <a:pt x="602" y="435"/>
                    <a:pt x="601" y="493"/>
                    <a:pt x="599" y="550"/>
                  </a:cubicBezTo>
                  <a:cubicBezTo>
                    <a:pt x="599" y="560"/>
                    <a:pt x="597" y="573"/>
                    <a:pt x="600" y="582"/>
                  </a:cubicBezTo>
                  <a:cubicBezTo>
                    <a:pt x="598" y="583"/>
                    <a:pt x="598" y="583"/>
                    <a:pt x="598" y="583"/>
                  </a:cubicBezTo>
                  <a:cubicBezTo>
                    <a:pt x="598" y="589"/>
                    <a:pt x="598" y="595"/>
                    <a:pt x="598" y="600"/>
                  </a:cubicBezTo>
                  <a:cubicBezTo>
                    <a:pt x="598" y="600"/>
                    <a:pt x="598" y="600"/>
                    <a:pt x="598" y="600"/>
                  </a:cubicBezTo>
                  <a:cubicBezTo>
                    <a:pt x="595" y="684"/>
                    <a:pt x="593" y="768"/>
                    <a:pt x="590" y="851"/>
                  </a:cubicBezTo>
                  <a:cubicBezTo>
                    <a:pt x="576" y="858"/>
                    <a:pt x="557" y="857"/>
                    <a:pt x="551" y="873"/>
                  </a:cubicBezTo>
                  <a:cubicBezTo>
                    <a:pt x="542" y="873"/>
                    <a:pt x="534" y="878"/>
                    <a:pt x="539" y="887"/>
                  </a:cubicBezTo>
                  <a:cubicBezTo>
                    <a:pt x="525" y="898"/>
                    <a:pt x="514" y="878"/>
                    <a:pt x="498" y="882"/>
                  </a:cubicBezTo>
                  <a:cubicBezTo>
                    <a:pt x="487" y="886"/>
                    <a:pt x="475" y="886"/>
                    <a:pt x="463" y="886"/>
                  </a:cubicBezTo>
                  <a:cubicBezTo>
                    <a:pt x="451" y="881"/>
                    <a:pt x="440" y="873"/>
                    <a:pt x="427" y="876"/>
                  </a:cubicBezTo>
                  <a:cubicBezTo>
                    <a:pt x="425" y="866"/>
                    <a:pt x="407" y="877"/>
                    <a:pt x="412" y="863"/>
                  </a:cubicBezTo>
                  <a:cubicBezTo>
                    <a:pt x="401" y="855"/>
                    <a:pt x="419" y="845"/>
                    <a:pt x="407" y="837"/>
                  </a:cubicBezTo>
                  <a:cubicBezTo>
                    <a:pt x="394" y="842"/>
                    <a:pt x="400" y="818"/>
                    <a:pt x="385" y="823"/>
                  </a:cubicBezTo>
                  <a:cubicBezTo>
                    <a:pt x="376" y="825"/>
                    <a:pt x="372" y="837"/>
                    <a:pt x="370" y="844"/>
                  </a:cubicBezTo>
                  <a:cubicBezTo>
                    <a:pt x="373" y="856"/>
                    <a:pt x="357" y="853"/>
                    <a:pt x="351" y="861"/>
                  </a:cubicBezTo>
                  <a:cubicBezTo>
                    <a:pt x="343" y="866"/>
                    <a:pt x="343" y="866"/>
                    <a:pt x="343" y="866"/>
                  </a:cubicBezTo>
                  <a:cubicBezTo>
                    <a:pt x="343" y="867"/>
                    <a:pt x="343" y="867"/>
                    <a:pt x="343" y="867"/>
                  </a:cubicBezTo>
                  <a:cubicBezTo>
                    <a:pt x="341" y="866"/>
                    <a:pt x="339" y="866"/>
                    <a:pt x="337" y="867"/>
                  </a:cubicBezTo>
                  <a:cubicBezTo>
                    <a:pt x="329" y="860"/>
                    <a:pt x="323" y="852"/>
                    <a:pt x="316" y="846"/>
                  </a:cubicBezTo>
                  <a:cubicBezTo>
                    <a:pt x="310" y="842"/>
                    <a:pt x="304" y="838"/>
                    <a:pt x="299" y="833"/>
                  </a:cubicBezTo>
                  <a:cubicBezTo>
                    <a:pt x="291" y="825"/>
                    <a:pt x="288" y="814"/>
                    <a:pt x="282" y="805"/>
                  </a:cubicBezTo>
                  <a:cubicBezTo>
                    <a:pt x="275" y="795"/>
                    <a:pt x="268" y="786"/>
                    <a:pt x="260" y="777"/>
                  </a:cubicBezTo>
                  <a:cubicBezTo>
                    <a:pt x="257" y="767"/>
                    <a:pt x="257" y="757"/>
                    <a:pt x="255" y="748"/>
                  </a:cubicBezTo>
                  <a:cubicBezTo>
                    <a:pt x="251" y="739"/>
                    <a:pt x="250" y="731"/>
                    <a:pt x="249" y="722"/>
                  </a:cubicBezTo>
                  <a:cubicBezTo>
                    <a:pt x="249" y="713"/>
                    <a:pt x="245" y="705"/>
                    <a:pt x="241" y="697"/>
                  </a:cubicBezTo>
                  <a:cubicBezTo>
                    <a:pt x="240" y="693"/>
                    <a:pt x="242" y="689"/>
                    <a:pt x="242" y="685"/>
                  </a:cubicBezTo>
                  <a:cubicBezTo>
                    <a:pt x="241" y="680"/>
                    <a:pt x="238" y="674"/>
                    <a:pt x="236" y="670"/>
                  </a:cubicBezTo>
                  <a:cubicBezTo>
                    <a:pt x="230" y="659"/>
                    <a:pt x="230" y="647"/>
                    <a:pt x="230" y="635"/>
                  </a:cubicBezTo>
                  <a:cubicBezTo>
                    <a:pt x="228" y="624"/>
                    <a:pt x="233" y="613"/>
                    <a:pt x="230" y="602"/>
                  </a:cubicBezTo>
                  <a:cubicBezTo>
                    <a:pt x="227" y="590"/>
                    <a:pt x="218" y="580"/>
                    <a:pt x="214" y="568"/>
                  </a:cubicBezTo>
                  <a:cubicBezTo>
                    <a:pt x="213" y="560"/>
                    <a:pt x="207" y="553"/>
                    <a:pt x="205" y="546"/>
                  </a:cubicBezTo>
                  <a:cubicBezTo>
                    <a:pt x="202" y="536"/>
                    <a:pt x="204" y="526"/>
                    <a:pt x="204" y="516"/>
                  </a:cubicBezTo>
                  <a:cubicBezTo>
                    <a:pt x="203" y="499"/>
                    <a:pt x="204" y="483"/>
                    <a:pt x="202" y="466"/>
                  </a:cubicBezTo>
                  <a:cubicBezTo>
                    <a:pt x="204" y="454"/>
                    <a:pt x="206" y="441"/>
                    <a:pt x="203" y="429"/>
                  </a:cubicBezTo>
                  <a:cubicBezTo>
                    <a:pt x="202" y="417"/>
                    <a:pt x="196" y="407"/>
                    <a:pt x="191" y="397"/>
                  </a:cubicBezTo>
                  <a:cubicBezTo>
                    <a:pt x="183" y="386"/>
                    <a:pt x="174" y="376"/>
                    <a:pt x="165" y="365"/>
                  </a:cubicBezTo>
                  <a:cubicBezTo>
                    <a:pt x="162" y="359"/>
                    <a:pt x="158" y="353"/>
                    <a:pt x="159" y="346"/>
                  </a:cubicBezTo>
                  <a:cubicBezTo>
                    <a:pt x="150" y="336"/>
                    <a:pt x="142" y="326"/>
                    <a:pt x="137" y="314"/>
                  </a:cubicBezTo>
                  <a:cubicBezTo>
                    <a:pt x="130" y="303"/>
                    <a:pt x="123" y="292"/>
                    <a:pt x="119" y="279"/>
                  </a:cubicBezTo>
                  <a:cubicBezTo>
                    <a:pt x="119" y="273"/>
                    <a:pt x="113" y="269"/>
                    <a:pt x="112" y="262"/>
                  </a:cubicBezTo>
                  <a:cubicBezTo>
                    <a:pt x="112" y="255"/>
                    <a:pt x="106" y="249"/>
                    <a:pt x="102" y="244"/>
                  </a:cubicBezTo>
                  <a:cubicBezTo>
                    <a:pt x="98" y="235"/>
                    <a:pt x="92" y="228"/>
                    <a:pt x="88" y="220"/>
                  </a:cubicBezTo>
                  <a:cubicBezTo>
                    <a:pt x="86" y="211"/>
                    <a:pt x="79" y="204"/>
                    <a:pt x="77" y="196"/>
                  </a:cubicBezTo>
                  <a:cubicBezTo>
                    <a:pt x="77" y="189"/>
                    <a:pt x="70" y="186"/>
                    <a:pt x="67" y="180"/>
                  </a:cubicBezTo>
                  <a:cubicBezTo>
                    <a:pt x="62" y="176"/>
                    <a:pt x="64" y="168"/>
                    <a:pt x="58" y="164"/>
                  </a:cubicBezTo>
                  <a:cubicBezTo>
                    <a:pt x="53" y="160"/>
                    <a:pt x="50" y="154"/>
                    <a:pt x="48" y="148"/>
                  </a:cubicBezTo>
                  <a:cubicBezTo>
                    <a:pt x="44" y="143"/>
                    <a:pt x="41" y="137"/>
                    <a:pt x="35" y="133"/>
                  </a:cubicBezTo>
                  <a:cubicBezTo>
                    <a:pt x="32" y="130"/>
                    <a:pt x="28" y="129"/>
                    <a:pt x="26" y="125"/>
                  </a:cubicBezTo>
                  <a:cubicBezTo>
                    <a:pt x="18" y="117"/>
                    <a:pt x="14" y="106"/>
                    <a:pt x="8" y="96"/>
                  </a:cubicBezTo>
                  <a:cubicBezTo>
                    <a:pt x="4" y="91"/>
                    <a:pt x="6" y="85"/>
                    <a:pt x="5" y="79"/>
                  </a:cubicBezTo>
                  <a:cubicBezTo>
                    <a:pt x="1" y="70"/>
                    <a:pt x="0" y="60"/>
                    <a:pt x="1" y="51"/>
                  </a:cubicBezTo>
                  <a:cubicBezTo>
                    <a:pt x="0" y="42"/>
                    <a:pt x="2" y="33"/>
                    <a:pt x="1" y="24"/>
                  </a:cubicBezTo>
                  <a:lnTo>
                    <a:pt x="2" y="2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80" name="Myanmar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6619179" y="3663629"/>
              <a:ext cx="232995" cy="585211"/>
            </a:xfrm>
            <a:custGeom>
              <a:avLst/>
              <a:gdLst/>
              <a:ahLst/>
              <a:cxnLst>
                <a:cxn ang="0">
                  <a:pos x="39" y="90"/>
                </a:cxn>
                <a:cxn ang="0">
                  <a:pos x="37" y="78"/>
                </a:cxn>
                <a:cxn ang="0">
                  <a:pos x="31" y="74"/>
                </a:cxn>
                <a:cxn ang="0">
                  <a:pos x="33" y="65"/>
                </a:cxn>
                <a:cxn ang="0">
                  <a:pos x="27" y="54"/>
                </a:cxn>
                <a:cxn ang="0">
                  <a:pos x="27" y="47"/>
                </a:cxn>
                <a:cxn ang="0">
                  <a:pos x="37" y="42"/>
                </a:cxn>
                <a:cxn ang="0">
                  <a:pos x="42" y="36"/>
                </a:cxn>
                <a:cxn ang="0">
                  <a:pos x="37" y="36"/>
                </a:cxn>
                <a:cxn ang="0">
                  <a:pos x="31" y="31"/>
                </a:cxn>
                <a:cxn ang="0">
                  <a:pos x="31" y="27"/>
                </a:cxn>
                <a:cxn ang="0">
                  <a:pos x="27" y="27"/>
                </a:cxn>
                <a:cxn ang="0">
                  <a:pos x="27" y="20"/>
                </a:cxn>
                <a:cxn ang="0">
                  <a:pos x="23" y="22"/>
                </a:cxn>
                <a:cxn ang="0">
                  <a:pos x="25" y="4"/>
                </a:cxn>
                <a:cxn ang="0">
                  <a:pos x="23" y="0"/>
                </a:cxn>
                <a:cxn ang="0">
                  <a:pos x="17" y="0"/>
                </a:cxn>
                <a:cxn ang="0">
                  <a:pos x="17" y="2"/>
                </a:cxn>
                <a:cxn ang="0">
                  <a:pos x="14" y="2"/>
                </a:cxn>
                <a:cxn ang="0">
                  <a:pos x="8" y="9"/>
                </a:cxn>
                <a:cxn ang="0">
                  <a:pos x="6" y="22"/>
                </a:cxn>
                <a:cxn ang="0">
                  <a:pos x="2" y="22"/>
                </a:cxn>
                <a:cxn ang="0">
                  <a:pos x="2" y="31"/>
                </a:cxn>
                <a:cxn ang="0">
                  <a:pos x="0" y="31"/>
                </a:cxn>
                <a:cxn ang="0">
                  <a:pos x="0" y="38"/>
                </a:cxn>
                <a:cxn ang="0">
                  <a:pos x="6" y="45"/>
                </a:cxn>
                <a:cxn ang="0">
                  <a:pos x="8" y="51"/>
                </a:cxn>
                <a:cxn ang="0">
                  <a:pos x="10" y="51"/>
                </a:cxn>
                <a:cxn ang="0">
                  <a:pos x="14" y="60"/>
                </a:cxn>
                <a:cxn ang="0">
                  <a:pos x="10" y="65"/>
                </a:cxn>
                <a:cxn ang="0">
                  <a:pos x="19" y="69"/>
                </a:cxn>
                <a:cxn ang="0">
                  <a:pos x="25" y="63"/>
                </a:cxn>
                <a:cxn ang="0">
                  <a:pos x="27" y="65"/>
                </a:cxn>
                <a:cxn ang="0">
                  <a:pos x="37" y="87"/>
                </a:cxn>
                <a:cxn ang="0">
                  <a:pos x="33" y="90"/>
                </a:cxn>
                <a:cxn ang="0">
                  <a:pos x="37" y="96"/>
                </a:cxn>
                <a:cxn ang="0">
                  <a:pos x="33" y="105"/>
                </a:cxn>
                <a:cxn ang="0">
                  <a:pos x="35" y="99"/>
                </a:cxn>
                <a:cxn ang="0">
                  <a:pos x="39" y="90"/>
                </a:cxn>
              </a:cxnLst>
              <a:rect l="0" t="0" r="r" b="b"/>
              <a:pathLst>
                <a:path w="42" h="105">
                  <a:moveTo>
                    <a:pt x="39" y="90"/>
                  </a:moveTo>
                  <a:lnTo>
                    <a:pt x="37" y="78"/>
                  </a:lnTo>
                  <a:lnTo>
                    <a:pt x="31" y="74"/>
                  </a:lnTo>
                  <a:lnTo>
                    <a:pt x="33" y="65"/>
                  </a:lnTo>
                  <a:lnTo>
                    <a:pt x="27" y="54"/>
                  </a:lnTo>
                  <a:lnTo>
                    <a:pt x="27" y="47"/>
                  </a:lnTo>
                  <a:lnTo>
                    <a:pt x="37" y="42"/>
                  </a:lnTo>
                  <a:lnTo>
                    <a:pt x="42" y="36"/>
                  </a:lnTo>
                  <a:lnTo>
                    <a:pt x="37" y="36"/>
                  </a:lnTo>
                  <a:lnTo>
                    <a:pt x="31" y="31"/>
                  </a:lnTo>
                  <a:lnTo>
                    <a:pt x="31" y="27"/>
                  </a:lnTo>
                  <a:lnTo>
                    <a:pt x="27" y="27"/>
                  </a:lnTo>
                  <a:lnTo>
                    <a:pt x="27" y="20"/>
                  </a:lnTo>
                  <a:lnTo>
                    <a:pt x="23" y="22"/>
                  </a:lnTo>
                  <a:lnTo>
                    <a:pt x="25" y="4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7" y="2"/>
                  </a:lnTo>
                  <a:lnTo>
                    <a:pt x="14" y="2"/>
                  </a:lnTo>
                  <a:lnTo>
                    <a:pt x="8" y="9"/>
                  </a:lnTo>
                  <a:lnTo>
                    <a:pt x="6" y="22"/>
                  </a:lnTo>
                  <a:lnTo>
                    <a:pt x="2" y="22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0" y="38"/>
                  </a:lnTo>
                  <a:lnTo>
                    <a:pt x="6" y="45"/>
                  </a:lnTo>
                  <a:lnTo>
                    <a:pt x="8" y="51"/>
                  </a:lnTo>
                  <a:lnTo>
                    <a:pt x="10" y="51"/>
                  </a:lnTo>
                  <a:lnTo>
                    <a:pt x="14" y="60"/>
                  </a:lnTo>
                  <a:lnTo>
                    <a:pt x="10" y="65"/>
                  </a:lnTo>
                  <a:lnTo>
                    <a:pt x="19" y="69"/>
                  </a:lnTo>
                  <a:lnTo>
                    <a:pt x="25" y="63"/>
                  </a:lnTo>
                  <a:lnTo>
                    <a:pt x="27" y="65"/>
                  </a:lnTo>
                  <a:lnTo>
                    <a:pt x="37" y="87"/>
                  </a:lnTo>
                  <a:lnTo>
                    <a:pt x="33" y="90"/>
                  </a:lnTo>
                  <a:lnTo>
                    <a:pt x="37" y="96"/>
                  </a:lnTo>
                  <a:lnTo>
                    <a:pt x="33" y="105"/>
                  </a:lnTo>
                  <a:lnTo>
                    <a:pt x="35" y="99"/>
                  </a:lnTo>
                  <a:lnTo>
                    <a:pt x="39" y="9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81" name="Mozambique"/>
            <p:cNvSpPr>
              <a:spLocks noEditPoints="1"/>
            </p:cNvSpPr>
            <p:nvPr/>
          </p:nvSpPr>
          <p:spPr bwMode="auto">
            <a:xfrm>
              <a:off x="5030353" y="4902708"/>
              <a:ext cx="289047" cy="530748"/>
            </a:xfrm>
            <a:custGeom>
              <a:avLst/>
              <a:gdLst>
                <a:gd name="T0" fmla="*/ 340 w 795"/>
                <a:gd name="T1" fmla="*/ 113 h 1230"/>
                <a:gd name="T2" fmla="*/ 349 w 795"/>
                <a:gd name="T3" fmla="*/ 116 h 1230"/>
                <a:gd name="T4" fmla="*/ 231 w 795"/>
                <a:gd name="T5" fmla="*/ 265 h 1230"/>
                <a:gd name="T6" fmla="*/ 266 w 795"/>
                <a:gd name="T7" fmla="*/ 304 h 1230"/>
                <a:gd name="T8" fmla="*/ 326 w 795"/>
                <a:gd name="T9" fmla="*/ 350 h 1230"/>
                <a:gd name="T10" fmla="*/ 309 w 795"/>
                <a:gd name="T11" fmla="*/ 434 h 1230"/>
                <a:gd name="T12" fmla="*/ 368 w 795"/>
                <a:gd name="T13" fmla="*/ 503 h 1230"/>
                <a:gd name="T14" fmla="*/ 409 w 795"/>
                <a:gd name="T15" fmla="*/ 424 h 1230"/>
                <a:gd name="T16" fmla="*/ 412 w 795"/>
                <a:gd name="T17" fmla="*/ 303 h 1230"/>
                <a:gd name="T18" fmla="*/ 335 w 795"/>
                <a:gd name="T19" fmla="*/ 216 h 1230"/>
                <a:gd name="T20" fmla="*/ 345 w 795"/>
                <a:gd name="T21" fmla="*/ 93 h 1230"/>
                <a:gd name="T22" fmla="*/ 414 w 795"/>
                <a:gd name="T23" fmla="*/ 84 h 1230"/>
                <a:gd name="T24" fmla="*/ 504 w 795"/>
                <a:gd name="T25" fmla="*/ 87 h 1230"/>
                <a:gd name="T26" fmla="*/ 587 w 795"/>
                <a:gd name="T27" fmla="*/ 65 h 1230"/>
                <a:gd name="T28" fmla="*/ 718 w 795"/>
                <a:gd name="T29" fmla="*/ 40 h 1230"/>
                <a:gd name="T30" fmla="*/ 774 w 795"/>
                <a:gd name="T31" fmla="*/ 8 h 1230"/>
                <a:gd name="T32" fmla="*/ 789 w 795"/>
                <a:gd name="T33" fmla="*/ 11 h 1230"/>
                <a:gd name="T34" fmla="*/ 788 w 795"/>
                <a:gd name="T35" fmla="*/ 54 h 1230"/>
                <a:gd name="T36" fmla="*/ 763 w 795"/>
                <a:gd name="T37" fmla="*/ 127 h 1230"/>
                <a:gd name="T38" fmla="*/ 755 w 795"/>
                <a:gd name="T39" fmla="*/ 196 h 1230"/>
                <a:gd name="T40" fmla="*/ 756 w 795"/>
                <a:gd name="T41" fmla="*/ 268 h 1230"/>
                <a:gd name="T42" fmla="*/ 766 w 795"/>
                <a:gd name="T43" fmla="*/ 299 h 1230"/>
                <a:gd name="T44" fmla="*/ 770 w 795"/>
                <a:gd name="T45" fmla="*/ 329 h 1230"/>
                <a:gd name="T46" fmla="*/ 753 w 795"/>
                <a:gd name="T47" fmla="*/ 373 h 1230"/>
                <a:gd name="T48" fmla="*/ 719 w 795"/>
                <a:gd name="T49" fmla="*/ 418 h 1230"/>
                <a:gd name="T50" fmla="*/ 689 w 795"/>
                <a:gd name="T51" fmla="*/ 456 h 1230"/>
                <a:gd name="T52" fmla="*/ 632 w 795"/>
                <a:gd name="T53" fmla="*/ 504 h 1230"/>
                <a:gd name="T54" fmla="*/ 577 w 795"/>
                <a:gd name="T55" fmla="*/ 518 h 1230"/>
                <a:gd name="T56" fmla="*/ 468 w 795"/>
                <a:gd name="T57" fmla="*/ 587 h 1230"/>
                <a:gd name="T58" fmla="*/ 424 w 795"/>
                <a:gd name="T59" fmla="*/ 636 h 1230"/>
                <a:gd name="T60" fmla="*/ 400 w 795"/>
                <a:gd name="T61" fmla="*/ 645 h 1230"/>
                <a:gd name="T62" fmla="*/ 337 w 795"/>
                <a:gd name="T63" fmla="*/ 696 h 1230"/>
                <a:gd name="T64" fmla="*/ 296 w 795"/>
                <a:gd name="T65" fmla="*/ 755 h 1230"/>
                <a:gd name="T66" fmla="*/ 318 w 795"/>
                <a:gd name="T67" fmla="*/ 799 h 1230"/>
                <a:gd name="T68" fmla="*/ 331 w 795"/>
                <a:gd name="T69" fmla="*/ 880 h 1230"/>
                <a:gd name="T70" fmla="*/ 340 w 795"/>
                <a:gd name="T71" fmla="*/ 921 h 1230"/>
                <a:gd name="T72" fmla="*/ 310 w 795"/>
                <a:gd name="T73" fmla="*/ 1037 h 1230"/>
                <a:gd name="T74" fmla="*/ 317 w 795"/>
                <a:gd name="T75" fmla="*/ 1039 h 1230"/>
                <a:gd name="T76" fmla="*/ 256 w 795"/>
                <a:gd name="T77" fmla="*/ 1089 h 1230"/>
                <a:gd name="T78" fmla="*/ 162 w 795"/>
                <a:gd name="T79" fmla="*/ 1123 h 1230"/>
                <a:gd name="T80" fmla="*/ 104 w 795"/>
                <a:gd name="T81" fmla="*/ 1166 h 1230"/>
                <a:gd name="T82" fmla="*/ 133 w 795"/>
                <a:gd name="T83" fmla="*/ 1175 h 1230"/>
                <a:gd name="T84" fmla="*/ 123 w 795"/>
                <a:gd name="T85" fmla="*/ 1229 h 1230"/>
                <a:gd name="T86" fmla="*/ 72 w 795"/>
                <a:gd name="T87" fmla="*/ 1226 h 1230"/>
                <a:gd name="T88" fmla="*/ 71 w 795"/>
                <a:gd name="T89" fmla="*/ 1161 h 1230"/>
                <a:gd name="T90" fmla="*/ 77 w 795"/>
                <a:gd name="T91" fmla="*/ 1121 h 1230"/>
                <a:gd name="T92" fmla="*/ 68 w 795"/>
                <a:gd name="T93" fmla="*/ 984 h 1230"/>
                <a:gd name="T94" fmla="*/ 50 w 795"/>
                <a:gd name="T95" fmla="*/ 892 h 1230"/>
                <a:gd name="T96" fmla="*/ 135 w 795"/>
                <a:gd name="T97" fmla="*/ 798 h 1230"/>
                <a:gd name="T98" fmla="*/ 187 w 795"/>
                <a:gd name="T99" fmla="*/ 714 h 1230"/>
                <a:gd name="T100" fmla="*/ 181 w 795"/>
                <a:gd name="T101" fmla="*/ 653 h 1230"/>
                <a:gd name="T102" fmla="*/ 199 w 795"/>
                <a:gd name="T103" fmla="*/ 595 h 1230"/>
                <a:gd name="T104" fmla="*/ 197 w 795"/>
                <a:gd name="T105" fmla="*/ 496 h 1230"/>
                <a:gd name="T106" fmla="*/ 139 w 795"/>
                <a:gd name="T107" fmla="*/ 447 h 1230"/>
                <a:gd name="T108" fmla="*/ 31 w 795"/>
                <a:gd name="T109" fmla="*/ 411 h 1230"/>
                <a:gd name="T110" fmla="*/ 20 w 795"/>
                <a:gd name="T111" fmla="*/ 368 h 1230"/>
                <a:gd name="T112" fmla="*/ 114 w 795"/>
                <a:gd name="T113" fmla="*/ 303 h 1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5" h="1230">
                  <a:moveTo>
                    <a:pt x="340" y="113"/>
                  </a:moveTo>
                  <a:cubicBezTo>
                    <a:pt x="341" y="126"/>
                    <a:pt x="352" y="109"/>
                    <a:pt x="341" y="112"/>
                  </a:cubicBezTo>
                  <a:cubicBezTo>
                    <a:pt x="340" y="113"/>
                    <a:pt x="340" y="113"/>
                    <a:pt x="340" y="113"/>
                  </a:cubicBezTo>
                  <a:close/>
                  <a:moveTo>
                    <a:pt x="348" y="118"/>
                  </a:moveTo>
                  <a:cubicBezTo>
                    <a:pt x="349" y="132"/>
                    <a:pt x="362" y="111"/>
                    <a:pt x="350" y="115"/>
                  </a:cubicBezTo>
                  <a:cubicBezTo>
                    <a:pt x="349" y="116"/>
                    <a:pt x="349" y="116"/>
                    <a:pt x="349" y="116"/>
                  </a:cubicBezTo>
                  <a:lnTo>
                    <a:pt x="348" y="118"/>
                  </a:lnTo>
                  <a:close/>
                  <a:moveTo>
                    <a:pt x="226" y="267"/>
                  </a:moveTo>
                  <a:cubicBezTo>
                    <a:pt x="229" y="267"/>
                    <a:pt x="231" y="266"/>
                    <a:pt x="231" y="265"/>
                  </a:cubicBezTo>
                  <a:cubicBezTo>
                    <a:pt x="233" y="265"/>
                    <a:pt x="233" y="265"/>
                    <a:pt x="233" y="265"/>
                  </a:cubicBezTo>
                  <a:cubicBezTo>
                    <a:pt x="242" y="272"/>
                    <a:pt x="243" y="286"/>
                    <a:pt x="251" y="296"/>
                  </a:cubicBezTo>
                  <a:cubicBezTo>
                    <a:pt x="253" y="278"/>
                    <a:pt x="261" y="322"/>
                    <a:pt x="266" y="304"/>
                  </a:cubicBezTo>
                  <a:cubicBezTo>
                    <a:pt x="277" y="304"/>
                    <a:pt x="291" y="301"/>
                    <a:pt x="303" y="298"/>
                  </a:cubicBezTo>
                  <a:cubicBezTo>
                    <a:pt x="314" y="292"/>
                    <a:pt x="319" y="300"/>
                    <a:pt x="324" y="308"/>
                  </a:cubicBezTo>
                  <a:cubicBezTo>
                    <a:pt x="326" y="322"/>
                    <a:pt x="330" y="336"/>
                    <a:pt x="326" y="350"/>
                  </a:cubicBezTo>
                  <a:cubicBezTo>
                    <a:pt x="330" y="363"/>
                    <a:pt x="318" y="370"/>
                    <a:pt x="314" y="381"/>
                  </a:cubicBezTo>
                  <a:cubicBezTo>
                    <a:pt x="319" y="396"/>
                    <a:pt x="297" y="397"/>
                    <a:pt x="300" y="410"/>
                  </a:cubicBezTo>
                  <a:cubicBezTo>
                    <a:pt x="308" y="416"/>
                    <a:pt x="312" y="424"/>
                    <a:pt x="309" y="434"/>
                  </a:cubicBezTo>
                  <a:cubicBezTo>
                    <a:pt x="320" y="444"/>
                    <a:pt x="328" y="457"/>
                    <a:pt x="339" y="468"/>
                  </a:cubicBezTo>
                  <a:cubicBezTo>
                    <a:pt x="342" y="480"/>
                    <a:pt x="361" y="478"/>
                    <a:pt x="357" y="490"/>
                  </a:cubicBezTo>
                  <a:cubicBezTo>
                    <a:pt x="343" y="496"/>
                    <a:pt x="357" y="513"/>
                    <a:pt x="368" y="503"/>
                  </a:cubicBezTo>
                  <a:cubicBezTo>
                    <a:pt x="366" y="492"/>
                    <a:pt x="373" y="478"/>
                    <a:pt x="365" y="469"/>
                  </a:cubicBezTo>
                  <a:cubicBezTo>
                    <a:pt x="351" y="460"/>
                    <a:pt x="374" y="454"/>
                    <a:pt x="371" y="442"/>
                  </a:cubicBezTo>
                  <a:cubicBezTo>
                    <a:pt x="375" y="421"/>
                    <a:pt x="398" y="437"/>
                    <a:pt x="409" y="424"/>
                  </a:cubicBezTo>
                  <a:cubicBezTo>
                    <a:pt x="415" y="410"/>
                    <a:pt x="414" y="395"/>
                    <a:pt x="417" y="381"/>
                  </a:cubicBezTo>
                  <a:cubicBezTo>
                    <a:pt x="417" y="367"/>
                    <a:pt x="412" y="353"/>
                    <a:pt x="423" y="341"/>
                  </a:cubicBezTo>
                  <a:cubicBezTo>
                    <a:pt x="424" y="328"/>
                    <a:pt x="423" y="313"/>
                    <a:pt x="412" y="303"/>
                  </a:cubicBezTo>
                  <a:cubicBezTo>
                    <a:pt x="402" y="293"/>
                    <a:pt x="399" y="278"/>
                    <a:pt x="389" y="268"/>
                  </a:cubicBezTo>
                  <a:cubicBezTo>
                    <a:pt x="379" y="258"/>
                    <a:pt x="375" y="245"/>
                    <a:pt x="365" y="237"/>
                  </a:cubicBezTo>
                  <a:cubicBezTo>
                    <a:pt x="357" y="224"/>
                    <a:pt x="337" y="233"/>
                    <a:pt x="335" y="216"/>
                  </a:cubicBezTo>
                  <a:cubicBezTo>
                    <a:pt x="336" y="201"/>
                    <a:pt x="334" y="186"/>
                    <a:pt x="334" y="170"/>
                  </a:cubicBezTo>
                  <a:cubicBezTo>
                    <a:pt x="331" y="156"/>
                    <a:pt x="327" y="143"/>
                    <a:pt x="325" y="129"/>
                  </a:cubicBezTo>
                  <a:cubicBezTo>
                    <a:pt x="327" y="115"/>
                    <a:pt x="341" y="106"/>
                    <a:pt x="345" y="93"/>
                  </a:cubicBezTo>
                  <a:cubicBezTo>
                    <a:pt x="342" y="76"/>
                    <a:pt x="360" y="82"/>
                    <a:pt x="371" y="81"/>
                  </a:cubicBezTo>
                  <a:cubicBezTo>
                    <a:pt x="372" y="80"/>
                    <a:pt x="372" y="80"/>
                    <a:pt x="372" y="80"/>
                  </a:cubicBezTo>
                  <a:cubicBezTo>
                    <a:pt x="385" y="85"/>
                    <a:pt x="400" y="80"/>
                    <a:pt x="414" y="84"/>
                  </a:cubicBezTo>
                  <a:cubicBezTo>
                    <a:pt x="425" y="84"/>
                    <a:pt x="437" y="60"/>
                    <a:pt x="446" y="78"/>
                  </a:cubicBezTo>
                  <a:cubicBezTo>
                    <a:pt x="461" y="77"/>
                    <a:pt x="457" y="99"/>
                    <a:pt x="472" y="93"/>
                  </a:cubicBezTo>
                  <a:cubicBezTo>
                    <a:pt x="483" y="91"/>
                    <a:pt x="497" y="102"/>
                    <a:pt x="504" y="87"/>
                  </a:cubicBezTo>
                  <a:cubicBezTo>
                    <a:pt x="515" y="80"/>
                    <a:pt x="524" y="88"/>
                    <a:pt x="533" y="93"/>
                  </a:cubicBezTo>
                  <a:cubicBezTo>
                    <a:pt x="543" y="95"/>
                    <a:pt x="553" y="98"/>
                    <a:pt x="562" y="91"/>
                  </a:cubicBezTo>
                  <a:cubicBezTo>
                    <a:pt x="579" y="90"/>
                    <a:pt x="580" y="75"/>
                    <a:pt x="587" y="65"/>
                  </a:cubicBezTo>
                  <a:cubicBezTo>
                    <a:pt x="603" y="56"/>
                    <a:pt x="616" y="67"/>
                    <a:pt x="628" y="74"/>
                  </a:cubicBezTo>
                  <a:cubicBezTo>
                    <a:pt x="642" y="66"/>
                    <a:pt x="656" y="56"/>
                    <a:pt x="673" y="56"/>
                  </a:cubicBezTo>
                  <a:cubicBezTo>
                    <a:pt x="691" y="62"/>
                    <a:pt x="701" y="41"/>
                    <a:pt x="718" y="40"/>
                  </a:cubicBezTo>
                  <a:cubicBezTo>
                    <a:pt x="728" y="38"/>
                    <a:pt x="735" y="31"/>
                    <a:pt x="745" y="28"/>
                  </a:cubicBezTo>
                  <a:cubicBezTo>
                    <a:pt x="753" y="20"/>
                    <a:pt x="762" y="14"/>
                    <a:pt x="772" y="9"/>
                  </a:cubicBezTo>
                  <a:cubicBezTo>
                    <a:pt x="774" y="8"/>
                    <a:pt x="774" y="8"/>
                    <a:pt x="774" y="8"/>
                  </a:cubicBezTo>
                  <a:cubicBezTo>
                    <a:pt x="780" y="0"/>
                    <a:pt x="780" y="0"/>
                    <a:pt x="780" y="0"/>
                  </a:cubicBezTo>
                  <a:cubicBezTo>
                    <a:pt x="781" y="0"/>
                    <a:pt x="781" y="0"/>
                    <a:pt x="781" y="0"/>
                  </a:cubicBezTo>
                  <a:cubicBezTo>
                    <a:pt x="784" y="3"/>
                    <a:pt x="785" y="9"/>
                    <a:pt x="789" y="11"/>
                  </a:cubicBezTo>
                  <a:cubicBezTo>
                    <a:pt x="793" y="13"/>
                    <a:pt x="795" y="20"/>
                    <a:pt x="791" y="22"/>
                  </a:cubicBezTo>
                  <a:cubicBezTo>
                    <a:pt x="790" y="28"/>
                    <a:pt x="791" y="35"/>
                    <a:pt x="790" y="41"/>
                  </a:cubicBezTo>
                  <a:cubicBezTo>
                    <a:pt x="792" y="45"/>
                    <a:pt x="791" y="50"/>
                    <a:pt x="788" y="54"/>
                  </a:cubicBezTo>
                  <a:cubicBezTo>
                    <a:pt x="784" y="60"/>
                    <a:pt x="779" y="66"/>
                    <a:pt x="776" y="74"/>
                  </a:cubicBezTo>
                  <a:cubicBezTo>
                    <a:pt x="772" y="81"/>
                    <a:pt x="767" y="89"/>
                    <a:pt x="765" y="98"/>
                  </a:cubicBezTo>
                  <a:cubicBezTo>
                    <a:pt x="761" y="107"/>
                    <a:pt x="764" y="117"/>
                    <a:pt x="763" y="127"/>
                  </a:cubicBezTo>
                  <a:cubicBezTo>
                    <a:pt x="761" y="142"/>
                    <a:pt x="765" y="158"/>
                    <a:pt x="764" y="173"/>
                  </a:cubicBezTo>
                  <a:cubicBezTo>
                    <a:pt x="763" y="177"/>
                    <a:pt x="765" y="183"/>
                    <a:pt x="762" y="186"/>
                  </a:cubicBezTo>
                  <a:cubicBezTo>
                    <a:pt x="760" y="189"/>
                    <a:pt x="753" y="191"/>
                    <a:pt x="755" y="196"/>
                  </a:cubicBezTo>
                  <a:cubicBezTo>
                    <a:pt x="757" y="200"/>
                    <a:pt x="754" y="207"/>
                    <a:pt x="761" y="206"/>
                  </a:cubicBezTo>
                  <a:cubicBezTo>
                    <a:pt x="760" y="213"/>
                    <a:pt x="759" y="221"/>
                    <a:pt x="759" y="229"/>
                  </a:cubicBezTo>
                  <a:cubicBezTo>
                    <a:pt x="757" y="242"/>
                    <a:pt x="754" y="255"/>
                    <a:pt x="756" y="268"/>
                  </a:cubicBezTo>
                  <a:cubicBezTo>
                    <a:pt x="755" y="274"/>
                    <a:pt x="759" y="280"/>
                    <a:pt x="755" y="286"/>
                  </a:cubicBezTo>
                  <a:cubicBezTo>
                    <a:pt x="752" y="290"/>
                    <a:pt x="753" y="293"/>
                    <a:pt x="758" y="296"/>
                  </a:cubicBezTo>
                  <a:cubicBezTo>
                    <a:pt x="762" y="291"/>
                    <a:pt x="765" y="293"/>
                    <a:pt x="766" y="299"/>
                  </a:cubicBezTo>
                  <a:cubicBezTo>
                    <a:pt x="769" y="303"/>
                    <a:pt x="763" y="306"/>
                    <a:pt x="761" y="309"/>
                  </a:cubicBezTo>
                  <a:cubicBezTo>
                    <a:pt x="756" y="314"/>
                    <a:pt x="767" y="312"/>
                    <a:pt x="769" y="316"/>
                  </a:cubicBezTo>
                  <a:cubicBezTo>
                    <a:pt x="773" y="319"/>
                    <a:pt x="769" y="325"/>
                    <a:pt x="770" y="329"/>
                  </a:cubicBezTo>
                  <a:cubicBezTo>
                    <a:pt x="766" y="336"/>
                    <a:pt x="761" y="342"/>
                    <a:pt x="759" y="350"/>
                  </a:cubicBezTo>
                  <a:cubicBezTo>
                    <a:pt x="757" y="358"/>
                    <a:pt x="750" y="362"/>
                    <a:pt x="745" y="368"/>
                  </a:cubicBezTo>
                  <a:cubicBezTo>
                    <a:pt x="740" y="371"/>
                    <a:pt x="751" y="371"/>
                    <a:pt x="753" y="373"/>
                  </a:cubicBezTo>
                  <a:cubicBezTo>
                    <a:pt x="752" y="380"/>
                    <a:pt x="751" y="387"/>
                    <a:pt x="748" y="394"/>
                  </a:cubicBezTo>
                  <a:cubicBezTo>
                    <a:pt x="745" y="397"/>
                    <a:pt x="740" y="398"/>
                    <a:pt x="737" y="400"/>
                  </a:cubicBezTo>
                  <a:cubicBezTo>
                    <a:pt x="731" y="406"/>
                    <a:pt x="725" y="412"/>
                    <a:pt x="719" y="418"/>
                  </a:cubicBezTo>
                  <a:cubicBezTo>
                    <a:pt x="713" y="423"/>
                    <a:pt x="709" y="430"/>
                    <a:pt x="706" y="438"/>
                  </a:cubicBezTo>
                  <a:cubicBezTo>
                    <a:pt x="700" y="442"/>
                    <a:pt x="693" y="444"/>
                    <a:pt x="687" y="448"/>
                  </a:cubicBezTo>
                  <a:cubicBezTo>
                    <a:pt x="679" y="449"/>
                    <a:pt x="687" y="452"/>
                    <a:pt x="689" y="456"/>
                  </a:cubicBezTo>
                  <a:cubicBezTo>
                    <a:pt x="689" y="460"/>
                    <a:pt x="685" y="464"/>
                    <a:pt x="683" y="468"/>
                  </a:cubicBezTo>
                  <a:cubicBezTo>
                    <a:pt x="670" y="477"/>
                    <a:pt x="656" y="486"/>
                    <a:pt x="640" y="491"/>
                  </a:cubicBezTo>
                  <a:cubicBezTo>
                    <a:pt x="637" y="495"/>
                    <a:pt x="635" y="500"/>
                    <a:pt x="632" y="504"/>
                  </a:cubicBezTo>
                  <a:cubicBezTo>
                    <a:pt x="628" y="508"/>
                    <a:pt x="621" y="510"/>
                    <a:pt x="617" y="513"/>
                  </a:cubicBezTo>
                  <a:cubicBezTo>
                    <a:pt x="612" y="517"/>
                    <a:pt x="605" y="513"/>
                    <a:pt x="600" y="514"/>
                  </a:cubicBezTo>
                  <a:cubicBezTo>
                    <a:pt x="592" y="513"/>
                    <a:pt x="584" y="516"/>
                    <a:pt x="577" y="518"/>
                  </a:cubicBezTo>
                  <a:cubicBezTo>
                    <a:pt x="556" y="526"/>
                    <a:pt x="535" y="535"/>
                    <a:pt x="515" y="545"/>
                  </a:cubicBezTo>
                  <a:cubicBezTo>
                    <a:pt x="501" y="553"/>
                    <a:pt x="488" y="563"/>
                    <a:pt x="475" y="573"/>
                  </a:cubicBezTo>
                  <a:cubicBezTo>
                    <a:pt x="472" y="577"/>
                    <a:pt x="472" y="584"/>
                    <a:pt x="468" y="587"/>
                  </a:cubicBezTo>
                  <a:cubicBezTo>
                    <a:pt x="463" y="593"/>
                    <a:pt x="455" y="590"/>
                    <a:pt x="449" y="593"/>
                  </a:cubicBezTo>
                  <a:cubicBezTo>
                    <a:pt x="443" y="595"/>
                    <a:pt x="453" y="598"/>
                    <a:pt x="454" y="601"/>
                  </a:cubicBezTo>
                  <a:cubicBezTo>
                    <a:pt x="444" y="613"/>
                    <a:pt x="432" y="623"/>
                    <a:pt x="424" y="636"/>
                  </a:cubicBezTo>
                  <a:cubicBezTo>
                    <a:pt x="422" y="641"/>
                    <a:pt x="418" y="642"/>
                    <a:pt x="414" y="638"/>
                  </a:cubicBezTo>
                  <a:cubicBezTo>
                    <a:pt x="412" y="634"/>
                    <a:pt x="412" y="629"/>
                    <a:pt x="410" y="625"/>
                  </a:cubicBezTo>
                  <a:cubicBezTo>
                    <a:pt x="406" y="631"/>
                    <a:pt x="403" y="638"/>
                    <a:pt x="400" y="645"/>
                  </a:cubicBezTo>
                  <a:cubicBezTo>
                    <a:pt x="396" y="648"/>
                    <a:pt x="389" y="648"/>
                    <a:pt x="386" y="653"/>
                  </a:cubicBezTo>
                  <a:cubicBezTo>
                    <a:pt x="377" y="663"/>
                    <a:pt x="367" y="672"/>
                    <a:pt x="357" y="681"/>
                  </a:cubicBezTo>
                  <a:cubicBezTo>
                    <a:pt x="351" y="687"/>
                    <a:pt x="345" y="692"/>
                    <a:pt x="337" y="696"/>
                  </a:cubicBezTo>
                  <a:cubicBezTo>
                    <a:pt x="330" y="700"/>
                    <a:pt x="325" y="706"/>
                    <a:pt x="319" y="712"/>
                  </a:cubicBezTo>
                  <a:cubicBezTo>
                    <a:pt x="315" y="715"/>
                    <a:pt x="309" y="715"/>
                    <a:pt x="304" y="716"/>
                  </a:cubicBezTo>
                  <a:cubicBezTo>
                    <a:pt x="302" y="729"/>
                    <a:pt x="298" y="742"/>
                    <a:pt x="296" y="755"/>
                  </a:cubicBezTo>
                  <a:cubicBezTo>
                    <a:pt x="297" y="759"/>
                    <a:pt x="296" y="764"/>
                    <a:pt x="298" y="768"/>
                  </a:cubicBezTo>
                  <a:cubicBezTo>
                    <a:pt x="304" y="774"/>
                    <a:pt x="311" y="778"/>
                    <a:pt x="315" y="784"/>
                  </a:cubicBezTo>
                  <a:cubicBezTo>
                    <a:pt x="319" y="788"/>
                    <a:pt x="318" y="794"/>
                    <a:pt x="318" y="799"/>
                  </a:cubicBezTo>
                  <a:cubicBezTo>
                    <a:pt x="320" y="802"/>
                    <a:pt x="321" y="807"/>
                    <a:pt x="320" y="811"/>
                  </a:cubicBezTo>
                  <a:cubicBezTo>
                    <a:pt x="322" y="824"/>
                    <a:pt x="326" y="837"/>
                    <a:pt x="329" y="850"/>
                  </a:cubicBezTo>
                  <a:cubicBezTo>
                    <a:pt x="333" y="860"/>
                    <a:pt x="331" y="870"/>
                    <a:pt x="331" y="880"/>
                  </a:cubicBezTo>
                  <a:cubicBezTo>
                    <a:pt x="330" y="883"/>
                    <a:pt x="331" y="893"/>
                    <a:pt x="334" y="888"/>
                  </a:cubicBezTo>
                  <a:cubicBezTo>
                    <a:pt x="338" y="883"/>
                    <a:pt x="341" y="884"/>
                    <a:pt x="345" y="889"/>
                  </a:cubicBezTo>
                  <a:cubicBezTo>
                    <a:pt x="344" y="900"/>
                    <a:pt x="342" y="910"/>
                    <a:pt x="340" y="921"/>
                  </a:cubicBezTo>
                  <a:cubicBezTo>
                    <a:pt x="336" y="936"/>
                    <a:pt x="335" y="952"/>
                    <a:pt x="331" y="967"/>
                  </a:cubicBezTo>
                  <a:cubicBezTo>
                    <a:pt x="323" y="983"/>
                    <a:pt x="319" y="1001"/>
                    <a:pt x="312" y="1017"/>
                  </a:cubicBezTo>
                  <a:cubicBezTo>
                    <a:pt x="308" y="1023"/>
                    <a:pt x="310" y="1030"/>
                    <a:pt x="310" y="1037"/>
                  </a:cubicBezTo>
                  <a:cubicBezTo>
                    <a:pt x="313" y="1032"/>
                    <a:pt x="315" y="1026"/>
                    <a:pt x="319" y="1022"/>
                  </a:cubicBezTo>
                  <a:cubicBezTo>
                    <a:pt x="321" y="1020"/>
                    <a:pt x="328" y="1011"/>
                    <a:pt x="326" y="1018"/>
                  </a:cubicBezTo>
                  <a:cubicBezTo>
                    <a:pt x="324" y="1025"/>
                    <a:pt x="322" y="1033"/>
                    <a:pt x="317" y="1039"/>
                  </a:cubicBezTo>
                  <a:cubicBezTo>
                    <a:pt x="313" y="1049"/>
                    <a:pt x="306" y="1056"/>
                    <a:pt x="298" y="1064"/>
                  </a:cubicBezTo>
                  <a:cubicBezTo>
                    <a:pt x="293" y="1070"/>
                    <a:pt x="286" y="1075"/>
                    <a:pt x="279" y="1079"/>
                  </a:cubicBezTo>
                  <a:cubicBezTo>
                    <a:pt x="272" y="1085"/>
                    <a:pt x="264" y="1087"/>
                    <a:pt x="256" y="1089"/>
                  </a:cubicBezTo>
                  <a:cubicBezTo>
                    <a:pt x="249" y="1093"/>
                    <a:pt x="240" y="1093"/>
                    <a:pt x="232" y="1093"/>
                  </a:cubicBezTo>
                  <a:cubicBezTo>
                    <a:pt x="215" y="1098"/>
                    <a:pt x="198" y="1105"/>
                    <a:pt x="181" y="1112"/>
                  </a:cubicBezTo>
                  <a:cubicBezTo>
                    <a:pt x="174" y="1114"/>
                    <a:pt x="168" y="1119"/>
                    <a:pt x="162" y="1123"/>
                  </a:cubicBezTo>
                  <a:cubicBezTo>
                    <a:pt x="154" y="1126"/>
                    <a:pt x="146" y="1130"/>
                    <a:pt x="138" y="1131"/>
                  </a:cubicBezTo>
                  <a:cubicBezTo>
                    <a:pt x="127" y="1137"/>
                    <a:pt x="123" y="1150"/>
                    <a:pt x="114" y="1158"/>
                  </a:cubicBezTo>
                  <a:cubicBezTo>
                    <a:pt x="111" y="1161"/>
                    <a:pt x="109" y="1167"/>
                    <a:pt x="104" y="1166"/>
                  </a:cubicBezTo>
                  <a:cubicBezTo>
                    <a:pt x="108" y="1170"/>
                    <a:pt x="112" y="1173"/>
                    <a:pt x="114" y="1177"/>
                  </a:cubicBezTo>
                  <a:cubicBezTo>
                    <a:pt x="117" y="1180"/>
                    <a:pt x="118" y="1189"/>
                    <a:pt x="122" y="1187"/>
                  </a:cubicBezTo>
                  <a:cubicBezTo>
                    <a:pt x="127" y="1184"/>
                    <a:pt x="131" y="1180"/>
                    <a:pt x="133" y="1175"/>
                  </a:cubicBezTo>
                  <a:cubicBezTo>
                    <a:pt x="130" y="1186"/>
                    <a:pt x="128" y="1198"/>
                    <a:pt x="127" y="1209"/>
                  </a:cubicBezTo>
                  <a:cubicBezTo>
                    <a:pt x="126" y="1213"/>
                    <a:pt x="126" y="1219"/>
                    <a:pt x="124" y="1221"/>
                  </a:cubicBezTo>
                  <a:cubicBezTo>
                    <a:pt x="124" y="1224"/>
                    <a:pt x="123" y="1227"/>
                    <a:pt x="123" y="1229"/>
                  </a:cubicBezTo>
                  <a:cubicBezTo>
                    <a:pt x="122" y="1229"/>
                    <a:pt x="122" y="1229"/>
                    <a:pt x="122" y="1229"/>
                  </a:cubicBezTo>
                  <a:cubicBezTo>
                    <a:pt x="119" y="1229"/>
                    <a:pt x="115" y="1229"/>
                    <a:pt x="111" y="1229"/>
                  </a:cubicBezTo>
                  <a:cubicBezTo>
                    <a:pt x="98" y="1230"/>
                    <a:pt x="85" y="1227"/>
                    <a:pt x="72" y="1226"/>
                  </a:cubicBezTo>
                  <a:cubicBezTo>
                    <a:pt x="72" y="1226"/>
                    <a:pt x="72" y="1226"/>
                    <a:pt x="72" y="1226"/>
                  </a:cubicBezTo>
                  <a:cubicBezTo>
                    <a:pt x="80" y="1225"/>
                    <a:pt x="76" y="1207"/>
                    <a:pt x="77" y="1200"/>
                  </a:cubicBezTo>
                  <a:cubicBezTo>
                    <a:pt x="69" y="1187"/>
                    <a:pt x="89" y="1168"/>
                    <a:pt x="71" y="1161"/>
                  </a:cubicBezTo>
                  <a:cubicBezTo>
                    <a:pt x="69" y="1161"/>
                    <a:pt x="69" y="1161"/>
                    <a:pt x="69" y="1161"/>
                  </a:cubicBezTo>
                  <a:cubicBezTo>
                    <a:pt x="69" y="1160"/>
                    <a:pt x="70" y="1159"/>
                    <a:pt x="71" y="1157"/>
                  </a:cubicBezTo>
                  <a:cubicBezTo>
                    <a:pt x="66" y="1144"/>
                    <a:pt x="82" y="1135"/>
                    <a:pt x="77" y="1121"/>
                  </a:cubicBezTo>
                  <a:cubicBezTo>
                    <a:pt x="84" y="1100"/>
                    <a:pt x="80" y="1076"/>
                    <a:pt x="85" y="1054"/>
                  </a:cubicBezTo>
                  <a:cubicBezTo>
                    <a:pt x="89" y="1041"/>
                    <a:pt x="76" y="1030"/>
                    <a:pt x="80" y="1017"/>
                  </a:cubicBezTo>
                  <a:cubicBezTo>
                    <a:pt x="78" y="1005"/>
                    <a:pt x="67" y="997"/>
                    <a:pt x="68" y="984"/>
                  </a:cubicBezTo>
                  <a:cubicBezTo>
                    <a:pt x="57" y="975"/>
                    <a:pt x="62" y="962"/>
                    <a:pt x="62" y="950"/>
                  </a:cubicBezTo>
                  <a:cubicBezTo>
                    <a:pt x="58" y="932"/>
                    <a:pt x="54" y="913"/>
                    <a:pt x="50" y="895"/>
                  </a:cubicBezTo>
                  <a:cubicBezTo>
                    <a:pt x="50" y="892"/>
                    <a:pt x="50" y="892"/>
                    <a:pt x="50" y="892"/>
                  </a:cubicBezTo>
                  <a:cubicBezTo>
                    <a:pt x="51" y="892"/>
                    <a:pt x="52" y="893"/>
                    <a:pt x="54" y="893"/>
                  </a:cubicBezTo>
                  <a:cubicBezTo>
                    <a:pt x="81" y="868"/>
                    <a:pt x="107" y="842"/>
                    <a:pt x="133" y="816"/>
                  </a:cubicBezTo>
                  <a:cubicBezTo>
                    <a:pt x="147" y="817"/>
                    <a:pt x="129" y="805"/>
                    <a:pt x="135" y="798"/>
                  </a:cubicBezTo>
                  <a:cubicBezTo>
                    <a:pt x="150" y="790"/>
                    <a:pt x="142" y="774"/>
                    <a:pt x="146" y="762"/>
                  </a:cubicBezTo>
                  <a:cubicBezTo>
                    <a:pt x="159" y="759"/>
                    <a:pt x="165" y="749"/>
                    <a:pt x="173" y="739"/>
                  </a:cubicBezTo>
                  <a:cubicBezTo>
                    <a:pt x="174" y="728"/>
                    <a:pt x="183" y="722"/>
                    <a:pt x="187" y="714"/>
                  </a:cubicBezTo>
                  <a:cubicBezTo>
                    <a:pt x="192" y="706"/>
                    <a:pt x="188" y="700"/>
                    <a:pt x="185" y="693"/>
                  </a:cubicBezTo>
                  <a:cubicBezTo>
                    <a:pt x="177" y="696"/>
                    <a:pt x="174" y="690"/>
                    <a:pt x="178" y="681"/>
                  </a:cubicBezTo>
                  <a:cubicBezTo>
                    <a:pt x="168" y="674"/>
                    <a:pt x="181" y="663"/>
                    <a:pt x="181" y="653"/>
                  </a:cubicBezTo>
                  <a:cubicBezTo>
                    <a:pt x="189" y="641"/>
                    <a:pt x="164" y="646"/>
                    <a:pt x="172" y="636"/>
                  </a:cubicBezTo>
                  <a:cubicBezTo>
                    <a:pt x="166" y="620"/>
                    <a:pt x="192" y="631"/>
                    <a:pt x="189" y="617"/>
                  </a:cubicBezTo>
                  <a:cubicBezTo>
                    <a:pt x="180" y="607"/>
                    <a:pt x="196" y="603"/>
                    <a:pt x="199" y="595"/>
                  </a:cubicBezTo>
                  <a:cubicBezTo>
                    <a:pt x="194" y="587"/>
                    <a:pt x="196" y="579"/>
                    <a:pt x="194" y="570"/>
                  </a:cubicBezTo>
                  <a:cubicBezTo>
                    <a:pt x="190" y="556"/>
                    <a:pt x="209" y="544"/>
                    <a:pt x="198" y="531"/>
                  </a:cubicBezTo>
                  <a:cubicBezTo>
                    <a:pt x="204" y="520"/>
                    <a:pt x="202" y="507"/>
                    <a:pt x="197" y="496"/>
                  </a:cubicBezTo>
                  <a:cubicBezTo>
                    <a:pt x="183" y="486"/>
                    <a:pt x="211" y="475"/>
                    <a:pt x="198" y="469"/>
                  </a:cubicBezTo>
                  <a:cubicBezTo>
                    <a:pt x="183" y="475"/>
                    <a:pt x="184" y="456"/>
                    <a:pt x="171" y="454"/>
                  </a:cubicBezTo>
                  <a:cubicBezTo>
                    <a:pt x="161" y="449"/>
                    <a:pt x="150" y="446"/>
                    <a:pt x="139" y="447"/>
                  </a:cubicBezTo>
                  <a:cubicBezTo>
                    <a:pt x="123" y="448"/>
                    <a:pt x="119" y="424"/>
                    <a:pt x="102" y="427"/>
                  </a:cubicBezTo>
                  <a:cubicBezTo>
                    <a:pt x="88" y="425"/>
                    <a:pt x="80" y="404"/>
                    <a:pt x="65" y="416"/>
                  </a:cubicBezTo>
                  <a:cubicBezTo>
                    <a:pt x="55" y="411"/>
                    <a:pt x="43" y="411"/>
                    <a:pt x="31" y="411"/>
                  </a:cubicBezTo>
                  <a:cubicBezTo>
                    <a:pt x="14" y="415"/>
                    <a:pt x="24" y="393"/>
                    <a:pt x="22" y="383"/>
                  </a:cubicBezTo>
                  <a:cubicBezTo>
                    <a:pt x="17" y="383"/>
                    <a:pt x="17" y="383"/>
                    <a:pt x="17" y="383"/>
                  </a:cubicBezTo>
                  <a:cubicBezTo>
                    <a:pt x="25" y="380"/>
                    <a:pt x="15" y="371"/>
                    <a:pt x="20" y="368"/>
                  </a:cubicBezTo>
                  <a:cubicBezTo>
                    <a:pt x="18" y="358"/>
                    <a:pt x="0" y="339"/>
                    <a:pt x="17" y="333"/>
                  </a:cubicBezTo>
                  <a:cubicBezTo>
                    <a:pt x="30" y="329"/>
                    <a:pt x="43" y="321"/>
                    <a:pt x="58" y="318"/>
                  </a:cubicBezTo>
                  <a:cubicBezTo>
                    <a:pt x="76" y="313"/>
                    <a:pt x="97" y="313"/>
                    <a:pt x="114" y="303"/>
                  </a:cubicBezTo>
                  <a:cubicBezTo>
                    <a:pt x="128" y="297"/>
                    <a:pt x="142" y="294"/>
                    <a:pt x="156" y="289"/>
                  </a:cubicBezTo>
                  <a:cubicBezTo>
                    <a:pt x="180" y="285"/>
                    <a:pt x="202" y="274"/>
                    <a:pt x="226" y="267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82" name="Morocco"/>
            <p:cNvSpPr>
              <a:spLocks/>
            </p:cNvSpPr>
            <p:nvPr/>
          </p:nvSpPr>
          <p:spPr bwMode="auto">
            <a:xfrm>
              <a:off x="3934648" y="3387239"/>
              <a:ext cx="310145" cy="256194"/>
            </a:xfrm>
            <a:custGeom>
              <a:avLst/>
              <a:gdLst>
                <a:gd name="T0" fmla="*/ 755 w 853"/>
                <a:gd name="T1" fmla="*/ 52 h 594"/>
                <a:gd name="T2" fmla="*/ 790 w 853"/>
                <a:gd name="T3" fmla="*/ 66 h 594"/>
                <a:gd name="T4" fmla="*/ 797 w 853"/>
                <a:gd name="T5" fmla="*/ 68 h 594"/>
                <a:gd name="T6" fmla="*/ 817 w 853"/>
                <a:gd name="T7" fmla="*/ 109 h 594"/>
                <a:gd name="T8" fmla="*/ 816 w 853"/>
                <a:gd name="T9" fmla="*/ 164 h 594"/>
                <a:gd name="T10" fmla="*/ 823 w 853"/>
                <a:gd name="T11" fmla="*/ 221 h 594"/>
                <a:gd name="T12" fmla="*/ 839 w 853"/>
                <a:gd name="T13" fmla="*/ 267 h 594"/>
                <a:gd name="T14" fmla="*/ 839 w 853"/>
                <a:gd name="T15" fmla="*/ 267 h 594"/>
                <a:gd name="T16" fmla="*/ 811 w 853"/>
                <a:gd name="T17" fmla="*/ 289 h 594"/>
                <a:gd name="T18" fmla="*/ 717 w 853"/>
                <a:gd name="T19" fmla="*/ 293 h 594"/>
                <a:gd name="T20" fmla="*/ 654 w 853"/>
                <a:gd name="T21" fmla="*/ 328 h 594"/>
                <a:gd name="T22" fmla="*/ 654 w 853"/>
                <a:gd name="T23" fmla="*/ 368 h 594"/>
                <a:gd name="T24" fmla="*/ 589 w 853"/>
                <a:gd name="T25" fmla="*/ 391 h 594"/>
                <a:gd name="T26" fmla="*/ 508 w 853"/>
                <a:gd name="T27" fmla="*/ 440 h 594"/>
                <a:gd name="T28" fmla="*/ 432 w 853"/>
                <a:gd name="T29" fmla="*/ 456 h 594"/>
                <a:gd name="T30" fmla="*/ 361 w 853"/>
                <a:gd name="T31" fmla="*/ 482 h 594"/>
                <a:gd name="T32" fmla="*/ 302 w 853"/>
                <a:gd name="T33" fmla="*/ 516 h 594"/>
                <a:gd name="T34" fmla="*/ 0 w 853"/>
                <a:gd name="T35" fmla="*/ 576 h 594"/>
                <a:gd name="T36" fmla="*/ 30 w 853"/>
                <a:gd name="T37" fmla="*/ 556 h 594"/>
                <a:gd name="T38" fmla="*/ 95 w 853"/>
                <a:gd name="T39" fmla="*/ 543 h 594"/>
                <a:gd name="T40" fmla="*/ 145 w 853"/>
                <a:gd name="T41" fmla="*/ 510 h 594"/>
                <a:gd name="T42" fmla="*/ 198 w 853"/>
                <a:gd name="T43" fmla="*/ 479 h 594"/>
                <a:gd name="T44" fmla="*/ 232 w 853"/>
                <a:gd name="T45" fmla="*/ 443 h 594"/>
                <a:gd name="T46" fmla="*/ 259 w 853"/>
                <a:gd name="T47" fmla="*/ 397 h 594"/>
                <a:gd name="T48" fmla="*/ 256 w 853"/>
                <a:gd name="T49" fmla="*/ 355 h 594"/>
                <a:gd name="T50" fmla="*/ 294 w 853"/>
                <a:gd name="T51" fmla="*/ 281 h 594"/>
                <a:gd name="T52" fmla="*/ 309 w 853"/>
                <a:gd name="T53" fmla="*/ 270 h 594"/>
                <a:gd name="T54" fmla="*/ 324 w 853"/>
                <a:gd name="T55" fmla="*/ 244 h 594"/>
                <a:gd name="T56" fmla="*/ 363 w 853"/>
                <a:gd name="T57" fmla="*/ 197 h 594"/>
                <a:gd name="T58" fmla="*/ 417 w 853"/>
                <a:gd name="T59" fmla="*/ 168 h 594"/>
                <a:gd name="T60" fmla="*/ 497 w 853"/>
                <a:gd name="T61" fmla="*/ 131 h 594"/>
                <a:gd name="T62" fmla="*/ 530 w 853"/>
                <a:gd name="T63" fmla="*/ 93 h 594"/>
                <a:gd name="T64" fmla="*/ 575 w 853"/>
                <a:gd name="T65" fmla="*/ 14 h 594"/>
                <a:gd name="T66" fmla="*/ 609 w 853"/>
                <a:gd name="T67" fmla="*/ 0 h 594"/>
                <a:gd name="T68" fmla="*/ 625 w 853"/>
                <a:gd name="T69" fmla="*/ 30 h 594"/>
                <a:gd name="T70" fmla="*/ 664 w 853"/>
                <a:gd name="T71" fmla="*/ 57 h 594"/>
                <a:gd name="T72" fmla="*/ 711 w 853"/>
                <a:gd name="T73" fmla="*/ 53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3" h="594">
                  <a:moveTo>
                    <a:pt x="740" y="54"/>
                  </a:moveTo>
                  <a:cubicBezTo>
                    <a:pt x="745" y="55"/>
                    <a:pt x="750" y="49"/>
                    <a:pt x="755" y="52"/>
                  </a:cubicBezTo>
                  <a:cubicBezTo>
                    <a:pt x="762" y="55"/>
                    <a:pt x="766" y="63"/>
                    <a:pt x="773" y="64"/>
                  </a:cubicBezTo>
                  <a:cubicBezTo>
                    <a:pt x="778" y="67"/>
                    <a:pt x="784" y="67"/>
                    <a:pt x="790" y="66"/>
                  </a:cubicBezTo>
                  <a:cubicBezTo>
                    <a:pt x="792" y="66"/>
                    <a:pt x="795" y="66"/>
                    <a:pt x="797" y="67"/>
                  </a:cubicBezTo>
                  <a:cubicBezTo>
                    <a:pt x="797" y="68"/>
                    <a:pt x="797" y="68"/>
                    <a:pt x="797" y="68"/>
                  </a:cubicBezTo>
                  <a:cubicBezTo>
                    <a:pt x="798" y="77"/>
                    <a:pt x="811" y="83"/>
                    <a:pt x="816" y="90"/>
                  </a:cubicBezTo>
                  <a:cubicBezTo>
                    <a:pt x="829" y="95"/>
                    <a:pt x="812" y="102"/>
                    <a:pt x="817" y="109"/>
                  </a:cubicBezTo>
                  <a:cubicBezTo>
                    <a:pt x="830" y="114"/>
                    <a:pt x="813" y="121"/>
                    <a:pt x="819" y="128"/>
                  </a:cubicBezTo>
                  <a:cubicBezTo>
                    <a:pt x="825" y="140"/>
                    <a:pt x="818" y="152"/>
                    <a:pt x="816" y="164"/>
                  </a:cubicBezTo>
                  <a:cubicBezTo>
                    <a:pt x="809" y="173"/>
                    <a:pt x="824" y="177"/>
                    <a:pt x="820" y="186"/>
                  </a:cubicBezTo>
                  <a:cubicBezTo>
                    <a:pt x="810" y="197"/>
                    <a:pt x="815" y="210"/>
                    <a:pt x="823" y="221"/>
                  </a:cubicBezTo>
                  <a:cubicBezTo>
                    <a:pt x="815" y="232"/>
                    <a:pt x="827" y="245"/>
                    <a:pt x="837" y="251"/>
                  </a:cubicBezTo>
                  <a:cubicBezTo>
                    <a:pt x="845" y="254"/>
                    <a:pt x="853" y="267"/>
                    <a:pt x="839" y="267"/>
                  </a:cubicBezTo>
                  <a:cubicBezTo>
                    <a:pt x="840" y="265"/>
                    <a:pt x="841" y="265"/>
                    <a:pt x="839" y="267"/>
                  </a:cubicBezTo>
                  <a:cubicBezTo>
                    <a:pt x="839" y="267"/>
                    <a:pt x="839" y="267"/>
                    <a:pt x="839" y="267"/>
                  </a:cubicBezTo>
                  <a:cubicBezTo>
                    <a:pt x="835" y="272"/>
                    <a:pt x="821" y="288"/>
                    <a:pt x="834" y="285"/>
                  </a:cubicBezTo>
                  <a:cubicBezTo>
                    <a:pt x="834" y="297"/>
                    <a:pt x="818" y="287"/>
                    <a:pt x="811" y="289"/>
                  </a:cubicBezTo>
                  <a:cubicBezTo>
                    <a:pt x="794" y="288"/>
                    <a:pt x="776" y="285"/>
                    <a:pt x="759" y="283"/>
                  </a:cubicBezTo>
                  <a:cubicBezTo>
                    <a:pt x="745" y="287"/>
                    <a:pt x="726" y="281"/>
                    <a:pt x="717" y="293"/>
                  </a:cubicBezTo>
                  <a:cubicBezTo>
                    <a:pt x="716" y="313"/>
                    <a:pt x="689" y="308"/>
                    <a:pt x="675" y="314"/>
                  </a:cubicBezTo>
                  <a:cubicBezTo>
                    <a:pt x="664" y="306"/>
                    <a:pt x="650" y="314"/>
                    <a:pt x="654" y="328"/>
                  </a:cubicBezTo>
                  <a:cubicBezTo>
                    <a:pt x="663" y="334"/>
                    <a:pt x="651" y="341"/>
                    <a:pt x="652" y="350"/>
                  </a:cubicBezTo>
                  <a:cubicBezTo>
                    <a:pt x="663" y="348"/>
                    <a:pt x="671" y="370"/>
                    <a:pt x="654" y="368"/>
                  </a:cubicBezTo>
                  <a:cubicBezTo>
                    <a:pt x="642" y="366"/>
                    <a:pt x="631" y="370"/>
                    <a:pt x="624" y="379"/>
                  </a:cubicBezTo>
                  <a:cubicBezTo>
                    <a:pt x="613" y="386"/>
                    <a:pt x="601" y="389"/>
                    <a:pt x="589" y="391"/>
                  </a:cubicBezTo>
                  <a:cubicBezTo>
                    <a:pt x="570" y="392"/>
                    <a:pt x="563" y="407"/>
                    <a:pt x="552" y="420"/>
                  </a:cubicBezTo>
                  <a:cubicBezTo>
                    <a:pt x="541" y="432"/>
                    <a:pt x="525" y="441"/>
                    <a:pt x="508" y="440"/>
                  </a:cubicBezTo>
                  <a:cubicBezTo>
                    <a:pt x="493" y="442"/>
                    <a:pt x="477" y="445"/>
                    <a:pt x="462" y="442"/>
                  </a:cubicBezTo>
                  <a:cubicBezTo>
                    <a:pt x="459" y="457"/>
                    <a:pt x="446" y="464"/>
                    <a:pt x="432" y="456"/>
                  </a:cubicBezTo>
                  <a:cubicBezTo>
                    <a:pt x="416" y="449"/>
                    <a:pt x="403" y="459"/>
                    <a:pt x="392" y="469"/>
                  </a:cubicBezTo>
                  <a:cubicBezTo>
                    <a:pt x="380" y="467"/>
                    <a:pt x="372" y="475"/>
                    <a:pt x="361" y="482"/>
                  </a:cubicBezTo>
                  <a:cubicBezTo>
                    <a:pt x="352" y="490"/>
                    <a:pt x="340" y="492"/>
                    <a:pt x="330" y="499"/>
                  </a:cubicBezTo>
                  <a:cubicBezTo>
                    <a:pt x="322" y="506"/>
                    <a:pt x="313" y="512"/>
                    <a:pt x="302" y="516"/>
                  </a:cubicBezTo>
                  <a:cubicBezTo>
                    <a:pt x="298" y="542"/>
                    <a:pt x="294" y="568"/>
                    <a:pt x="290" y="594"/>
                  </a:cubicBezTo>
                  <a:cubicBezTo>
                    <a:pt x="190" y="589"/>
                    <a:pt x="100" y="583"/>
                    <a:pt x="0" y="576"/>
                  </a:cubicBezTo>
                  <a:cubicBezTo>
                    <a:pt x="7" y="572"/>
                    <a:pt x="8" y="565"/>
                    <a:pt x="12" y="559"/>
                  </a:cubicBezTo>
                  <a:cubicBezTo>
                    <a:pt x="18" y="558"/>
                    <a:pt x="24" y="555"/>
                    <a:pt x="30" y="556"/>
                  </a:cubicBezTo>
                  <a:cubicBezTo>
                    <a:pt x="41" y="558"/>
                    <a:pt x="51" y="555"/>
                    <a:pt x="62" y="553"/>
                  </a:cubicBezTo>
                  <a:cubicBezTo>
                    <a:pt x="73" y="551"/>
                    <a:pt x="84" y="546"/>
                    <a:pt x="95" y="543"/>
                  </a:cubicBezTo>
                  <a:cubicBezTo>
                    <a:pt x="104" y="542"/>
                    <a:pt x="110" y="536"/>
                    <a:pt x="118" y="531"/>
                  </a:cubicBezTo>
                  <a:cubicBezTo>
                    <a:pt x="127" y="524"/>
                    <a:pt x="135" y="516"/>
                    <a:pt x="145" y="510"/>
                  </a:cubicBezTo>
                  <a:cubicBezTo>
                    <a:pt x="154" y="503"/>
                    <a:pt x="166" y="501"/>
                    <a:pt x="176" y="497"/>
                  </a:cubicBezTo>
                  <a:cubicBezTo>
                    <a:pt x="183" y="491"/>
                    <a:pt x="192" y="487"/>
                    <a:pt x="198" y="479"/>
                  </a:cubicBezTo>
                  <a:cubicBezTo>
                    <a:pt x="206" y="476"/>
                    <a:pt x="213" y="469"/>
                    <a:pt x="218" y="462"/>
                  </a:cubicBezTo>
                  <a:cubicBezTo>
                    <a:pt x="223" y="456"/>
                    <a:pt x="226" y="449"/>
                    <a:pt x="232" y="443"/>
                  </a:cubicBezTo>
                  <a:cubicBezTo>
                    <a:pt x="237" y="435"/>
                    <a:pt x="245" y="429"/>
                    <a:pt x="251" y="421"/>
                  </a:cubicBezTo>
                  <a:cubicBezTo>
                    <a:pt x="257" y="415"/>
                    <a:pt x="258" y="405"/>
                    <a:pt x="259" y="397"/>
                  </a:cubicBezTo>
                  <a:cubicBezTo>
                    <a:pt x="260" y="387"/>
                    <a:pt x="255" y="377"/>
                    <a:pt x="252" y="368"/>
                  </a:cubicBezTo>
                  <a:cubicBezTo>
                    <a:pt x="251" y="364"/>
                    <a:pt x="255" y="360"/>
                    <a:pt x="256" y="355"/>
                  </a:cubicBezTo>
                  <a:cubicBezTo>
                    <a:pt x="259" y="342"/>
                    <a:pt x="260" y="328"/>
                    <a:pt x="266" y="315"/>
                  </a:cubicBezTo>
                  <a:cubicBezTo>
                    <a:pt x="274" y="303"/>
                    <a:pt x="285" y="292"/>
                    <a:pt x="294" y="281"/>
                  </a:cubicBezTo>
                  <a:cubicBezTo>
                    <a:pt x="293" y="275"/>
                    <a:pt x="299" y="275"/>
                    <a:pt x="303" y="273"/>
                  </a:cubicBezTo>
                  <a:cubicBezTo>
                    <a:pt x="305" y="272"/>
                    <a:pt x="314" y="268"/>
                    <a:pt x="309" y="270"/>
                  </a:cubicBezTo>
                  <a:cubicBezTo>
                    <a:pt x="311" y="266"/>
                    <a:pt x="313" y="262"/>
                    <a:pt x="316" y="259"/>
                  </a:cubicBezTo>
                  <a:cubicBezTo>
                    <a:pt x="318" y="254"/>
                    <a:pt x="323" y="249"/>
                    <a:pt x="324" y="244"/>
                  </a:cubicBezTo>
                  <a:cubicBezTo>
                    <a:pt x="325" y="239"/>
                    <a:pt x="322" y="233"/>
                    <a:pt x="327" y="230"/>
                  </a:cubicBezTo>
                  <a:cubicBezTo>
                    <a:pt x="339" y="218"/>
                    <a:pt x="352" y="209"/>
                    <a:pt x="363" y="197"/>
                  </a:cubicBezTo>
                  <a:cubicBezTo>
                    <a:pt x="368" y="190"/>
                    <a:pt x="375" y="185"/>
                    <a:pt x="382" y="181"/>
                  </a:cubicBezTo>
                  <a:cubicBezTo>
                    <a:pt x="393" y="175"/>
                    <a:pt x="405" y="172"/>
                    <a:pt x="417" y="168"/>
                  </a:cubicBezTo>
                  <a:cubicBezTo>
                    <a:pt x="431" y="164"/>
                    <a:pt x="445" y="160"/>
                    <a:pt x="458" y="154"/>
                  </a:cubicBezTo>
                  <a:cubicBezTo>
                    <a:pt x="472" y="148"/>
                    <a:pt x="486" y="142"/>
                    <a:pt x="497" y="131"/>
                  </a:cubicBezTo>
                  <a:cubicBezTo>
                    <a:pt x="503" y="127"/>
                    <a:pt x="507" y="122"/>
                    <a:pt x="510" y="116"/>
                  </a:cubicBezTo>
                  <a:cubicBezTo>
                    <a:pt x="515" y="106"/>
                    <a:pt x="523" y="100"/>
                    <a:pt x="530" y="93"/>
                  </a:cubicBezTo>
                  <a:cubicBezTo>
                    <a:pt x="535" y="85"/>
                    <a:pt x="540" y="77"/>
                    <a:pt x="544" y="68"/>
                  </a:cubicBezTo>
                  <a:cubicBezTo>
                    <a:pt x="553" y="50"/>
                    <a:pt x="565" y="33"/>
                    <a:pt x="575" y="14"/>
                  </a:cubicBezTo>
                  <a:cubicBezTo>
                    <a:pt x="576" y="10"/>
                    <a:pt x="580" y="8"/>
                    <a:pt x="584" y="5"/>
                  </a:cubicBezTo>
                  <a:cubicBezTo>
                    <a:pt x="592" y="4"/>
                    <a:pt x="601" y="2"/>
                    <a:pt x="609" y="0"/>
                  </a:cubicBezTo>
                  <a:cubicBezTo>
                    <a:pt x="613" y="0"/>
                    <a:pt x="613" y="7"/>
                    <a:pt x="615" y="10"/>
                  </a:cubicBezTo>
                  <a:cubicBezTo>
                    <a:pt x="616" y="17"/>
                    <a:pt x="620" y="24"/>
                    <a:pt x="625" y="30"/>
                  </a:cubicBezTo>
                  <a:cubicBezTo>
                    <a:pt x="631" y="39"/>
                    <a:pt x="641" y="43"/>
                    <a:pt x="649" y="50"/>
                  </a:cubicBezTo>
                  <a:cubicBezTo>
                    <a:pt x="652" y="55"/>
                    <a:pt x="659" y="55"/>
                    <a:pt x="664" y="57"/>
                  </a:cubicBezTo>
                  <a:cubicBezTo>
                    <a:pt x="674" y="56"/>
                    <a:pt x="684" y="53"/>
                    <a:pt x="694" y="50"/>
                  </a:cubicBezTo>
                  <a:cubicBezTo>
                    <a:pt x="700" y="53"/>
                    <a:pt x="705" y="53"/>
                    <a:pt x="711" y="53"/>
                  </a:cubicBezTo>
                  <a:cubicBezTo>
                    <a:pt x="721" y="54"/>
                    <a:pt x="731" y="54"/>
                    <a:pt x="740" y="54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83" name="Mongolia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6280781" y="2894495"/>
              <a:ext cx="765555" cy="312113"/>
            </a:xfrm>
            <a:custGeom>
              <a:avLst/>
              <a:gdLst/>
              <a:ahLst/>
              <a:cxnLst>
                <a:cxn ang="0">
                  <a:pos x="115" y="14"/>
                </a:cxn>
                <a:cxn ang="0">
                  <a:pos x="119" y="23"/>
                </a:cxn>
                <a:cxn ang="0">
                  <a:pos x="126" y="23"/>
                </a:cxn>
                <a:cxn ang="0">
                  <a:pos x="132" y="20"/>
                </a:cxn>
                <a:cxn ang="0">
                  <a:pos x="134" y="23"/>
                </a:cxn>
                <a:cxn ang="0">
                  <a:pos x="138" y="29"/>
                </a:cxn>
                <a:cxn ang="0">
                  <a:pos x="128" y="29"/>
                </a:cxn>
                <a:cxn ang="0">
                  <a:pos x="126" y="32"/>
                </a:cxn>
                <a:cxn ang="0">
                  <a:pos x="123" y="36"/>
                </a:cxn>
                <a:cxn ang="0">
                  <a:pos x="119" y="38"/>
                </a:cxn>
                <a:cxn ang="0">
                  <a:pos x="115" y="38"/>
                </a:cxn>
                <a:cxn ang="0">
                  <a:pos x="111" y="41"/>
                </a:cxn>
                <a:cxn ang="0">
                  <a:pos x="115" y="45"/>
                </a:cxn>
                <a:cxn ang="0">
                  <a:pos x="109" y="52"/>
                </a:cxn>
                <a:cxn ang="0">
                  <a:pos x="100" y="54"/>
                </a:cxn>
                <a:cxn ang="0">
                  <a:pos x="88" y="56"/>
                </a:cxn>
                <a:cxn ang="0">
                  <a:pos x="69" y="52"/>
                </a:cxn>
                <a:cxn ang="0">
                  <a:pos x="52" y="52"/>
                </a:cxn>
                <a:cxn ang="0">
                  <a:pos x="40" y="41"/>
                </a:cxn>
                <a:cxn ang="0">
                  <a:pos x="21" y="36"/>
                </a:cxn>
                <a:cxn ang="0">
                  <a:pos x="19" y="27"/>
                </a:cxn>
                <a:cxn ang="0">
                  <a:pos x="13" y="23"/>
                </a:cxn>
                <a:cxn ang="0">
                  <a:pos x="7" y="20"/>
                </a:cxn>
                <a:cxn ang="0">
                  <a:pos x="0" y="14"/>
                </a:cxn>
                <a:cxn ang="0">
                  <a:pos x="15" y="5"/>
                </a:cxn>
                <a:cxn ang="0">
                  <a:pos x="23" y="9"/>
                </a:cxn>
                <a:cxn ang="0">
                  <a:pos x="30" y="11"/>
                </a:cxn>
                <a:cxn ang="0">
                  <a:pos x="40" y="11"/>
                </a:cxn>
                <a:cxn ang="0">
                  <a:pos x="40" y="5"/>
                </a:cxn>
                <a:cxn ang="0">
                  <a:pos x="38" y="2"/>
                </a:cxn>
                <a:cxn ang="0">
                  <a:pos x="40" y="0"/>
                </a:cxn>
                <a:cxn ang="0">
                  <a:pos x="52" y="2"/>
                </a:cxn>
                <a:cxn ang="0">
                  <a:pos x="61" y="9"/>
                </a:cxn>
                <a:cxn ang="0">
                  <a:pos x="71" y="9"/>
                </a:cxn>
                <a:cxn ang="0">
                  <a:pos x="92" y="14"/>
                </a:cxn>
                <a:cxn ang="0">
                  <a:pos x="103" y="11"/>
                </a:cxn>
                <a:cxn ang="0">
                  <a:pos x="109" y="9"/>
                </a:cxn>
                <a:cxn ang="0">
                  <a:pos x="117" y="11"/>
                </a:cxn>
                <a:cxn ang="0">
                  <a:pos x="115" y="14"/>
                </a:cxn>
              </a:cxnLst>
              <a:rect l="0" t="0" r="r" b="b"/>
              <a:pathLst>
                <a:path w="138" h="56">
                  <a:moveTo>
                    <a:pt x="115" y="14"/>
                  </a:moveTo>
                  <a:lnTo>
                    <a:pt x="119" y="23"/>
                  </a:lnTo>
                  <a:lnTo>
                    <a:pt x="126" y="23"/>
                  </a:lnTo>
                  <a:lnTo>
                    <a:pt x="132" y="20"/>
                  </a:lnTo>
                  <a:lnTo>
                    <a:pt x="134" y="23"/>
                  </a:lnTo>
                  <a:lnTo>
                    <a:pt x="138" y="29"/>
                  </a:lnTo>
                  <a:lnTo>
                    <a:pt x="128" y="29"/>
                  </a:lnTo>
                  <a:lnTo>
                    <a:pt x="126" y="32"/>
                  </a:lnTo>
                  <a:lnTo>
                    <a:pt x="123" y="36"/>
                  </a:lnTo>
                  <a:lnTo>
                    <a:pt x="119" y="38"/>
                  </a:lnTo>
                  <a:lnTo>
                    <a:pt x="115" y="38"/>
                  </a:lnTo>
                  <a:lnTo>
                    <a:pt x="111" y="41"/>
                  </a:lnTo>
                  <a:lnTo>
                    <a:pt x="115" y="45"/>
                  </a:lnTo>
                  <a:lnTo>
                    <a:pt x="109" y="52"/>
                  </a:lnTo>
                  <a:lnTo>
                    <a:pt x="100" y="54"/>
                  </a:lnTo>
                  <a:lnTo>
                    <a:pt x="88" y="56"/>
                  </a:lnTo>
                  <a:lnTo>
                    <a:pt x="69" y="52"/>
                  </a:lnTo>
                  <a:lnTo>
                    <a:pt x="52" y="52"/>
                  </a:lnTo>
                  <a:lnTo>
                    <a:pt x="40" y="41"/>
                  </a:lnTo>
                  <a:lnTo>
                    <a:pt x="21" y="36"/>
                  </a:lnTo>
                  <a:lnTo>
                    <a:pt x="19" y="27"/>
                  </a:lnTo>
                  <a:lnTo>
                    <a:pt x="13" y="23"/>
                  </a:lnTo>
                  <a:lnTo>
                    <a:pt x="7" y="20"/>
                  </a:lnTo>
                  <a:lnTo>
                    <a:pt x="0" y="14"/>
                  </a:lnTo>
                  <a:lnTo>
                    <a:pt x="15" y="5"/>
                  </a:lnTo>
                  <a:lnTo>
                    <a:pt x="23" y="9"/>
                  </a:lnTo>
                  <a:lnTo>
                    <a:pt x="30" y="11"/>
                  </a:lnTo>
                  <a:lnTo>
                    <a:pt x="40" y="11"/>
                  </a:lnTo>
                  <a:lnTo>
                    <a:pt x="40" y="5"/>
                  </a:lnTo>
                  <a:lnTo>
                    <a:pt x="38" y="2"/>
                  </a:lnTo>
                  <a:lnTo>
                    <a:pt x="40" y="0"/>
                  </a:lnTo>
                  <a:lnTo>
                    <a:pt x="52" y="2"/>
                  </a:lnTo>
                  <a:lnTo>
                    <a:pt x="61" y="9"/>
                  </a:lnTo>
                  <a:lnTo>
                    <a:pt x="71" y="9"/>
                  </a:lnTo>
                  <a:lnTo>
                    <a:pt x="92" y="14"/>
                  </a:lnTo>
                  <a:lnTo>
                    <a:pt x="103" y="11"/>
                  </a:lnTo>
                  <a:lnTo>
                    <a:pt x="109" y="9"/>
                  </a:lnTo>
                  <a:lnTo>
                    <a:pt x="117" y="11"/>
                  </a:lnTo>
                  <a:lnTo>
                    <a:pt x="115" y="1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84" name="Montenegro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4694197" y="3145300"/>
              <a:ext cx="61023" cy="61307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7" y="11"/>
                </a:cxn>
                <a:cxn ang="0">
                  <a:pos x="7" y="7"/>
                </a:cxn>
                <a:cxn ang="0">
                  <a:pos x="11" y="7"/>
                </a:cxn>
                <a:cxn ang="0">
                  <a:pos x="5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7"/>
                </a:cxn>
              </a:cxnLst>
              <a:rect l="0" t="0" r="r" b="b"/>
              <a:pathLst>
                <a:path w="11" h="11">
                  <a:moveTo>
                    <a:pt x="0" y="7"/>
                  </a:moveTo>
                  <a:lnTo>
                    <a:pt x="7" y="11"/>
                  </a:lnTo>
                  <a:lnTo>
                    <a:pt x="7" y="7"/>
                  </a:lnTo>
                  <a:lnTo>
                    <a:pt x="11" y="7"/>
                  </a:lnTo>
                  <a:lnTo>
                    <a:pt x="5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85" name="Monaco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 rot="16200000">
              <a:off x="4421289" y="3121700"/>
              <a:ext cx="11095" cy="360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2" y="9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9">
                  <a:moveTo>
                    <a:pt x="0" y="0"/>
                  </a:moveTo>
                  <a:lnTo>
                    <a:pt x="0" y="4"/>
                  </a:lnTo>
                  <a:lnTo>
                    <a:pt x="2" y="9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86" name="Moldawia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893906" y="2994816"/>
              <a:ext cx="66570" cy="100322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4" y="9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8" y="2"/>
                </a:cxn>
                <a:cxn ang="0">
                  <a:pos x="10" y="5"/>
                </a:cxn>
                <a:cxn ang="0">
                  <a:pos x="12" y="9"/>
                </a:cxn>
                <a:cxn ang="0">
                  <a:pos x="12" y="11"/>
                </a:cxn>
                <a:cxn ang="0">
                  <a:pos x="10" y="11"/>
                </a:cxn>
                <a:cxn ang="0">
                  <a:pos x="8" y="16"/>
                </a:cxn>
                <a:cxn ang="0">
                  <a:pos x="8" y="18"/>
                </a:cxn>
              </a:cxnLst>
              <a:rect l="0" t="0" r="r" b="b"/>
              <a:pathLst>
                <a:path w="12" h="18">
                  <a:moveTo>
                    <a:pt x="8" y="18"/>
                  </a:moveTo>
                  <a:lnTo>
                    <a:pt x="4" y="9"/>
                  </a:lnTo>
                  <a:lnTo>
                    <a:pt x="0" y="2"/>
                  </a:lnTo>
                  <a:lnTo>
                    <a:pt x="2" y="0"/>
                  </a:lnTo>
                  <a:lnTo>
                    <a:pt x="8" y="2"/>
                  </a:lnTo>
                  <a:lnTo>
                    <a:pt x="10" y="5"/>
                  </a:lnTo>
                  <a:lnTo>
                    <a:pt x="12" y="9"/>
                  </a:lnTo>
                  <a:lnTo>
                    <a:pt x="12" y="11"/>
                  </a:lnTo>
                  <a:lnTo>
                    <a:pt x="10" y="11"/>
                  </a:lnTo>
                  <a:lnTo>
                    <a:pt x="8" y="16"/>
                  </a:lnTo>
                  <a:lnTo>
                    <a:pt x="8" y="1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87" name="Mexico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1326865" y="3496426"/>
              <a:ext cx="682343" cy="579637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2" y="30"/>
                </a:cxn>
                <a:cxn ang="0">
                  <a:pos x="2" y="32"/>
                </a:cxn>
                <a:cxn ang="0">
                  <a:pos x="11" y="41"/>
                </a:cxn>
                <a:cxn ang="0">
                  <a:pos x="17" y="52"/>
                </a:cxn>
                <a:cxn ang="0">
                  <a:pos x="19" y="57"/>
                </a:cxn>
                <a:cxn ang="0">
                  <a:pos x="15" y="39"/>
                </a:cxn>
                <a:cxn ang="0">
                  <a:pos x="9" y="7"/>
                </a:cxn>
                <a:cxn ang="0">
                  <a:pos x="15" y="9"/>
                </a:cxn>
                <a:cxn ang="0">
                  <a:pos x="19" y="30"/>
                </a:cxn>
                <a:cxn ang="0">
                  <a:pos x="25" y="39"/>
                </a:cxn>
                <a:cxn ang="0">
                  <a:pos x="27" y="43"/>
                </a:cxn>
                <a:cxn ang="0">
                  <a:pos x="40" y="66"/>
                </a:cxn>
                <a:cxn ang="0">
                  <a:pos x="36" y="75"/>
                </a:cxn>
                <a:cxn ang="0">
                  <a:pos x="50" y="86"/>
                </a:cxn>
                <a:cxn ang="0">
                  <a:pos x="67" y="95"/>
                </a:cxn>
                <a:cxn ang="0">
                  <a:pos x="79" y="95"/>
                </a:cxn>
                <a:cxn ang="0">
                  <a:pos x="94" y="104"/>
                </a:cxn>
                <a:cxn ang="0">
                  <a:pos x="102" y="95"/>
                </a:cxn>
                <a:cxn ang="0">
                  <a:pos x="102" y="86"/>
                </a:cxn>
                <a:cxn ang="0">
                  <a:pos x="113" y="84"/>
                </a:cxn>
                <a:cxn ang="0">
                  <a:pos x="115" y="84"/>
                </a:cxn>
                <a:cxn ang="0">
                  <a:pos x="119" y="66"/>
                </a:cxn>
                <a:cxn ang="0">
                  <a:pos x="104" y="77"/>
                </a:cxn>
                <a:cxn ang="0">
                  <a:pos x="102" y="84"/>
                </a:cxn>
                <a:cxn ang="0">
                  <a:pos x="96" y="84"/>
                </a:cxn>
                <a:cxn ang="0">
                  <a:pos x="79" y="77"/>
                </a:cxn>
                <a:cxn ang="0">
                  <a:pos x="75" y="50"/>
                </a:cxn>
                <a:cxn ang="0">
                  <a:pos x="71" y="39"/>
                </a:cxn>
                <a:cxn ang="0">
                  <a:pos x="59" y="16"/>
                </a:cxn>
                <a:cxn ang="0">
                  <a:pos x="54" y="23"/>
                </a:cxn>
                <a:cxn ang="0">
                  <a:pos x="50" y="14"/>
                </a:cxn>
                <a:cxn ang="0">
                  <a:pos x="25" y="9"/>
                </a:cxn>
                <a:cxn ang="0">
                  <a:pos x="4" y="0"/>
                </a:cxn>
              </a:cxnLst>
              <a:rect l="0" t="0" r="r" b="b"/>
              <a:pathLst>
                <a:path w="123" h="104">
                  <a:moveTo>
                    <a:pt x="0" y="0"/>
                  </a:moveTo>
                  <a:lnTo>
                    <a:pt x="0" y="18"/>
                  </a:lnTo>
                  <a:lnTo>
                    <a:pt x="4" y="25"/>
                  </a:lnTo>
                  <a:lnTo>
                    <a:pt x="2" y="30"/>
                  </a:lnTo>
                  <a:lnTo>
                    <a:pt x="0" y="30"/>
                  </a:lnTo>
                  <a:lnTo>
                    <a:pt x="2" y="32"/>
                  </a:lnTo>
                  <a:lnTo>
                    <a:pt x="11" y="39"/>
                  </a:lnTo>
                  <a:lnTo>
                    <a:pt x="11" y="41"/>
                  </a:lnTo>
                  <a:lnTo>
                    <a:pt x="9" y="48"/>
                  </a:lnTo>
                  <a:lnTo>
                    <a:pt x="17" y="52"/>
                  </a:lnTo>
                  <a:lnTo>
                    <a:pt x="17" y="59"/>
                  </a:lnTo>
                  <a:lnTo>
                    <a:pt x="19" y="57"/>
                  </a:lnTo>
                  <a:lnTo>
                    <a:pt x="17" y="50"/>
                  </a:lnTo>
                  <a:lnTo>
                    <a:pt x="15" y="39"/>
                  </a:lnTo>
                  <a:lnTo>
                    <a:pt x="4" y="16"/>
                  </a:lnTo>
                  <a:lnTo>
                    <a:pt x="9" y="7"/>
                  </a:lnTo>
                  <a:lnTo>
                    <a:pt x="15" y="7"/>
                  </a:lnTo>
                  <a:lnTo>
                    <a:pt x="15" y="9"/>
                  </a:lnTo>
                  <a:lnTo>
                    <a:pt x="17" y="23"/>
                  </a:lnTo>
                  <a:lnTo>
                    <a:pt x="19" y="30"/>
                  </a:lnTo>
                  <a:lnTo>
                    <a:pt x="19" y="32"/>
                  </a:lnTo>
                  <a:lnTo>
                    <a:pt x="25" y="39"/>
                  </a:lnTo>
                  <a:lnTo>
                    <a:pt x="23" y="41"/>
                  </a:lnTo>
                  <a:lnTo>
                    <a:pt x="27" y="43"/>
                  </a:lnTo>
                  <a:lnTo>
                    <a:pt x="36" y="59"/>
                  </a:lnTo>
                  <a:lnTo>
                    <a:pt x="40" y="66"/>
                  </a:lnTo>
                  <a:lnTo>
                    <a:pt x="34" y="72"/>
                  </a:lnTo>
                  <a:lnTo>
                    <a:pt x="36" y="75"/>
                  </a:lnTo>
                  <a:lnTo>
                    <a:pt x="42" y="84"/>
                  </a:lnTo>
                  <a:lnTo>
                    <a:pt x="50" y="86"/>
                  </a:lnTo>
                  <a:lnTo>
                    <a:pt x="54" y="90"/>
                  </a:lnTo>
                  <a:lnTo>
                    <a:pt x="67" y="95"/>
                  </a:lnTo>
                  <a:lnTo>
                    <a:pt x="73" y="99"/>
                  </a:lnTo>
                  <a:lnTo>
                    <a:pt x="79" y="95"/>
                  </a:lnTo>
                  <a:lnTo>
                    <a:pt x="84" y="95"/>
                  </a:lnTo>
                  <a:lnTo>
                    <a:pt x="94" y="104"/>
                  </a:lnTo>
                  <a:lnTo>
                    <a:pt x="98" y="95"/>
                  </a:lnTo>
                  <a:lnTo>
                    <a:pt x="102" y="95"/>
                  </a:lnTo>
                  <a:lnTo>
                    <a:pt x="98" y="90"/>
                  </a:lnTo>
                  <a:lnTo>
                    <a:pt x="102" y="86"/>
                  </a:lnTo>
                  <a:lnTo>
                    <a:pt x="111" y="86"/>
                  </a:lnTo>
                  <a:lnTo>
                    <a:pt x="113" y="84"/>
                  </a:lnTo>
                  <a:lnTo>
                    <a:pt x="115" y="86"/>
                  </a:lnTo>
                  <a:lnTo>
                    <a:pt x="115" y="84"/>
                  </a:lnTo>
                  <a:lnTo>
                    <a:pt x="123" y="66"/>
                  </a:lnTo>
                  <a:lnTo>
                    <a:pt x="119" y="66"/>
                  </a:lnTo>
                  <a:lnTo>
                    <a:pt x="107" y="68"/>
                  </a:lnTo>
                  <a:lnTo>
                    <a:pt x="104" y="77"/>
                  </a:lnTo>
                  <a:lnTo>
                    <a:pt x="98" y="81"/>
                  </a:lnTo>
                  <a:lnTo>
                    <a:pt x="102" y="84"/>
                  </a:lnTo>
                  <a:lnTo>
                    <a:pt x="98" y="84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9" y="77"/>
                  </a:lnTo>
                  <a:lnTo>
                    <a:pt x="73" y="59"/>
                  </a:lnTo>
                  <a:lnTo>
                    <a:pt x="75" y="50"/>
                  </a:lnTo>
                  <a:lnTo>
                    <a:pt x="79" y="41"/>
                  </a:lnTo>
                  <a:lnTo>
                    <a:pt x="71" y="39"/>
                  </a:lnTo>
                  <a:lnTo>
                    <a:pt x="65" y="18"/>
                  </a:lnTo>
                  <a:lnTo>
                    <a:pt x="59" y="16"/>
                  </a:lnTo>
                  <a:lnTo>
                    <a:pt x="57" y="23"/>
                  </a:lnTo>
                  <a:lnTo>
                    <a:pt x="54" y="23"/>
                  </a:lnTo>
                  <a:lnTo>
                    <a:pt x="50" y="16"/>
                  </a:lnTo>
                  <a:lnTo>
                    <a:pt x="50" y="14"/>
                  </a:lnTo>
                  <a:lnTo>
                    <a:pt x="48" y="7"/>
                  </a:lnTo>
                  <a:lnTo>
                    <a:pt x="25" y="9"/>
                  </a:lnTo>
                  <a:lnTo>
                    <a:pt x="11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88" name="Mauritius"/>
            <p:cNvGrpSpPr/>
            <p:nvPr/>
          </p:nvGrpSpPr>
          <p:grpSpPr>
            <a:xfrm>
              <a:off x="5637273" y="5140590"/>
              <a:ext cx="83698" cy="151833"/>
              <a:chOff x="5637273" y="5140590"/>
              <a:chExt cx="83698" cy="151833"/>
            </a:xfrm>
            <a:grpFill/>
          </p:grpSpPr>
          <p:sp>
            <p:nvSpPr>
              <p:cNvPr id="323" name="Mauritius"/>
              <p:cNvSpPr>
                <a:spLocks/>
              </p:cNvSpPr>
              <p:nvPr/>
            </p:nvSpPr>
            <p:spPr bwMode="auto">
              <a:xfrm>
                <a:off x="5707609" y="5249029"/>
                <a:ext cx="13362" cy="19193"/>
              </a:xfrm>
              <a:custGeom>
                <a:avLst/>
                <a:gdLst>
                  <a:gd name="T0" fmla="*/ 35 w 37"/>
                  <a:gd name="T1" fmla="*/ 13 h 43"/>
                  <a:gd name="T2" fmla="*/ 36 w 37"/>
                  <a:gd name="T3" fmla="*/ 18 h 43"/>
                  <a:gd name="T4" fmla="*/ 35 w 37"/>
                  <a:gd name="T5" fmla="*/ 26 h 43"/>
                  <a:gd name="T6" fmla="*/ 30 w 37"/>
                  <a:gd name="T7" fmla="*/ 32 h 43"/>
                  <a:gd name="T8" fmla="*/ 29 w 37"/>
                  <a:gd name="T9" fmla="*/ 37 h 43"/>
                  <a:gd name="T10" fmla="*/ 23 w 37"/>
                  <a:gd name="T11" fmla="*/ 41 h 43"/>
                  <a:gd name="T12" fmla="*/ 16 w 37"/>
                  <a:gd name="T13" fmla="*/ 43 h 43"/>
                  <a:gd name="T14" fmla="*/ 9 w 37"/>
                  <a:gd name="T15" fmla="*/ 41 h 43"/>
                  <a:gd name="T16" fmla="*/ 2 w 37"/>
                  <a:gd name="T17" fmla="*/ 38 h 43"/>
                  <a:gd name="T18" fmla="*/ 2 w 37"/>
                  <a:gd name="T19" fmla="*/ 35 h 43"/>
                  <a:gd name="T20" fmla="*/ 6 w 37"/>
                  <a:gd name="T21" fmla="*/ 31 h 43"/>
                  <a:gd name="T22" fmla="*/ 7 w 37"/>
                  <a:gd name="T23" fmla="*/ 24 h 43"/>
                  <a:gd name="T24" fmla="*/ 12 w 37"/>
                  <a:gd name="T25" fmla="*/ 16 h 43"/>
                  <a:gd name="T26" fmla="*/ 16 w 37"/>
                  <a:gd name="T27" fmla="*/ 14 h 43"/>
                  <a:gd name="T28" fmla="*/ 20 w 37"/>
                  <a:gd name="T29" fmla="*/ 8 h 43"/>
                  <a:gd name="T30" fmla="*/ 24 w 37"/>
                  <a:gd name="T31" fmla="*/ 2 h 43"/>
                  <a:gd name="T32" fmla="*/ 31 w 37"/>
                  <a:gd name="T33" fmla="*/ 2 h 43"/>
                  <a:gd name="T34" fmla="*/ 32 w 37"/>
                  <a:gd name="T35" fmla="*/ 7 h 43"/>
                  <a:gd name="T36" fmla="*/ 35 w 37"/>
                  <a:gd name="T37" fmla="*/ 1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7" h="43">
                    <a:moveTo>
                      <a:pt x="35" y="13"/>
                    </a:moveTo>
                    <a:cubicBezTo>
                      <a:pt x="33" y="14"/>
                      <a:pt x="36" y="16"/>
                      <a:pt x="36" y="18"/>
                    </a:cubicBezTo>
                    <a:cubicBezTo>
                      <a:pt x="37" y="20"/>
                      <a:pt x="37" y="23"/>
                      <a:pt x="35" y="26"/>
                    </a:cubicBezTo>
                    <a:cubicBezTo>
                      <a:pt x="34" y="28"/>
                      <a:pt x="33" y="31"/>
                      <a:pt x="30" y="32"/>
                    </a:cubicBezTo>
                    <a:cubicBezTo>
                      <a:pt x="28" y="32"/>
                      <a:pt x="29" y="35"/>
                      <a:pt x="29" y="37"/>
                    </a:cubicBezTo>
                    <a:cubicBezTo>
                      <a:pt x="27" y="39"/>
                      <a:pt x="25" y="41"/>
                      <a:pt x="23" y="41"/>
                    </a:cubicBezTo>
                    <a:cubicBezTo>
                      <a:pt x="20" y="41"/>
                      <a:pt x="18" y="43"/>
                      <a:pt x="16" y="43"/>
                    </a:cubicBezTo>
                    <a:cubicBezTo>
                      <a:pt x="13" y="43"/>
                      <a:pt x="11" y="42"/>
                      <a:pt x="9" y="41"/>
                    </a:cubicBezTo>
                    <a:cubicBezTo>
                      <a:pt x="6" y="41"/>
                      <a:pt x="4" y="41"/>
                      <a:pt x="2" y="38"/>
                    </a:cubicBezTo>
                    <a:cubicBezTo>
                      <a:pt x="1" y="38"/>
                      <a:pt x="0" y="34"/>
                      <a:pt x="2" y="35"/>
                    </a:cubicBezTo>
                    <a:cubicBezTo>
                      <a:pt x="5" y="36"/>
                      <a:pt x="6" y="33"/>
                      <a:pt x="6" y="31"/>
                    </a:cubicBezTo>
                    <a:cubicBezTo>
                      <a:pt x="5" y="29"/>
                      <a:pt x="7" y="26"/>
                      <a:pt x="7" y="24"/>
                    </a:cubicBezTo>
                    <a:cubicBezTo>
                      <a:pt x="8" y="21"/>
                      <a:pt x="10" y="18"/>
                      <a:pt x="12" y="16"/>
                    </a:cubicBezTo>
                    <a:cubicBezTo>
                      <a:pt x="13" y="15"/>
                      <a:pt x="15" y="14"/>
                      <a:pt x="16" y="14"/>
                    </a:cubicBezTo>
                    <a:cubicBezTo>
                      <a:pt x="19" y="13"/>
                      <a:pt x="18" y="10"/>
                      <a:pt x="20" y="8"/>
                    </a:cubicBezTo>
                    <a:cubicBezTo>
                      <a:pt x="21" y="6"/>
                      <a:pt x="21" y="3"/>
                      <a:pt x="24" y="2"/>
                    </a:cubicBezTo>
                    <a:cubicBezTo>
                      <a:pt x="26" y="1"/>
                      <a:pt x="29" y="0"/>
                      <a:pt x="31" y="2"/>
                    </a:cubicBezTo>
                    <a:cubicBezTo>
                      <a:pt x="33" y="3"/>
                      <a:pt x="32" y="5"/>
                      <a:pt x="32" y="7"/>
                    </a:cubicBezTo>
                    <a:cubicBezTo>
                      <a:pt x="32" y="10"/>
                      <a:pt x="35" y="10"/>
                      <a:pt x="35" y="13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24" name="Mauritius"/>
              <p:cNvSpPr>
                <a:spLocks/>
              </p:cNvSpPr>
              <p:nvPr/>
            </p:nvSpPr>
            <p:spPr bwMode="auto">
              <a:xfrm>
                <a:off x="5653456" y="5274064"/>
                <a:ext cx="16176" cy="18359"/>
              </a:xfrm>
              <a:custGeom>
                <a:avLst/>
                <a:gdLst>
                  <a:gd name="T0" fmla="*/ 37 w 43"/>
                  <a:gd name="T1" fmla="*/ 22 h 43"/>
                  <a:gd name="T2" fmla="*/ 41 w 43"/>
                  <a:gd name="T3" fmla="*/ 28 h 43"/>
                  <a:gd name="T4" fmla="*/ 37 w 43"/>
                  <a:gd name="T5" fmla="*/ 35 h 43"/>
                  <a:gd name="T6" fmla="*/ 34 w 43"/>
                  <a:gd name="T7" fmla="*/ 42 h 43"/>
                  <a:gd name="T8" fmla="*/ 23 w 43"/>
                  <a:gd name="T9" fmla="*/ 43 h 43"/>
                  <a:gd name="T10" fmla="*/ 16 w 43"/>
                  <a:gd name="T11" fmla="*/ 40 h 43"/>
                  <a:gd name="T12" fmla="*/ 10 w 43"/>
                  <a:gd name="T13" fmla="*/ 36 h 43"/>
                  <a:gd name="T14" fmla="*/ 5 w 43"/>
                  <a:gd name="T15" fmla="*/ 31 h 43"/>
                  <a:gd name="T16" fmla="*/ 4 w 43"/>
                  <a:gd name="T17" fmla="*/ 24 h 43"/>
                  <a:gd name="T18" fmla="*/ 1 w 43"/>
                  <a:gd name="T19" fmla="*/ 17 h 43"/>
                  <a:gd name="T20" fmla="*/ 4 w 43"/>
                  <a:gd name="T21" fmla="*/ 11 h 43"/>
                  <a:gd name="T22" fmla="*/ 8 w 43"/>
                  <a:gd name="T23" fmla="*/ 5 h 43"/>
                  <a:gd name="T24" fmla="*/ 13 w 43"/>
                  <a:gd name="T25" fmla="*/ 3 h 43"/>
                  <a:gd name="T26" fmla="*/ 21 w 43"/>
                  <a:gd name="T27" fmla="*/ 3 h 43"/>
                  <a:gd name="T28" fmla="*/ 27 w 43"/>
                  <a:gd name="T29" fmla="*/ 4 h 43"/>
                  <a:gd name="T30" fmla="*/ 33 w 43"/>
                  <a:gd name="T31" fmla="*/ 7 h 43"/>
                  <a:gd name="T32" fmla="*/ 34 w 43"/>
                  <a:gd name="T33" fmla="*/ 14 h 43"/>
                  <a:gd name="T34" fmla="*/ 35 w 43"/>
                  <a:gd name="T35" fmla="*/ 15 h 43"/>
                  <a:gd name="T36" fmla="*/ 37 w 43"/>
                  <a:gd name="T37" fmla="*/ 2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3">
                    <a:moveTo>
                      <a:pt x="37" y="22"/>
                    </a:moveTo>
                    <a:cubicBezTo>
                      <a:pt x="38" y="24"/>
                      <a:pt x="43" y="24"/>
                      <a:pt x="41" y="28"/>
                    </a:cubicBezTo>
                    <a:cubicBezTo>
                      <a:pt x="40" y="30"/>
                      <a:pt x="38" y="33"/>
                      <a:pt x="37" y="35"/>
                    </a:cubicBezTo>
                    <a:cubicBezTo>
                      <a:pt x="37" y="37"/>
                      <a:pt x="38" y="41"/>
                      <a:pt x="34" y="42"/>
                    </a:cubicBezTo>
                    <a:cubicBezTo>
                      <a:pt x="31" y="42"/>
                      <a:pt x="27" y="43"/>
                      <a:pt x="23" y="43"/>
                    </a:cubicBezTo>
                    <a:cubicBezTo>
                      <a:pt x="21" y="42"/>
                      <a:pt x="18" y="43"/>
                      <a:pt x="16" y="40"/>
                    </a:cubicBezTo>
                    <a:cubicBezTo>
                      <a:pt x="14" y="38"/>
                      <a:pt x="11" y="38"/>
                      <a:pt x="10" y="36"/>
                    </a:cubicBezTo>
                    <a:cubicBezTo>
                      <a:pt x="8" y="34"/>
                      <a:pt x="5" y="34"/>
                      <a:pt x="5" y="31"/>
                    </a:cubicBezTo>
                    <a:cubicBezTo>
                      <a:pt x="3" y="29"/>
                      <a:pt x="3" y="27"/>
                      <a:pt x="4" y="24"/>
                    </a:cubicBezTo>
                    <a:cubicBezTo>
                      <a:pt x="4" y="22"/>
                      <a:pt x="2" y="19"/>
                      <a:pt x="1" y="17"/>
                    </a:cubicBezTo>
                    <a:cubicBezTo>
                      <a:pt x="0" y="15"/>
                      <a:pt x="1" y="12"/>
                      <a:pt x="4" y="11"/>
                    </a:cubicBezTo>
                    <a:cubicBezTo>
                      <a:pt x="7" y="10"/>
                      <a:pt x="6" y="6"/>
                      <a:pt x="8" y="5"/>
                    </a:cubicBezTo>
                    <a:cubicBezTo>
                      <a:pt x="10" y="5"/>
                      <a:pt x="12" y="4"/>
                      <a:pt x="13" y="3"/>
                    </a:cubicBezTo>
                    <a:cubicBezTo>
                      <a:pt x="16" y="2"/>
                      <a:pt x="19" y="0"/>
                      <a:pt x="21" y="3"/>
                    </a:cubicBezTo>
                    <a:cubicBezTo>
                      <a:pt x="23" y="4"/>
                      <a:pt x="25" y="3"/>
                      <a:pt x="27" y="4"/>
                    </a:cubicBezTo>
                    <a:cubicBezTo>
                      <a:pt x="29" y="5"/>
                      <a:pt x="31" y="6"/>
                      <a:pt x="33" y="7"/>
                    </a:cubicBezTo>
                    <a:cubicBezTo>
                      <a:pt x="35" y="9"/>
                      <a:pt x="34" y="12"/>
                      <a:pt x="34" y="14"/>
                    </a:cubicBezTo>
                    <a:cubicBezTo>
                      <a:pt x="34" y="14"/>
                      <a:pt x="35" y="14"/>
                      <a:pt x="35" y="15"/>
                    </a:cubicBezTo>
                    <a:cubicBezTo>
                      <a:pt x="35" y="17"/>
                      <a:pt x="36" y="20"/>
                      <a:pt x="37" y="22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25" name="Mauritius"/>
              <p:cNvSpPr>
                <a:spLocks/>
              </p:cNvSpPr>
              <p:nvPr>
                <p:custDataLst>
                  <p:tags r:id="rId225"/>
                </p:custDataLst>
              </p:nvPr>
            </p:nvSpPr>
            <p:spPr bwMode="auto">
              <a:xfrm>
                <a:off x="5637273" y="5140590"/>
                <a:ext cx="11095" cy="1672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2" y="0"/>
                  </a:cxn>
                  <a:cxn ang="0">
                    <a:pos x="2" y="3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2" y="0"/>
                    </a:lnTo>
                    <a:lnTo>
                      <a:pt x="2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89" name="Mauritania"/>
            <p:cNvSpPr>
              <a:spLocks/>
            </p:cNvSpPr>
            <p:nvPr/>
          </p:nvSpPr>
          <p:spPr bwMode="auto">
            <a:xfrm>
              <a:off x="3801729" y="3655116"/>
              <a:ext cx="323507" cy="407240"/>
            </a:xfrm>
            <a:custGeom>
              <a:avLst/>
              <a:gdLst>
                <a:gd name="T0" fmla="*/ 18 w 890"/>
                <a:gd name="T1" fmla="*/ 443 h 943"/>
                <a:gd name="T2" fmla="*/ 21 w 890"/>
                <a:gd name="T3" fmla="*/ 431 h 943"/>
                <a:gd name="T4" fmla="*/ 289 w 890"/>
                <a:gd name="T5" fmla="*/ 434 h 943"/>
                <a:gd name="T6" fmla="*/ 300 w 890"/>
                <a:gd name="T7" fmla="*/ 314 h 943"/>
                <a:gd name="T8" fmla="*/ 381 w 890"/>
                <a:gd name="T9" fmla="*/ 277 h 943"/>
                <a:gd name="T10" fmla="*/ 636 w 890"/>
                <a:gd name="T11" fmla="*/ 97 h 943"/>
                <a:gd name="T12" fmla="*/ 890 w 890"/>
                <a:gd name="T13" fmla="*/ 183 h 943"/>
                <a:gd name="T14" fmla="*/ 769 w 890"/>
                <a:gd name="T15" fmla="*/ 179 h 943"/>
                <a:gd name="T16" fmla="*/ 788 w 890"/>
                <a:gd name="T17" fmla="*/ 849 h 943"/>
                <a:gd name="T18" fmla="*/ 501 w 890"/>
                <a:gd name="T19" fmla="*/ 891 h 943"/>
                <a:gd name="T20" fmla="*/ 481 w 890"/>
                <a:gd name="T21" fmla="*/ 895 h 943"/>
                <a:gd name="T22" fmla="*/ 398 w 890"/>
                <a:gd name="T23" fmla="*/ 897 h 943"/>
                <a:gd name="T24" fmla="*/ 350 w 890"/>
                <a:gd name="T25" fmla="*/ 877 h 943"/>
                <a:gd name="T26" fmla="*/ 316 w 890"/>
                <a:gd name="T27" fmla="*/ 919 h 943"/>
                <a:gd name="T28" fmla="*/ 285 w 890"/>
                <a:gd name="T29" fmla="*/ 940 h 943"/>
                <a:gd name="T30" fmla="*/ 246 w 890"/>
                <a:gd name="T31" fmla="*/ 904 h 943"/>
                <a:gd name="T32" fmla="*/ 232 w 890"/>
                <a:gd name="T33" fmla="*/ 883 h 943"/>
                <a:gd name="T34" fmla="*/ 212 w 890"/>
                <a:gd name="T35" fmla="*/ 839 h 943"/>
                <a:gd name="T36" fmla="*/ 189 w 890"/>
                <a:gd name="T37" fmla="*/ 829 h 943"/>
                <a:gd name="T38" fmla="*/ 171 w 890"/>
                <a:gd name="T39" fmla="*/ 813 h 943"/>
                <a:gd name="T40" fmla="*/ 139 w 890"/>
                <a:gd name="T41" fmla="*/ 791 h 943"/>
                <a:gd name="T42" fmla="*/ 96 w 890"/>
                <a:gd name="T43" fmla="*/ 792 h 943"/>
                <a:gd name="T44" fmla="*/ 26 w 890"/>
                <a:gd name="T45" fmla="*/ 792 h 943"/>
                <a:gd name="T46" fmla="*/ 0 w 890"/>
                <a:gd name="T47" fmla="*/ 827 h 943"/>
                <a:gd name="T48" fmla="*/ 9 w 890"/>
                <a:gd name="T49" fmla="*/ 774 h 943"/>
                <a:gd name="T50" fmla="*/ 40 w 890"/>
                <a:gd name="T51" fmla="*/ 706 h 943"/>
                <a:gd name="T52" fmla="*/ 52 w 890"/>
                <a:gd name="T53" fmla="*/ 619 h 943"/>
                <a:gd name="T54" fmla="*/ 31 w 890"/>
                <a:gd name="T55" fmla="*/ 574 h 943"/>
                <a:gd name="T56" fmla="*/ 45 w 890"/>
                <a:gd name="T57" fmla="*/ 550 h 943"/>
                <a:gd name="T58" fmla="*/ 59 w 890"/>
                <a:gd name="T59" fmla="*/ 503 h 943"/>
                <a:gd name="T60" fmla="*/ 41 w 890"/>
                <a:gd name="T61" fmla="*/ 479 h 943"/>
                <a:gd name="T62" fmla="*/ 27 w 890"/>
                <a:gd name="T63" fmla="*/ 441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90" h="943">
                  <a:moveTo>
                    <a:pt x="27" y="441"/>
                  </a:moveTo>
                  <a:cubicBezTo>
                    <a:pt x="27" y="435"/>
                    <a:pt x="21" y="442"/>
                    <a:pt x="18" y="443"/>
                  </a:cubicBezTo>
                  <a:cubicBezTo>
                    <a:pt x="17" y="444"/>
                    <a:pt x="16" y="444"/>
                    <a:pt x="15" y="444"/>
                  </a:cubicBezTo>
                  <a:cubicBezTo>
                    <a:pt x="18" y="439"/>
                    <a:pt x="20" y="435"/>
                    <a:pt x="21" y="431"/>
                  </a:cubicBezTo>
                  <a:cubicBezTo>
                    <a:pt x="22" y="417"/>
                    <a:pt x="33" y="420"/>
                    <a:pt x="44" y="421"/>
                  </a:cubicBezTo>
                  <a:cubicBezTo>
                    <a:pt x="128" y="426"/>
                    <a:pt x="205" y="430"/>
                    <a:pt x="289" y="434"/>
                  </a:cubicBezTo>
                  <a:cubicBezTo>
                    <a:pt x="291" y="405"/>
                    <a:pt x="294" y="376"/>
                    <a:pt x="296" y="346"/>
                  </a:cubicBezTo>
                  <a:cubicBezTo>
                    <a:pt x="296" y="336"/>
                    <a:pt x="291" y="323"/>
                    <a:pt x="300" y="314"/>
                  </a:cubicBezTo>
                  <a:cubicBezTo>
                    <a:pt x="312" y="302"/>
                    <a:pt x="328" y="293"/>
                    <a:pt x="344" y="287"/>
                  </a:cubicBezTo>
                  <a:cubicBezTo>
                    <a:pt x="357" y="287"/>
                    <a:pt x="368" y="278"/>
                    <a:pt x="381" y="277"/>
                  </a:cubicBezTo>
                  <a:cubicBezTo>
                    <a:pt x="390" y="213"/>
                    <a:pt x="400" y="149"/>
                    <a:pt x="411" y="85"/>
                  </a:cubicBezTo>
                  <a:cubicBezTo>
                    <a:pt x="486" y="89"/>
                    <a:pt x="561" y="93"/>
                    <a:pt x="636" y="97"/>
                  </a:cubicBezTo>
                  <a:cubicBezTo>
                    <a:pt x="641" y="65"/>
                    <a:pt x="646" y="32"/>
                    <a:pt x="651" y="0"/>
                  </a:cubicBezTo>
                  <a:cubicBezTo>
                    <a:pt x="731" y="61"/>
                    <a:pt x="811" y="122"/>
                    <a:pt x="890" y="183"/>
                  </a:cubicBezTo>
                  <a:cubicBezTo>
                    <a:pt x="860" y="183"/>
                    <a:pt x="830" y="181"/>
                    <a:pt x="800" y="180"/>
                  </a:cubicBezTo>
                  <a:cubicBezTo>
                    <a:pt x="790" y="179"/>
                    <a:pt x="780" y="179"/>
                    <a:pt x="769" y="179"/>
                  </a:cubicBezTo>
                  <a:cubicBezTo>
                    <a:pt x="766" y="391"/>
                    <a:pt x="767" y="603"/>
                    <a:pt x="773" y="815"/>
                  </a:cubicBezTo>
                  <a:cubicBezTo>
                    <a:pt x="771" y="830"/>
                    <a:pt x="800" y="831"/>
                    <a:pt x="788" y="849"/>
                  </a:cubicBezTo>
                  <a:cubicBezTo>
                    <a:pt x="783" y="865"/>
                    <a:pt x="779" y="882"/>
                    <a:pt x="775" y="899"/>
                  </a:cubicBezTo>
                  <a:cubicBezTo>
                    <a:pt x="684" y="895"/>
                    <a:pt x="592" y="894"/>
                    <a:pt x="501" y="891"/>
                  </a:cubicBezTo>
                  <a:cubicBezTo>
                    <a:pt x="494" y="889"/>
                    <a:pt x="507" y="871"/>
                    <a:pt x="494" y="879"/>
                  </a:cubicBezTo>
                  <a:cubicBezTo>
                    <a:pt x="491" y="886"/>
                    <a:pt x="494" y="900"/>
                    <a:pt x="481" y="895"/>
                  </a:cubicBezTo>
                  <a:cubicBezTo>
                    <a:pt x="468" y="897"/>
                    <a:pt x="455" y="901"/>
                    <a:pt x="442" y="899"/>
                  </a:cubicBezTo>
                  <a:cubicBezTo>
                    <a:pt x="429" y="893"/>
                    <a:pt x="408" y="888"/>
                    <a:pt x="398" y="897"/>
                  </a:cubicBezTo>
                  <a:cubicBezTo>
                    <a:pt x="393" y="903"/>
                    <a:pt x="388" y="911"/>
                    <a:pt x="382" y="916"/>
                  </a:cubicBezTo>
                  <a:cubicBezTo>
                    <a:pt x="376" y="900"/>
                    <a:pt x="357" y="893"/>
                    <a:pt x="350" y="877"/>
                  </a:cubicBezTo>
                  <a:cubicBezTo>
                    <a:pt x="343" y="871"/>
                    <a:pt x="338" y="887"/>
                    <a:pt x="328" y="883"/>
                  </a:cubicBezTo>
                  <a:cubicBezTo>
                    <a:pt x="324" y="895"/>
                    <a:pt x="316" y="906"/>
                    <a:pt x="316" y="919"/>
                  </a:cubicBezTo>
                  <a:cubicBezTo>
                    <a:pt x="324" y="931"/>
                    <a:pt x="304" y="943"/>
                    <a:pt x="295" y="942"/>
                  </a:cubicBezTo>
                  <a:cubicBezTo>
                    <a:pt x="291" y="942"/>
                    <a:pt x="288" y="942"/>
                    <a:pt x="285" y="940"/>
                  </a:cubicBezTo>
                  <a:cubicBezTo>
                    <a:pt x="276" y="936"/>
                    <a:pt x="271" y="927"/>
                    <a:pt x="266" y="919"/>
                  </a:cubicBezTo>
                  <a:cubicBezTo>
                    <a:pt x="258" y="915"/>
                    <a:pt x="250" y="912"/>
                    <a:pt x="246" y="904"/>
                  </a:cubicBezTo>
                  <a:cubicBezTo>
                    <a:pt x="238" y="904"/>
                    <a:pt x="252" y="896"/>
                    <a:pt x="242" y="894"/>
                  </a:cubicBezTo>
                  <a:cubicBezTo>
                    <a:pt x="239" y="889"/>
                    <a:pt x="241" y="879"/>
                    <a:pt x="232" y="883"/>
                  </a:cubicBezTo>
                  <a:cubicBezTo>
                    <a:pt x="229" y="877"/>
                    <a:pt x="229" y="871"/>
                    <a:pt x="221" y="871"/>
                  </a:cubicBezTo>
                  <a:cubicBezTo>
                    <a:pt x="221" y="860"/>
                    <a:pt x="216" y="850"/>
                    <a:pt x="212" y="839"/>
                  </a:cubicBezTo>
                  <a:cubicBezTo>
                    <a:pt x="212" y="833"/>
                    <a:pt x="201" y="838"/>
                    <a:pt x="207" y="832"/>
                  </a:cubicBezTo>
                  <a:cubicBezTo>
                    <a:pt x="196" y="833"/>
                    <a:pt x="187" y="834"/>
                    <a:pt x="189" y="829"/>
                  </a:cubicBezTo>
                  <a:cubicBezTo>
                    <a:pt x="179" y="836"/>
                    <a:pt x="170" y="815"/>
                    <a:pt x="171" y="813"/>
                  </a:cubicBezTo>
                  <a:cubicBezTo>
                    <a:pt x="171" y="813"/>
                    <a:pt x="171" y="813"/>
                    <a:pt x="171" y="813"/>
                  </a:cubicBezTo>
                  <a:cubicBezTo>
                    <a:pt x="171" y="813"/>
                    <a:pt x="171" y="813"/>
                    <a:pt x="171" y="813"/>
                  </a:cubicBezTo>
                  <a:cubicBezTo>
                    <a:pt x="160" y="804"/>
                    <a:pt x="153" y="789"/>
                    <a:pt x="139" y="791"/>
                  </a:cubicBezTo>
                  <a:cubicBezTo>
                    <a:pt x="127" y="792"/>
                    <a:pt x="111" y="786"/>
                    <a:pt x="103" y="788"/>
                  </a:cubicBezTo>
                  <a:cubicBezTo>
                    <a:pt x="98" y="790"/>
                    <a:pt x="96" y="784"/>
                    <a:pt x="96" y="792"/>
                  </a:cubicBezTo>
                  <a:cubicBezTo>
                    <a:pt x="82" y="796"/>
                    <a:pt x="69" y="790"/>
                    <a:pt x="56" y="799"/>
                  </a:cubicBezTo>
                  <a:cubicBezTo>
                    <a:pt x="45" y="797"/>
                    <a:pt x="36" y="797"/>
                    <a:pt x="26" y="792"/>
                  </a:cubicBezTo>
                  <a:cubicBezTo>
                    <a:pt x="9" y="792"/>
                    <a:pt x="16" y="815"/>
                    <a:pt x="4" y="823"/>
                  </a:cubicBezTo>
                  <a:cubicBezTo>
                    <a:pt x="3" y="831"/>
                    <a:pt x="2" y="823"/>
                    <a:pt x="0" y="827"/>
                  </a:cubicBezTo>
                  <a:cubicBezTo>
                    <a:pt x="1" y="820"/>
                    <a:pt x="1" y="813"/>
                    <a:pt x="2" y="806"/>
                  </a:cubicBezTo>
                  <a:cubicBezTo>
                    <a:pt x="3" y="795"/>
                    <a:pt x="6" y="785"/>
                    <a:pt x="9" y="774"/>
                  </a:cubicBezTo>
                  <a:cubicBezTo>
                    <a:pt x="11" y="766"/>
                    <a:pt x="13" y="759"/>
                    <a:pt x="18" y="752"/>
                  </a:cubicBezTo>
                  <a:cubicBezTo>
                    <a:pt x="26" y="737"/>
                    <a:pt x="34" y="721"/>
                    <a:pt x="40" y="706"/>
                  </a:cubicBezTo>
                  <a:cubicBezTo>
                    <a:pt x="44" y="692"/>
                    <a:pt x="46" y="678"/>
                    <a:pt x="49" y="664"/>
                  </a:cubicBezTo>
                  <a:cubicBezTo>
                    <a:pt x="52" y="649"/>
                    <a:pt x="51" y="634"/>
                    <a:pt x="52" y="619"/>
                  </a:cubicBezTo>
                  <a:cubicBezTo>
                    <a:pt x="53" y="613"/>
                    <a:pt x="51" y="608"/>
                    <a:pt x="49" y="602"/>
                  </a:cubicBezTo>
                  <a:cubicBezTo>
                    <a:pt x="41" y="594"/>
                    <a:pt x="37" y="584"/>
                    <a:pt x="31" y="574"/>
                  </a:cubicBezTo>
                  <a:cubicBezTo>
                    <a:pt x="29" y="571"/>
                    <a:pt x="26" y="564"/>
                    <a:pt x="33" y="568"/>
                  </a:cubicBezTo>
                  <a:cubicBezTo>
                    <a:pt x="38" y="562"/>
                    <a:pt x="41" y="556"/>
                    <a:pt x="45" y="550"/>
                  </a:cubicBezTo>
                  <a:cubicBezTo>
                    <a:pt x="48" y="542"/>
                    <a:pt x="52" y="534"/>
                    <a:pt x="53" y="525"/>
                  </a:cubicBezTo>
                  <a:cubicBezTo>
                    <a:pt x="52" y="517"/>
                    <a:pt x="60" y="511"/>
                    <a:pt x="59" y="503"/>
                  </a:cubicBezTo>
                  <a:cubicBezTo>
                    <a:pt x="57" y="494"/>
                    <a:pt x="53" y="486"/>
                    <a:pt x="49" y="477"/>
                  </a:cubicBezTo>
                  <a:cubicBezTo>
                    <a:pt x="46" y="469"/>
                    <a:pt x="45" y="477"/>
                    <a:pt x="41" y="479"/>
                  </a:cubicBezTo>
                  <a:cubicBezTo>
                    <a:pt x="36" y="483"/>
                    <a:pt x="38" y="473"/>
                    <a:pt x="36" y="470"/>
                  </a:cubicBezTo>
                  <a:cubicBezTo>
                    <a:pt x="35" y="460"/>
                    <a:pt x="30" y="451"/>
                    <a:pt x="27" y="441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90" name="Malta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608968" y="3332327"/>
              <a:ext cx="11095" cy="1672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0"/>
                </a:cxn>
                <a:cxn ang="0">
                  <a:pos x="2" y="3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91" name="Mali"/>
            <p:cNvSpPr>
              <a:spLocks/>
            </p:cNvSpPr>
            <p:nvPr/>
          </p:nvSpPr>
          <p:spPr bwMode="auto">
            <a:xfrm>
              <a:off x="3902298" y="3732726"/>
              <a:ext cx="443064" cy="488188"/>
            </a:xfrm>
            <a:custGeom>
              <a:avLst/>
              <a:gdLst>
                <a:gd name="T0" fmla="*/ 40 w 1219"/>
                <a:gd name="T1" fmla="*/ 740 h 1132"/>
                <a:gd name="T2" fmla="*/ 74 w 1219"/>
                <a:gd name="T3" fmla="*/ 698 h 1132"/>
                <a:gd name="T4" fmla="*/ 122 w 1219"/>
                <a:gd name="T5" fmla="*/ 718 h 1132"/>
                <a:gd name="T6" fmla="*/ 205 w 1219"/>
                <a:gd name="T7" fmla="*/ 716 h 1132"/>
                <a:gd name="T8" fmla="*/ 225 w 1219"/>
                <a:gd name="T9" fmla="*/ 712 h 1132"/>
                <a:gd name="T10" fmla="*/ 512 w 1219"/>
                <a:gd name="T11" fmla="*/ 670 h 1132"/>
                <a:gd name="T12" fmla="*/ 493 w 1219"/>
                <a:gd name="T13" fmla="*/ 0 h 1132"/>
                <a:gd name="T14" fmla="*/ 614 w 1219"/>
                <a:gd name="T15" fmla="*/ 4 h 1132"/>
                <a:gd name="T16" fmla="*/ 928 w 1219"/>
                <a:gd name="T17" fmla="*/ 253 h 1132"/>
                <a:gd name="T18" fmla="*/ 1015 w 1219"/>
                <a:gd name="T19" fmla="*/ 337 h 1132"/>
                <a:gd name="T20" fmla="*/ 1076 w 1219"/>
                <a:gd name="T21" fmla="*/ 373 h 1132"/>
                <a:gd name="T22" fmla="*/ 1148 w 1219"/>
                <a:gd name="T23" fmla="*/ 410 h 1132"/>
                <a:gd name="T24" fmla="*/ 1169 w 1219"/>
                <a:gd name="T25" fmla="*/ 468 h 1132"/>
                <a:gd name="T26" fmla="*/ 1212 w 1219"/>
                <a:gd name="T27" fmla="*/ 616 h 1132"/>
                <a:gd name="T28" fmla="*/ 1185 w 1219"/>
                <a:gd name="T29" fmla="*/ 704 h 1132"/>
                <a:gd name="T30" fmla="*/ 1147 w 1219"/>
                <a:gd name="T31" fmla="*/ 742 h 1132"/>
                <a:gd name="T32" fmla="*/ 1012 w 1219"/>
                <a:gd name="T33" fmla="*/ 746 h 1132"/>
                <a:gd name="T34" fmla="*/ 933 w 1219"/>
                <a:gd name="T35" fmla="*/ 767 h 1132"/>
                <a:gd name="T36" fmla="*/ 923 w 1219"/>
                <a:gd name="T37" fmla="*/ 769 h 1132"/>
                <a:gd name="T38" fmla="*/ 895 w 1219"/>
                <a:gd name="T39" fmla="*/ 767 h 1132"/>
                <a:gd name="T40" fmla="*/ 841 w 1219"/>
                <a:gd name="T41" fmla="*/ 761 h 1132"/>
                <a:gd name="T42" fmla="*/ 760 w 1219"/>
                <a:gd name="T43" fmla="*/ 803 h 1132"/>
                <a:gd name="T44" fmla="*/ 699 w 1219"/>
                <a:gd name="T45" fmla="*/ 827 h 1132"/>
                <a:gd name="T46" fmla="*/ 655 w 1219"/>
                <a:gd name="T47" fmla="*/ 861 h 1132"/>
                <a:gd name="T48" fmla="*/ 638 w 1219"/>
                <a:gd name="T49" fmla="*/ 896 h 1132"/>
                <a:gd name="T50" fmla="*/ 600 w 1219"/>
                <a:gd name="T51" fmla="*/ 875 h 1132"/>
                <a:gd name="T52" fmla="*/ 580 w 1219"/>
                <a:gd name="T53" fmla="*/ 924 h 1132"/>
                <a:gd name="T54" fmla="*/ 563 w 1219"/>
                <a:gd name="T55" fmla="*/ 962 h 1132"/>
                <a:gd name="T56" fmla="*/ 520 w 1219"/>
                <a:gd name="T57" fmla="*/ 988 h 1132"/>
                <a:gd name="T58" fmla="*/ 490 w 1219"/>
                <a:gd name="T59" fmla="*/ 1000 h 1132"/>
                <a:gd name="T60" fmla="*/ 496 w 1219"/>
                <a:gd name="T61" fmla="*/ 1013 h 1132"/>
                <a:gd name="T62" fmla="*/ 478 w 1219"/>
                <a:gd name="T63" fmla="*/ 1060 h 1132"/>
                <a:gd name="T64" fmla="*/ 475 w 1219"/>
                <a:gd name="T65" fmla="*/ 1106 h 1132"/>
                <a:gd name="T66" fmla="*/ 448 w 1219"/>
                <a:gd name="T67" fmla="*/ 1110 h 1132"/>
                <a:gd name="T68" fmla="*/ 422 w 1219"/>
                <a:gd name="T69" fmla="*/ 1097 h 1132"/>
                <a:gd name="T70" fmla="*/ 398 w 1219"/>
                <a:gd name="T71" fmla="*/ 1093 h 1132"/>
                <a:gd name="T72" fmla="*/ 376 w 1219"/>
                <a:gd name="T73" fmla="*/ 1110 h 1132"/>
                <a:gd name="T74" fmla="*/ 338 w 1219"/>
                <a:gd name="T75" fmla="*/ 1113 h 1132"/>
                <a:gd name="T76" fmla="*/ 303 w 1219"/>
                <a:gd name="T77" fmla="*/ 1121 h 1132"/>
                <a:gd name="T78" fmla="*/ 293 w 1219"/>
                <a:gd name="T79" fmla="*/ 1112 h 1132"/>
                <a:gd name="T80" fmla="*/ 273 w 1219"/>
                <a:gd name="T81" fmla="*/ 1060 h 1132"/>
                <a:gd name="T82" fmla="*/ 266 w 1219"/>
                <a:gd name="T83" fmla="*/ 1037 h 1132"/>
                <a:gd name="T84" fmla="*/ 246 w 1219"/>
                <a:gd name="T85" fmla="*/ 1010 h 1132"/>
                <a:gd name="T86" fmla="*/ 235 w 1219"/>
                <a:gd name="T87" fmla="*/ 969 h 1132"/>
                <a:gd name="T88" fmla="*/ 202 w 1219"/>
                <a:gd name="T89" fmla="*/ 948 h 1132"/>
                <a:gd name="T90" fmla="*/ 163 w 1219"/>
                <a:gd name="T91" fmla="*/ 974 h 1132"/>
                <a:gd name="T92" fmla="*/ 98 w 1219"/>
                <a:gd name="T93" fmla="*/ 978 h 1132"/>
                <a:gd name="T94" fmla="*/ 48 w 1219"/>
                <a:gd name="T95" fmla="*/ 965 h 1132"/>
                <a:gd name="T96" fmla="*/ 51 w 1219"/>
                <a:gd name="T97" fmla="*/ 944 h 1132"/>
                <a:gd name="T98" fmla="*/ 56 w 1219"/>
                <a:gd name="T99" fmla="*/ 910 h 1132"/>
                <a:gd name="T100" fmla="*/ 45 w 1219"/>
                <a:gd name="T101" fmla="*/ 871 h 1132"/>
                <a:gd name="T102" fmla="*/ 17 w 1219"/>
                <a:gd name="T103" fmla="*/ 842 h 1132"/>
                <a:gd name="T104" fmla="*/ 14 w 1219"/>
                <a:gd name="T105" fmla="*/ 793 h 1132"/>
                <a:gd name="T106" fmla="*/ 9 w 1219"/>
                <a:gd name="T107" fmla="*/ 761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19" h="1132">
                  <a:moveTo>
                    <a:pt x="19" y="763"/>
                  </a:moveTo>
                  <a:cubicBezTo>
                    <a:pt x="28" y="764"/>
                    <a:pt x="48" y="752"/>
                    <a:pt x="40" y="740"/>
                  </a:cubicBezTo>
                  <a:cubicBezTo>
                    <a:pt x="40" y="727"/>
                    <a:pt x="48" y="716"/>
                    <a:pt x="52" y="704"/>
                  </a:cubicBezTo>
                  <a:cubicBezTo>
                    <a:pt x="62" y="708"/>
                    <a:pt x="67" y="692"/>
                    <a:pt x="74" y="698"/>
                  </a:cubicBezTo>
                  <a:cubicBezTo>
                    <a:pt x="81" y="714"/>
                    <a:pt x="100" y="721"/>
                    <a:pt x="106" y="737"/>
                  </a:cubicBezTo>
                  <a:cubicBezTo>
                    <a:pt x="112" y="732"/>
                    <a:pt x="117" y="724"/>
                    <a:pt x="122" y="718"/>
                  </a:cubicBezTo>
                  <a:cubicBezTo>
                    <a:pt x="132" y="709"/>
                    <a:pt x="153" y="714"/>
                    <a:pt x="166" y="720"/>
                  </a:cubicBezTo>
                  <a:cubicBezTo>
                    <a:pt x="179" y="722"/>
                    <a:pt x="192" y="718"/>
                    <a:pt x="205" y="716"/>
                  </a:cubicBezTo>
                  <a:cubicBezTo>
                    <a:pt x="218" y="721"/>
                    <a:pt x="215" y="707"/>
                    <a:pt x="218" y="700"/>
                  </a:cubicBezTo>
                  <a:cubicBezTo>
                    <a:pt x="231" y="692"/>
                    <a:pt x="218" y="710"/>
                    <a:pt x="225" y="712"/>
                  </a:cubicBezTo>
                  <a:cubicBezTo>
                    <a:pt x="316" y="715"/>
                    <a:pt x="408" y="716"/>
                    <a:pt x="499" y="720"/>
                  </a:cubicBezTo>
                  <a:cubicBezTo>
                    <a:pt x="503" y="703"/>
                    <a:pt x="507" y="686"/>
                    <a:pt x="512" y="670"/>
                  </a:cubicBezTo>
                  <a:cubicBezTo>
                    <a:pt x="524" y="652"/>
                    <a:pt x="495" y="651"/>
                    <a:pt x="497" y="636"/>
                  </a:cubicBezTo>
                  <a:cubicBezTo>
                    <a:pt x="491" y="424"/>
                    <a:pt x="490" y="212"/>
                    <a:pt x="493" y="0"/>
                  </a:cubicBezTo>
                  <a:cubicBezTo>
                    <a:pt x="504" y="0"/>
                    <a:pt x="514" y="0"/>
                    <a:pt x="524" y="1"/>
                  </a:cubicBezTo>
                  <a:cubicBezTo>
                    <a:pt x="554" y="2"/>
                    <a:pt x="584" y="4"/>
                    <a:pt x="614" y="4"/>
                  </a:cubicBezTo>
                  <a:cubicBezTo>
                    <a:pt x="615" y="5"/>
                    <a:pt x="615" y="5"/>
                    <a:pt x="615" y="5"/>
                  </a:cubicBezTo>
                  <a:cubicBezTo>
                    <a:pt x="720" y="86"/>
                    <a:pt x="825" y="169"/>
                    <a:pt x="928" y="253"/>
                  </a:cubicBezTo>
                  <a:cubicBezTo>
                    <a:pt x="954" y="272"/>
                    <a:pt x="981" y="290"/>
                    <a:pt x="1007" y="309"/>
                  </a:cubicBezTo>
                  <a:cubicBezTo>
                    <a:pt x="1014" y="318"/>
                    <a:pt x="996" y="340"/>
                    <a:pt x="1015" y="337"/>
                  </a:cubicBezTo>
                  <a:cubicBezTo>
                    <a:pt x="1025" y="346"/>
                    <a:pt x="1042" y="347"/>
                    <a:pt x="1042" y="364"/>
                  </a:cubicBezTo>
                  <a:cubicBezTo>
                    <a:pt x="1052" y="372"/>
                    <a:pt x="1063" y="379"/>
                    <a:pt x="1076" y="373"/>
                  </a:cubicBezTo>
                  <a:cubicBezTo>
                    <a:pt x="1089" y="374"/>
                    <a:pt x="1090" y="397"/>
                    <a:pt x="1107" y="393"/>
                  </a:cubicBezTo>
                  <a:cubicBezTo>
                    <a:pt x="1122" y="396"/>
                    <a:pt x="1138" y="398"/>
                    <a:pt x="1148" y="410"/>
                  </a:cubicBezTo>
                  <a:cubicBezTo>
                    <a:pt x="1143" y="424"/>
                    <a:pt x="1156" y="440"/>
                    <a:pt x="1142" y="450"/>
                  </a:cubicBezTo>
                  <a:cubicBezTo>
                    <a:pt x="1132" y="465"/>
                    <a:pt x="1158" y="475"/>
                    <a:pt x="1169" y="468"/>
                  </a:cubicBezTo>
                  <a:cubicBezTo>
                    <a:pt x="1186" y="466"/>
                    <a:pt x="1202" y="463"/>
                    <a:pt x="1219" y="460"/>
                  </a:cubicBezTo>
                  <a:cubicBezTo>
                    <a:pt x="1216" y="512"/>
                    <a:pt x="1215" y="564"/>
                    <a:pt x="1212" y="616"/>
                  </a:cubicBezTo>
                  <a:cubicBezTo>
                    <a:pt x="1207" y="631"/>
                    <a:pt x="1207" y="647"/>
                    <a:pt x="1207" y="663"/>
                  </a:cubicBezTo>
                  <a:cubicBezTo>
                    <a:pt x="1193" y="673"/>
                    <a:pt x="1193" y="690"/>
                    <a:pt x="1185" y="704"/>
                  </a:cubicBezTo>
                  <a:cubicBezTo>
                    <a:pt x="1187" y="719"/>
                    <a:pt x="1172" y="719"/>
                    <a:pt x="1164" y="727"/>
                  </a:cubicBezTo>
                  <a:cubicBezTo>
                    <a:pt x="1153" y="729"/>
                    <a:pt x="1158" y="748"/>
                    <a:pt x="1147" y="742"/>
                  </a:cubicBezTo>
                  <a:cubicBezTo>
                    <a:pt x="1136" y="743"/>
                    <a:pt x="1121" y="731"/>
                    <a:pt x="1116" y="744"/>
                  </a:cubicBezTo>
                  <a:cubicBezTo>
                    <a:pt x="1081" y="742"/>
                    <a:pt x="1046" y="744"/>
                    <a:pt x="1012" y="746"/>
                  </a:cubicBezTo>
                  <a:cubicBezTo>
                    <a:pt x="1000" y="745"/>
                    <a:pt x="988" y="746"/>
                    <a:pt x="980" y="757"/>
                  </a:cubicBezTo>
                  <a:cubicBezTo>
                    <a:pt x="970" y="771"/>
                    <a:pt x="949" y="774"/>
                    <a:pt x="933" y="767"/>
                  </a:cubicBezTo>
                  <a:cubicBezTo>
                    <a:pt x="933" y="767"/>
                    <a:pt x="933" y="767"/>
                    <a:pt x="933" y="767"/>
                  </a:cubicBezTo>
                  <a:cubicBezTo>
                    <a:pt x="930" y="769"/>
                    <a:pt x="926" y="770"/>
                    <a:pt x="923" y="769"/>
                  </a:cubicBezTo>
                  <a:cubicBezTo>
                    <a:pt x="915" y="765"/>
                    <a:pt x="913" y="768"/>
                    <a:pt x="912" y="773"/>
                  </a:cubicBezTo>
                  <a:cubicBezTo>
                    <a:pt x="906" y="771"/>
                    <a:pt x="901" y="769"/>
                    <a:pt x="895" y="767"/>
                  </a:cubicBezTo>
                  <a:cubicBezTo>
                    <a:pt x="886" y="764"/>
                    <a:pt x="879" y="757"/>
                    <a:pt x="870" y="764"/>
                  </a:cubicBezTo>
                  <a:cubicBezTo>
                    <a:pt x="862" y="760"/>
                    <a:pt x="850" y="757"/>
                    <a:pt x="841" y="761"/>
                  </a:cubicBezTo>
                  <a:cubicBezTo>
                    <a:pt x="828" y="773"/>
                    <a:pt x="814" y="784"/>
                    <a:pt x="797" y="786"/>
                  </a:cubicBezTo>
                  <a:cubicBezTo>
                    <a:pt x="784" y="792"/>
                    <a:pt x="774" y="805"/>
                    <a:pt x="760" y="803"/>
                  </a:cubicBezTo>
                  <a:cubicBezTo>
                    <a:pt x="741" y="798"/>
                    <a:pt x="753" y="822"/>
                    <a:pt x="741" y="827"/>
                  </a:cubicBezTo>
                  <a:cubicBezTo>
                    <a:pt x="728" y="824"/>
                    <a:pt x="710" y="809"/>
                    <a:pt x="699" y="827"/>
                  </a:cubicBezTo>
                  <a:cubicBezTo>
                    <a:pt x="685" y="832"/>
                    <a:pt x="676" y="847"/>
                    <a:pt x="679" y="861"/>
                  </a:cubicBezTo>
                  <a:cubicBezTo>
                    <a:pt x="674" y="872"/>
                    <a:pt x="664" y="861"/>
                    <a:pt x="655" y="861"/>
                  </a:cubicBezTo>
                  <a:cubicBezTo>
                    <a:pt x="658" y="861"/>
                    <a:pt x="650" y="877"/>
                    <a:pt x="652" y="883"/>
                  </a:cubicBezTo>
                  <a:cubicBezTo>
                    <a:pt x="656" y="898"/>
                    <a:pt x="638" y="887"/>
                    <a:pt x="638" y="896"/>
                  </a:cubicBezTo>
                  <a:cubicBezTo>
                    <a:pt x="628" y="908"/>
                    <a:pt x="617" y="883"/>
                    <a:pt x="605" y="884"/>
                  </a:cubicBezTo>
                  <a:cubicBezTo>
                    <a:pt x="595" y="884"/>
                    <a:pt x="608" y="878"/>
                    <a:pt x="600" y="875"/>
                  </a:cubicBezTo>
                  <a:cubicBezTo>
                    <a:pt x="594" y="880"/>
                    <a:pt x="583" y="890"/>
                    <a:pt x="580" y="897"/>
                  </a:cubicBezTo>
                  <a:cubicBezTo>
                    <a:pt x="563" y="900"/>
                    <a:pt x="582" y="913"/>
                    <a:pt x="580" y="924"/>
                  </a:cubicBezTo>
                  <a:cubicBezTo>
                    <a:pt x="583" y="939"/>
                    <a:pt x="561" y="926"/>
                    <a:pt x="560" y="937"/>
                  </a:cubicBezTo>
                  <a:cubicBezTo>
                    <a:pt x="570" y="945"/>
                    <a:pt x="560" y="952"/>
                    <a:pt x="563" y="962"/>
                  </a:cubicBezTo>
                  <a:cubicBezTo>
                    <a:pt x="560" y="963"/>
                    <a:pt x="553" y="970"/>
                    <a:pt x="552" y="972"/>
                  </a:cubicBezTo>
                  <a:cubicBezTo>
                    <a:pt x="549" y="984"/>
                    <a:pt x="532" y="988"/>
                    <a:pt x="520" y="988"/>
                  </a:cubicBezTo>
                  <a:cubicBezTo>
                    <a:pt x="509" y="986"/>
                    <a:pt x="503" y="997"/>
                    <a:pt x="494" y="999"/>
                  </a:cubicBezTo>
                  <a:cubicBezTo>
                    <a:pt x="492" y="997"/>
                    <a:pt x="490" y="996"/>
                    <a:pt x="490" y="1000"/>
                  </a:cubicBezTo>
                  <a:cubicBezTo>
                    <a:pt x="491" y="1000"/>
                    <a:pt x="493" y="1000"/>
                    <a:pt x="494" y="999"/>
                  </a:cubicBezTo>
                  <a:cubicBezTo>
                    <a:pt x="496" y="1003"/>
                    <a:pt x="498" y="1010"/>
                    <a:pt x="496" y="1013"/>
                  </a:cubicBezTo>
                  <a:cubicBezTo>
                    <a:pt x="505" y="1023"/>
                    <a:pt x="498" y="1033"/>
                    <a:pt x="496" y="1044"/>
                  </a:cubicBezTo>
                  <a:cubicBezTo>
                    <a:pt x="496" y="1056"/>
                    <a:pt x="482" y="1053"/>
                    <a:pt x="478" y="1060"/>
                  </a:cubicBezTo>
                  <a:cubicBezTo>
                    <a:pt x="484" y="1071"/>
                    <a:pt x="481" y="1081"/>
                    <a:pt x="478" y="1091"/>
                  </a:cubicBezTo>
                  <a:cubicBezTo>
                    <a:pt x="476" y="1095"/>
                    <a:pt x="475" y="1101"/>
                    <a:pt x="475" y="1106"/>
                  </a:cubicBezTo>
                  <a:cubicBezTo>
                    <a:pt x="474" y="1106"/>
                    <a:pt x="474" y="1106"/>
                    <a:pt x="474" y="1106"/>
                  </a:cubicBezTo>
                  <a:cubicBezTo>
                    <a:pt x="466" y="1103"/>
                    <a:pt x="455" y="1107"/>
                    <a:pt x="448" y="1110"/>
                  </a:cubicBezTo>
                  <a:cubicBezTo>
                    <a:pt x="446" y="1120"/>
                    <a:pt x="430" y="1132"/>
                    <a:pt x="422" y="1118"/>
                  </a:cubicBezTo>
                  <a:cubicBezTo>
                    <a:pt x="427" y="1111"/>
                    <a:pt x="427" y="1102"/>
                    <a:pt x="422" y="1097"/>
                  </a:cubicBezTo>
                  <a:cubicBezTo>
                    <a:pt x="430" y="1087"/>
                    <a:pt x="418" y="1079"/>
                    <a:pt x="409" y="1087"/>
                  </a:cubicBezTo>
                  <a:cubicBezTo>
                    <a:pt x="413" y="1094"/>
                    <a:pt x="405" y="1099"/>
                    <a:pt x="398" y="1093"/>
                  </a:cubicBezTo>
                  <a:cubicBezTo>
                    <a:pt x="393" y="1082"/>
                    <a:pt x="388" y="1094"/>
                    <a:pt x="389" y="1100"/>
                  </a:cubicBezTo>
                  <a:cubicBezTo>
                    <a:pt x="396" y="1111"/>
                    <a:pt x="384" y="1112"/>
                    <a:pt x="376" y="1110"/>
                  </a:cubicBezTo>
                  <a:cubicBezTo>
                    <a:pt x="362" y="1108"/>
                    <a:pt x="371" y="1122"/>
                    <a:pt x="364" y="1126"/>
                  </a:cubicBezTo>
                  <a:cubicBezTo>
                    <a:pt x="358" y="1116"/>
                    <a:pt x="343" y="1123"/>
                    <a:pt x="338" y="1113"/>
                  </a:cubicBezTo>
                  <a:cubicBezTo>
                    <a:pt x="337" y="1128"/>
                    <a:pt x="334" y="1095"/>
                    <a:pt x="325" y="1104"/>
                  </a:cubicBezTo>
                  <a:cubicBezTo>
                    <a:pt x="312" y="1099"/>
                    <a:pt x="310" y="1116"/>
                    <a:pt x="303" y="1121"/>
                  </a:cubicBezTo>
                  <a:cubicBezTo>
                    <a:pt x="298" y="1125"/>
                    <a:pt x="296" y="1124"/>
                    <a:pt x="295" y="1123"/>
                  </a:cubicBezTo>
                  <a:cubicBezTo>
                    <a:pt x="294" y="1120"/>
                    <a:pt x="295" y="1115"/>
                    <a:pt x="293" y="1112"/>
                  </a:cubicBezTo>
                  <a:cubicBezTo>
                    <a:pt x="277" y="1107"/>
                    <a:pt x="292" y="1111"/>
                    <a:pt x="281" y="1104"/>
                  </a:cubicBezTo>
                  <a:cubicBezTo>
                    <a:pt x="265" y="1096"/>
                    <a:pt x="273" y="1074"/>
                    <a:pt x="273" y="1060"/>
                  </a:cubicBezTo>
                  <a:cubicBezTo>
                    <a:pt x="266" y="1045"/>
                    <a:pt x="255" y="1065"/>
                    <a:pt x="245" y="1061"/>
                  </a:cubicBezTo>
                  <a:cubicBezTo>
                    <a:pt x="248" y="1052"/>
                    <a:pt x="257" y="1038"/>
                    <a:pt x="266" y="1037"/>
                  </a:cubicBezTo>
                  <a:cubicBezTo>
                    <a:pt x="273" y="1037"/>
                    <a:pt x="265" y="1033"/>
                    <a:pt x="268" y="1031"/>
                  </a:cubicBezTo>
                  <a:cubicBezTo>
                    <a:pt x="262" y="1023"/>
                    <a:pt x="248" y="1022"/>
                    <a:pt x="246" y="1010"/>
                  </a:cubicBezTo>
                  <a:cubicBezTo>
                    <a:pt x="235" y="1010"/>
                    <a:pt x="238" y="1000"/>
                    <a:pt x="241" y="993"/>
                  </a:cubicBezTo>
                  <a:cubicBezTo>
                    <a:pt x="248" y="981"/>
                    <a:pt x="229" y="980"/>
                    <a:pt x="235" y="969"/>
                  </a:cubicBezTo>
                  <a:cubicBezTo>
                    <a:pt x="227" y="965"/>
                    <a:pt x="232" y="959"/>
                    <a:pt x="230" y="952"/>
                  </a:cubicBezTo>
                  <a:cubicBezTo>
                    <a:pt x="225" y="945"/>
                    <a:pt x="202" y="937"/>
                    <a:pt x="202" y="948"/>
                  </a:cubicBezTo>
                  <a:cubicBezTo>
                    <a:pt x="214" y="959"/>
                    <a:pt x="197" y="961"/>
                    <a:pt x="189" y="964"/>
                  </a:cubicBezTo>
                  <a:cubicBezTo>
                    <a:pt x="178" y="965"/>
                    <a:pt x="177" y="985"/>
                    <a:pt x="163" y="974"/>
                  </a:cubicBezTo>
                  <a:cubicBezTo>
                    <a:pt x="152" y="970"/>
                    <a:pt x="139" y="958"/>
                    <a:pt x="128" y="966"/>
                  </a:cubicBezTo>
                  <a:cubicBezTo>
                    <a:pt x="115" y="966"/>
                    <a:pt x="107" y="998"/>
                    <a:pt x="98" y="978"/>
                  </a:cubicBezTo>
                  <a:cubicBezTo>
                    <a:pt x="99" y="965"/>
                    <a:pt x="81" y="953"/>
                    <a:pt x="74" y="969"/>
                  </a:cubicBezTo>
                  <a:cubicBezTo>
                    <a:pt x="67" y="984"/>
                    <a:pt x="56" y="972"/>
                    <a:pt x="48" y="965"/>
                  </a:cubicBezTo>
                  <a:cubicBezTo>
                    <a:pt x="49" y="960"/>
                    <a:pt x="51" y="950"/>
                    <a:pt x="54" y="947"/>
                  </a:cubicBezTo>
                  <a:cubicBezTo>
                    <a:pt x="51" y="944"/>
                    <a:pt x="51" y="944"/>
                    <a:pt x="51" y="944"/>
                  </a:cubicBezTo>
                  <a:cubicBezTo>
                    <a:pt x="54" y="944"/>
                    <a:pt x="56" y="943"/>
                    <a:pt x="58" y="940"/>
                  </a:cubicBezTo>
                  <a:cubicBezTo>
                    <a:pt x="47" y="932"/>
                    <a:pt x="60" y="920"/>
                    <a:pt x="56" y="910"/>
                  </a:cubicBezTo>
                  <a:cubicBezTo>
                    <a:pt x="61" y="904"/>
                    <a:pt x="59" y="903"/>
                    <a:pt x="57" y="898"/>
                  </a:cubicBezTo>
                  <a:cubicBezTo>
                    <a:pt x="49" y="891"/>
                    <a:pt x="50" y="880"/>
                    <a:pt x="45" y="871"/>
                  </a:cubicBezTo>
                  <a:cubicBezTo>
                    <a:pt x="37" y="861"/>
                    <a:pt x="33" y="881"/>
                    <a:pt x="27" y="871"/>
                  </a:cubicBezTo>
                  <a:cubicBezTo>
                    <a:pt x="31" y="860"/>
                    <a:pt x="9" y="853"/>
                    <a:pt x="17" y="842"/>
                  </a:cubicBezTo>
                  <a:cubicBezTo>
                    <a:pt x="27" y="837"/>
                    <a:pt x="24" y="829"/>
                    <a:pt x="21" y="821"/>
                  </a:cubicBezTo>
                  <a:cubicBezTo>
                    <a:pt x="26" y="810"/>
                    <a:pt x="22" y="799"/>
                    <a:pt x="14" y="793"/>
                  </a:cubicBezTo>
                  <a:cubicBezTo>
                    <a:pt x="0" y="784"/>
                    <a:pt x="23" y="771"/>
                    <a:pt x="9" y="762"/>
                  </a:cubicBezTo>
                  <a:cubicBezTo>
                    <a:pt x="9" y="761"/>
                    <a:pt x="9" y="761"/>
                    <a:pt x="9" y="761"/>
                  </a:cubicBezTo>
                  <a:cubicBezTo>
                    <a:pt x="12" y="763"/>
                    <a:pt x="15" y="763"/>
                    <a:pt x="19" y="763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92" name="Maldives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6102317" y="4359714"/>
              <a:ext cx="55475" cy="50161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10" y="6"/>
                </a:cxn>
                <a:cxn ang="0">
                  <a:pos x="10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10" h="9">
                  <a:moveTo>
                    <a:pt x="0" y="2"/>
                  </a:moveTo>
                  <a:lnTo>
                    <a:pt x="2" y="9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0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93" name="Malaysia"/>
            <p:cNvGrpSpPr/>
            <p:nvPr/>
          </p:nvGrpSpPr>
          <p:grpSpPr>
            <a:xfrm>
              <a:off x="6874364" y="4338015"/>
              <a:ext cx="493727" cy="189497"/>
              <a:chOff x="6874364" y="4338015"/>
              <a:chExt cx="493727" cy="189497"/>
            </a:xfrm>
            <a:grpFill/>
          </p:grpSpPr>
          <p:sp>
            <p:nvSpPr>
              <p:cNvPr id="321" name="Malaysia"/>
              <p:cNvSpPr>
                <a:spLocks/>
              </p:cNvSpPr>
              <p:nvPr>
                <p:custDataLst>
                  <p:tags r:id="rId223"/>
                </p:custDataLst>
              </p:nvPr>
            </p:nvSpPr>
            <p:spPr bwMode="auto">
              <a:xfrm>
                <a:off x="7118454" y="4338015"/>
                <a:ext cx="249637" cy="189497"/>
              </a:xfrm>
              <a:custGeom>
                <a:avLst/>
                <a:gdLst/>
                <a:ahLst/>
                <a:cxnLst>
                  <a:cxn ang="0">
                    <a:pos x="43" y="11"/>
                  </a:cxn>
                  <a:cxn ang="0">
                    <a:pos x="39" y="11"/>
                  </a:cxn>
                  <a:cxn ang="0">
                    <a:pos x="45" y="9"/>
                  </a:cxn>
                  <a:cxn ang="0">
                    <a:pos x="37" y="5"/>
                  </a:cxn>
                  <a:cxn ang="0">
                    <a:pos x="37" y="2"/>
                  </a:cxn>
                  <a:cxn ang="0">
                    <a:pos x="35" y="0"/>
                  </a:cxn>
                  <a:cxn ang="0">
                    <a:pos x="27" y="9"/>
                  </a:cxn>
                  <a:cxn ang="0">
                    <a:pos x="27" y="11"/>
                  </a:cxn>
                  <a:cxn ang="0">
                    <a:pos x="27" y="16"/>
                  </a:cxn>
                  <a:cxn ang="0">
                    <a:pos x="23" y="16"/>
                  </a:cxn>
                  <a:cxn ang="0">
                    <a:pos x="20" y="11"/>
                  </a:cxn>
                  <a:cxn ang="0">
                    <a:pos x="14" y="20"/>
                  </a:cxn>
                  <a:cxn ang="0">
                    <a:pos x="8" y="20"/>
                  </a:cxn>
                  <a:cxn ang="0">
                    <a:pos x="6" y="29"/>
                  </a:cxn>
                  <a:cxn ang="0">
                    <a:pos x="0" y="27"/>
                  </a:cxn>
                  <a:cxn ang="0">
                    <a:pos x="4" y="34"/>
                  </a:cxn>
                  <a:cxn ang="0">
                    <a:pos x="8" y="34"/>
                  </a:cxn>
                  <a:cxn ang="0">
                    <a:pos x="12" y="29"/>
                  </a:cxn>
                  <a:cxn ang="0">
                    <a:pos x="16" y="34"/>
                  </a:cxn>
                  <a:cxn ang="0">
                    <a:pos x="23" y="29"/>
                  </a:cxn>
                  <a:cxn ang="0">
                    <a:pos x="29" y="16"/>
                  </a:cxn>
                  <a:cxn ang="0">
                    <a:pos x="31" y="16"/>
                  </a:cxn>
                  <a:cxn ang="0">
                    <a:pos x="37" y="16"/>
                  </a:cxn>
                  <a:cxn ang="0">
                    <a:pos x="39" y="14"/>
                  </a:cxn>
                  <a:cxn ang="0">
                    <a:pos x="43" y="11"/>
                  </a:cxn>
                </a:cxnLst>
                <a:rect l="0" t="0" r="r" b="b"/>
                <a:pathLst>
                  <a:path w="45" h="34">
                    <a:moveTo>
                      <a:pt x="43" y="11"/>
                    </a:moveTo>
                    <a:lnTo>
                      <a:pt x="39" y="11"/>
                    </a:lnTo>
                    <a:lnTo>
                      <a:pt x="45" y="9"/>
                    </a:lnTo>
                    <a:lnTo>
                      <a:pt x="37" y="5"/>
                    </a:lnTo>
                    <a:lnTo>
                      <a:pt x="37" y="2"/>
                    </a:lnTo>
                    <a:lnTo>
                      <a:pt x="35" y="0"/>
                    </a:lnTo>
                    <a:lnTo>
                      <a:pt x="27" y="9"/>
                    </a:lnTo>
                    <a:lnTo>
                      <a:pt x="27" y="11"/>
                    </a:lnTo>
                    <a:lnTo>
                      <a:pt x="27" y="16"/>
                    </a:lnTo>
                    <a:lnTo>
                      <a:pt x="23" y="16"/>
                    </a:lnTo>
                    <a:lnTo>
                      <a:pt x="20" y="11"/>
                    </a:lnTo>
                    <a:lnTo>
                      <a:pt x="14" y="20"/>
                    </a:lnTo>
                    <a:lnTo>
                      <a:pt x="8" y="20"/>
                    </a:lnTo>
                    <a:lnTo>
                      <a:pt x="6" y="29"/>
                    </a:lnTo>
                    <a:lnTo>
                      <a:pt x="0" y="27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12" y="29"/>
                    </a:lnTo>
                    <a:lnTo>
                      <a:pt x="16" y="34"/>
                    </a:lnTo>
                    <a:lnTo>
                      <a:pt x="23" y="29"/>
                    </a:lnTo>
                    <a:lnTo>
                      <a:pt x="29" y="16"/>
                    </a:lnTo>
                    <a:lnTo>
                      <a:pt x="31" y="16"/>
                    </a:lnTo>
                    <a:lnTo>
                      <a:pt x="37" y="16"/>
                    </a:lnTo>
                    <a:lnTo>
                      <a:pt x="39" y="14"/>
                    </a:lnTo>
                    <a:lnTo>
                      <a:pt x="43" y="11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22" name="Malaysia"/>
              <p:cNvSpPr>
                <a:spLocks/>
              </p:cNvSpPr>
              <p:nvPr>
                <p:custDataLst>
                  <p:tags r:id="rId224"/>
                </p:custDataLst>
              </p:nvPr>
            </p:nvSpPr>
            <p:spPr bwMode="auto">
              <a:xfrm>
                <a:off x="6874364" y="4338015"/>
                <a:ext cx="105402" cy="161630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5"/>
                  </a:cxn>
                  <a:cxn ang="0">
                    <a:pos x="4" y="5"/>
                  </a:cxn>
                  <a:cxn ang="0">
                    <a:pos x="8" y="2"/>
                  </a:cxn>
                  <a:cxn ang="0">
                    <a:pos x="12" y="11"/>
                  </a:cxn>
                  <a:cxn ang="0">
                    <a:pos x="12" y="20"/>
                  </a:cxn>
                  <a:cxn ang="0">
                    <a:pos x="19" y="29"/>
                  </a:cxn>
                  <a:cxn ang="0">
                    <a:pos x="12" y="29"/>
                  </a:cxn>
                  <a:cxn ang="0">
                    <a:pos x="4" y="20"/>
                  </a:cxn>
                  <a:cxn ang="0">
                    <a:pos x="0" y="16"/>
                  </a:cxn>
                  <a:cxn ang="0">
                    <a:pos x="0" y="9"/>
                  </a:cxn>
                  <a:cxn ang="0">
                    <a:pos x="0" y="2"/>
                  </a:cxn>
                </a:cxnLst>
                <a:rect l="0" t="0" r="r" b="b"/>
                <a:pathLst>
                  <a:path w="19" h="29">
                    <a:moveTo>
                      <a:pt x="0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5"/>
                    </a:lnTo>
                    <a:lnTo>
                      <a:pt x="4" y="5"/>
                    </a:lnTo>
                    <a:lnTo>
                      <a:pt x="8" y="2"/>
                    </a:lnTo>
                    <a:lnTo>
                      <a:pt x="12" y="11"/>
                    </a:lnTo>
                    <a:lnTo>
                      <a:pt x="12" y="20"/>
                    </a:lnTo>
                    <a:lnTo>
                      <a:pt x="19" y="29"/>
                    </a:lnTo>
                    <a:lnTo>
                      <a:pt x="12" y="29"/>
                    </a:lnTo>
                    <a:lnTo>
                      <a:pt x="4" y="20"/>
                    </a:lnTo>
                    <a:lnTo>
                      <a:pt x="0" y="16"/>
                    </a:lnTo>
                    <a:lnTo>
                      <a:pt x="0" y="9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94" name="Malawi"/>
            <p:cNvSpPr>
              <a:spLocks/>
            </p:cNvSpPr>
            <p:nvPr/>
          </p:nvSpPr>
          <p:spPr bwMode="auto">
            <a:xfrm>
              <a:off x="5098571" y="4865155"/>
              <a:ext cx="85800" cy="258698"/>
            </a:xfrm>
            <a:custGeom>
              <a:avLst/>
              <a:gdLst>
                <a:gd name="T0" fmla="*/ 49 w 237"/>
                <a:gd name="T1" fmla="*/ 0 h 600"/>
                <a:gd name="T2" fmla="*/ 79 w 237"/>
                <a:gd name="T3" fmla="*/ 17 h 600"/>
                <a:gd name="T4" fmla="*/ 115 w 237"/>
                <a:gd name="T5" fmla="*/ 23 h 600"/>
                <a:gd name="T6" fmla="*/ 127 w 237"/>
                <a:gd name="T7" fmla="*/ 10 h 600"/>
                <a:gd name="T8" fmla="*/ 157 w 237"/>
                <a:gd name="T9" fmla="*/ 49 h 600"/>
                <a:gd name="T10" fmla="*/ 165 w 237"/>
                <a:gd name="T11" fmla="*/ 102 h 600"/>
                <a:gd name="T12" fmla="*/ 166 w 237"/>
                <a:gd name="T13" fmla="*/ 140 h 600"/>
                <a:gd name="T14" fmla="*/ 184 w 237"/>
                <a:gd name="T15" fmla="*/ 166 h 600"/>
                <a:gd name="T16" fmla="*/ 185 w 237"/>
                <a:gd name="T17" fmla="*/ 167 h 600"/>
                <a:gd name="T18" fmla="*/ 184 w 237"/>
                <a:gd name="T19" fmla="*/ 168 h 600"/>
                <a:gd name="T20" fmla="*/ 158 w 237"/>
                <a:gd name="T21" fmla="*/ 180 h 600"/>
                <a:gd name="T22" fmla="*/ 138 w 237"/>
                <a:gd name="T23" fmla="*/ 216 h 600"/>
                <a:gd name="T24" fmla="*/ 147 w 237"/>
                <a:gd name="T25" fmla="*/ 257 h 600"/>
                <a:gd name="T26" fmla="*/ 148 w 237"/>
                <a:gd name="T27" fmla="*/ 303 h 600"/>
                <a:gd name="T28" fmla="*/ 178 w 237"/>
                <a:gd name="T29" fmla="*/ 324 h 600"/>
                <a:gd name="T30" fmla="*/ 202 w 237"/>
                <a:gd name="T31" fmla="*/ 355 h 600"/>
                <a:gd name="T32" fmla="*/ 225 w 237"/>
                <a:gd name="T33" fmla="*/ 390 h 600"/>
                <a:gd name="T34" fmla="*/ 236 w 237"/>
                <a:gd name="T35" fmla="*/ 428 h 600"/>
                <a:gd name="T36" fmla="*/ 230 w 237"/>
                <a:gd name="T37" fmla="*/ 468 h 600"/>
                <a:gd name="T38" fmla="*/ 222 w 237"/>
                <a:gd name="T39" fmla="*/ 511 h 600"/>
                <a:gd name="T40" fmla="*/ 184 w 237"/>
                <a:gd name="T41" fmla="*/ 529 h 600"/>
                <a:gd name="T42" fmla="*/ 178 w 237"/>
                <a:gd name="T43" fmla="*/ 556 h 600"/>
                <a:gd name="T44" fmla="*/ 181 w 237"/>
                <a:gd name="T45" fmla="*/ 590 h 600"/>
                <a:gd name="T46" fmla="*/ 170 w 237"/>
                <a:gd name="T47" fmla="*/ 577 h 600"/>
                <a:gd name="T48" fmla="*/ 152 w 237"/>
                <a:gd name="T49" fmla="*/ 555 h 600"/>
                <a:gd name="T50" fmla="*/ 122 w 237"/>
                <a:gd name="T51" fmla="*/ 521 h 600"/>
                <a:gd name="T52" fmla="*/ 113 w 237"/>
                <a:gd name="T53" fmla="*/ 497 h 600"/>
                <a:gd name="T54" fmla="*/ 127 w 237"/>
                <a:gd name="T55" fmla="*/ 468 h 600"/>
                <a:gd name="T56" fmla="*/ 139 w 237"/>
                <a:gd name="T57" fmla="*/ 437 h 600"/>
                <a:gd name="T58" fmla="*/ 137 w 237"/>
                <a:gd name="T59" fmla="*/ 395 h 600"/>
                <a:gd name="T60" fmla="*/ 116 w 237"/>
                <a:gd name="T61" fmla="*/ 385 h 600"/>
                <a:gd name="T62" fmla="*/ 79 w 237"/>
                <a:gd name="T63" fmla="*/ 391 h 600"/>
                <a:gd name="T64" fmla="*/ 64 w 237"/>
                <a:gd name="T65" fmla="*/ 383 h 600"/>
                <a:gd name="T66" fmla="*/ 46 w 237"/>
                <a:gd name="T67" fmla="*/ 352 h 600"/>
                <a:gd name="T68" fmla="*/ 44 w 237"/>
                <a:gd name="T69" fmla="*/ 352 h 600"/>
                <a:gd name="T70" fmla="*/ 35 w 237"/>
                <a:gd name="T71" fmla="*/ 351 h 600"/>
                <a:gd name="T72" fmla="*/ 18 w 237"/>
                <a:gd name="T73" fmla="*/ 334 h 600"/>
                <a:gd name="T74" fmla="*/ 15 w 237"/>
                <a:gd name="T75" fmla="*/ 323 h 600"/>
                <a:gd name="T76" fmla="*/ 24 w 237"/>
                <a:gd name="T77" fmla="*/ 308 h 600"/>
                <a:gd name="T78" fmla="*/ 34 w 237"/>
                <a:gd name="T79" fmla="*/ 277 h 600"/>
                <a:gd name="T80" fmla="*/ 38 w 237"/>
                <a:gd name="T81" fmla="*/ 247 h 600"/>
                <a:gd name="T82" fmla="*/ 59 w 237"/>
                <a:gd name="T83" fmla="*/ 239 h 600"/>
                <a:gd name="T84" fmla="*/ 68 w 237"/>
                <a:gd name="T85" fmla="*/ 225 h 600"/>
                <a:gd name="T86" fmla="*/ 63 w 237"/>
                <a:gd name="T87" fmla="*/ 189 h 600"/>
                <a:gd name="T88" fmla="*/ 58 w 237"/>
                <a:gd name="T89" fmla="*/ 163 h 600"/>
                <a:gd name="T90" fmla="*/ 66 w 237"/>
                <a:gd name="T91" fmla="*/ 125 h 600"/>
                <a:gd name="T92" fmla="*/ 70 w 237"/>
                <a:gd name="T93" fmla="*/ 108 h 600"/>
                <a:gd name="T94" fmla="*/ 81 w 237"/>
                <a:gd name="T95" fmla="*/ 104 h 600"/>
                <a:gd name="T96" fmla="*/ 88 w 237"/>
                <a:gd name="T97" fmla="*/ 79 h 600"/>
                <a:gd name="T98" fmla="*/ 74 w 237"/>
                <a:gd name="T99" fmla="*/ 55 h 600"/>
                <a:gd name="T100" fmla="*/ 67 w 237"/>
                <a:gd name="T101" fmla="*/ 29 h 600"/>
                <a:gd name="T102" fmla="*/ 52 w 237"/>
                <a:gd name="T103" fmla="*/ 19 h 600"/>
                <a:gd name="T104" fmla="*/ 46 w 237"/>
                <a:gd name="T105" fmla="*/ 7 h 600"/>
                <a:gd name="T106" fmla="*/ 46 w 237"/>
                <a:gd name="T107" fmla="*/ 7 h 600"/>
                <a:gd name="T108" fmla="*/ 46 w 237"/>
                <a:gd name="T109" fmla="*/ 7 h 600"/>
                <a:gd name="T110" fmla="*/ 43 w 237"/>
                <a:gd name="T111" fmla="*/ 1 h 600"/>
                <a:gd name="T112" fmla="*/ 43 w 237"/>
                <a:gd name="T113" fmla="*/ 0 h 600"/>
                <a:gd name="T114" fmla="*/ 49 w 237"/>
                <a:gd name="T115" fmla="*/ 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7" h="600">
                  <a:moveTo>
                    <a:pt x="49" y="0"/>
                  </a:moveTo>
                  <a:cubicBezTo>
                    <a:pt x="56" y="14"/>
                    <a:pt x="74" y="1"/>
                    <a:pt x="79" y="17"/>
                  </a:cubicBezTo>
                  <a:cubicBezTo>
                    <a:pt x="91" y="17"/>
                    <a:pt x="105" y="14"/>
                    <a:pt x="115" y="23"/>
                  </a:cubicBezTo>
                  <a:cubicBezTo>
                    <a:pt x="119" y="19"/>
                    <a:pt x="115" y="3"/>
                    <a:pt x="127" y="10"/>
                  </a:cubicBezTo>
                  <a:cubicBezTo>
                    <a:pt x="138" y="22"/>
                    <a:pt x="150" y="34"/>
                    <a:pt x="157" y="49"/>
                  </a:cubicBezTo>
                  <a:cubicBezTo>
                    <a:pt x="162" y="67"/>
                    <a:pt x="157" y="86"/>
                    <a:pt x="165" y="102"/>
                  </a:cubicBezTo>
                  <a:cubicBezTo>
                    <a:pt x="167" y="115"/>
                    <a:pt x="152" y="129"/>
                    <a:pt x="166" y="140"/>
                  </a:cubicBezTo>
                  <a:cubicBezTo>
                    <a:pt x="168" y="153"/>
                    <a:pt x="184" y="151"/>
                    <a:pt x="184" y="166"/>
                  </a:cubicBezTo>
                  <a:cubicBezTo>
                    <a:pt x="184" y="166"/>
                    <a:pt x="185" y="166"/>
                    <a:pt x="185" y="167"/>
                  </a:cubicBezTo>
                  <a:cubicBezTo>
                    <a:pt x="184" y="168"/>
                    <a:pt x="184" y="168"/>
                    <a:pt x="184" y="168"/>
                  </a:cubicBezTo>
                  <a:cubicBezTo>
                    <a:pt x="173" y="169"/>
                    <a:pt x="155" y="163"/>
                    <a:pt x="158" y="180"/>
                  </a:cubicBezTo>
                  <a:cubicBezTo>
                    <a:pt x="154" y="193"/>
                    <a:pt x="140" y="202"/>
                    <a:pt x="138" y="216"/>
                  </a:cubicBezTo>
                  <a:cubicBezTo>
                    <a:pt x="140" y="230"/>
                    <a:pt x="144" y="243"/>
                    <a:pt x="147" y="257"/>
                  </a:cubicBezTo>
                  <a:cubicBezTo>
                    <a:pt x="147" y="273"/>
                    <a:pt x="149" y="288"/>
                    <a:pt x="148" y="303"/>
                  </a:cubicBezTo>
                  <a:cubicBezTo>
                    <a:pt x="150" y="320"/>
                    <a:pt x="170" y="311"/>
                    <a:pt x="178" y="324"/>
                  </a:cubicBezTo>
                  <a:cubicBezTo>
                    <a:pt x="188" y="332"/>
                    <a:pt x="192" y="345"/>
                    <a:pt x="202" y="355"/>
                  </a:cubicBezTo>
                  <a:cubicBezTo>
                    <a:pt x="212" y="365"/>
                    <a:pt x="215" y="380"/>
                    <a:pt x="225" y="390"/>
                  </a:cubicBezTo>
                  <a:cubicBezTo>
                    <a:pt x="236" y="400"/>
                    <a:pt x="237" y="415"/>
                    <a:pt x="236" y="428"/>
                  </a:cubicBezTo>
                  <a:cubicBezTo>
                    <a:pt x="225" y="440"/>
                    <a:pt x="230" y="454"/>
                    <a:pt x="230" y="468"/>
                  </a:cubicBezTo>
                  <a:cubicBezTo>
                    <a:pt x="227" y="482"/>
                    <a:pt x="228" y="497"/>
                    <a:pt x="222" y="511"/>
                  </a:cubicBezTo>
                  <a:cubicBezTo>
                    <a:pt x="211" y="524"/>
                    <a:pt x="188" y="508"/>
                    <a:pt x="184" y="529"/>
                  </a:cubicBezTo>
                  <a:cubicBezTo>
                    <a:pt x="187" y="541"/>
                    <a:pt x="164" y="547"/>
                    <a:pt x="178" y="556"/>
                  </a:cubicBezTo>
                  <a:cubicBezTo>
                    <a:pt x="186" y="565"/>
                    <a:pt x="179" y="579"/>
                    <a:pt x="181" y="590"/>
                  </a:cubicBezTo>
                  <a:cubicBezTo>
                    <a:pt x="170" y="600"/>
                    <a:pt x="156" y="583"/>
                    <a:pt x="170" y="577"/>
                  </a:cubicBezTo>
                  <a:cubicBezTo>
                    <a:pt x="174" y="565"/>
                    <a:pt x="155" y="567"/>
                    <a:pt x="152" y="555"/>
                  </a:cubicBezTo>
                  <a:cubicBezTo>
                    <a:pt x="141" y="544"/>
                    <a:pt x="133" y="531"/>
                    <a:pt x="122" y="521"/>
                  </a:cubicBezTo>
                  <a:cubicBezTo>
                    <a:pt x="125" y="511"/>
                    <a:pt x="121" y="503"/>
                    <a:pt x="113" y="497"/>
                  </a:cubicBezTo>
                  <a:cubicBezTo>
                    <a:pt x="110" y="484"/>
                    <a:pt x="132" y="483"/>
                    <a:pt x="127" y="468"/>
                  </a:cubicBezTo>
                  <a:cubicBezTo>
                    <a:pt x="131" y="457"/>
                    <a:pt x="143" y="450"/>
                    <a:pt x="139" y="437"/>
                  </a:cubicBezTo>
                  <a:cubicBezTo>
                    <a:pt x="143" y="423"/>
                    <a:pt x="139" y="409"/>
                    <a:pt x="137" y="395"/>
                  </a:cubicBezTo>
                  <a:cubicBezTo>
                    <a:pt x="132" y="387"/>
                    <a:pt x="127" y="379"/>
                    <a:pt x="116" y="385"/>
                  </a:cubicBezTo>
                  <a:cubicBezTo>
                    <a:pt x="104" y="388"/>
                    <a:pt x="90" y="391"/>
                    <a:pt x="79" y="391"/>
                  </a:cubicBezTo>
                  <a:cubicBezTo>
                    <a:pt x="74" y="409"/>
                    <a:pt x="66" y="365"/>
                    <a:pt x="64" y="383"/>
                  </a:cubicBezTo>
                  <a:cubicBezTo>
                    <a:pt x="56" y="373"/>
                    <a:pt x="55" y="359"/>
                    <a:pt x="46" y="352"/>
                  </a:cubicBezTo>
                  <a:cubicBezTo>
                    <a:pt x="44" y="352"/>
                    <a:pt x="44" y="352"/>
                    <a:pt x="44" y="352"/>
                  </a:cubicBezTo>
                  <a:cubicBezTo>
                    <a:pt x="46" y="348"/>
                    <a:pt x="39" y="343"/>
                    <a:pt x="35" y="351"/>
                  </a:cubicBezTo>
                  <a:cubicBezTo>
                    <a:pt x="27" y="357"/>
                    <a:pt x="30" y="334"/>
                    <a:pt x="18" y="334"/>
                  </a:cubicBezTo>
                  <a:cubicBezTo>
                    <a:pt x="11" y="331"/>
                    <a:pt x="25" y="326"/>
                    <a:pt x="15" y="323"/>
                  </a:cubicBezTo>
                  <a:cubicBezTo>
                    <a:pt x="0" y="318"/>
                    <a:pt x="23" y="317"/>
                    <a:pt x="24" y="308"/>
                  </a:cubicBezTo>
                  <a:cubicBezTo>
                    <a:pt x="29" y="298"/>
                    <a:pt x="35" y="289"/>
                    <a:pt x="34" y="277"/>
                  </a:cubicBezTo>
                  <a:cubicBezTo>
                    <a:pt x="41" y="267"/>
                    <a:pt x="26" y="257"/>
                    <a:pt x="38" y="247"/>
                  </a:cubicBezTo>
                  <a:cubicBezTo>
                    <a:pt x="43" y="240"/>
                    <a:pt x="54" y="248"/>
                    <a:pt x="59" y="239"/>
                  </a:cubicBezTo>
                  <a:cubicBezTo>
                    <a:pt x="67" y="242"/>
                    <a:pt x="85" y="220"/>
                    <a:pt x="68" y="225"/>
                  </a:cubicBezTo>
                  <a:cubicBezTo>
                    <a:pt x="55" y="218"/>
                    <a:pt x="59" y="201"/>
                    <a:pt x="63" y="189"/>
                  </a:cubicBezTo>
                  <a:cubicBezTo>
                    <a:pt x="64" y="179"/>
                    <a:pt x="66" y="168"/>
                    <a:pt x="58" y="163"/>
                  </a:cubicBezTo>
                  <a:cubicBezTo>
                    <a:pt x="58" y="149"/>
                    <a:pt x="79" y="140"/>
                    <a:pt x="66" y="125"/>
                  </a:cubicBezTo>
                  <a:cubicBezTo>
                    <a:pt x="63" y="118"/>
                    <a:pt x="58" y="110"/>
                    <a:pt x="70" y="108"/>
                  </a:cubicBezTo>
                  <a:cubicBezTo>
                    <a:pt x="74" y="106"/>
                    <a:pt x="76" y="110"/>
                    <a:pt x="81" y="104"/>
                  </a:cubicBezTo>
                  <a:cubicBezTo>
                    <a:pt x="88" y="97"/>
                    <a:pt x="101" y="89"/>
                    <a:pt x="88" y="79"/>
                  </a:cubicBezTo>
                  <a:cubicBezTo>
                    <a:pt x="83" y="71"/>
                    <a:pt x="87" y="59"/>
                    <a:pt x="74" y="55"/>
                  </a:cubicBezTo>
                  <a:cubicBezTo>
                    <a:pt x="61" y="50"/>
                    <a:pt x="83" y="35"/>
                    <a:pt x="67" y="29"/>
                  </a:cubicBezTo>
                  <a:cubicBezTo>
                    <a:pt x="63" y="23"/>
                    <a:pt x="60" y="9"/>
                    <a:pt x="52" y="19"/>
                  </a:cubicBezTo>
                  <a:cubicBezTo>
                    <a:pt x="47" y="19"/>
                    <a:pt x="46" y="10"/>
                    <a:pt x="46" y="7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6" y="6"/>
                    <a:pt x="46" y="6"/>
                    <a:pt x="46" y="7"/>
                  </a:cubicBezTo>
                  <a:cubicBezTo>
                    <a:pt x="42" y="7"/>
                    <a:pt x="42" y="5"/>
                    <a:pt x="43" y="1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5" y="0"/>
                    <a:pt x="47" y="1"/>
                    <a:pt x="49" y="0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95" name="Madagascar"/>
            <p:cNvSpPr>
              <a:spLocks/>
            </p:cNvSpPr>
            <p:nvPr/>
          </p:nvSpPr>
          <p:spPr bwMode="auto">
            <a:xfrm>
              <a:off x="5348234" y="4969468"/>
              <a:ext cx="207467" cy="442290"/>
            </a:xfrm>
            <a:custGeom>
              <a:avLst/>
              <a:gdLst>
                <a:gd name="T0" fmla="*/ 364 w 569"/>
                <a:gd name="T1" fmla="*/ 194 h 1025"/>
                <a:gd name="T2" fmla="*/ 365 w 569"/>
                <a:gd name="T3" fmla="*/ 218 h 1025"/>
                <a:gd name="T4" fmla="*/ 400 w 569"/>
                <a:gd name="T5" fmla="*/ 185 h 1025"/>
                <a:gd name="T6" fmla="*/ 397 w 569"/>
                <a:gd name="T7" fmla="*/ 155 h 1025"/>
                <a:gd name="T8" fmla="*/ 412 w 569"/>
                <a:gd name="T9" fmla="*/ 138 h 1025"/>
                <a:gd name="T10" fmla="*/ 425 w 569"/>
                <a:gd name="T11" fmla="*/ 112 h 1025"/>
                <a:gd name="T12" fmla="*/ 451 w 569"/>
                <a:gd name="T13" fmla="*/ 87 h 1025"/>
                <a:gd name="T14" fmla="*/ 477 w 569"/>
                <a:gd name="T15" fmla="*/ 75 h 1025"/>
                <a:gd name="T16" fmla="*/ 480 w 569"/>
                <a:gd name="T17" fmla="*/ 23 h 1025"/>
                <a:gd name="T18" fmla="*/ 500 w 569"/>
                <a:gd name="T19" fmla="*/ 6 h 1025"/>
                <a:gd name="T20" fmla="*/ 537 w 569"/>
                <a:gd name="T21" fmla="*/ 41 h 1025"/>
                <a:gd name="T22" fmla="*/ 554 w 569"/>
                <a:gd name="T23" fmla="*/ 98 h 1025"/>
                <a:gd name="T24" fmla="*/ 562 w 569"/>
                <a:gd name="T25" fmla="*/ 182 h 1025"/>
                <a:gd name="T26" fmla="*/ 568 w 569"/>
                <a:gd name="T27" fmla="*/ 260 h 1025"/>
                <a:gd name="T28" fmla="*/ 544 w 569"/>
                <a:gd name="T29" fmla="*/ 294 h 1025"/>
                <a:gd name="T30" fmla="*/ 525 w 569"/>
                <a:gd name="T31" fmla="*/ 260 h 1025"/>
                <a:gd name="T32" fmla="*/ 520 w 569"/>
                <a:gd name="T33" fmla="*/ 329 h 1025"/>
                <a:gd name="T34" fmla="*/ 497 w 569"/>
                <a:gd name="T35" fmla="*/ 380 h 1025"/>
                <a:gd name="T36" fmla="*/ 473 w 569"/>
                <a:gd name="T37" fmla="*/ 459 h 1025"/>
                <a:gd name="T38" fmla="*/ 433 w 569"/>
                <a:gd name="T39" fmla="*/ 555 h 1025"/>
                <a:gd name="T40" fmla="*/ 396 w 569"/>
                <a:gd name="T41" fmla="*/ 638 h 1025"/>
                <a:gd name="T42" fmla="*/ 347 w 569"/>
                <a:gd name="T43" fmla="*/ 748 h 1025"/>
                <a:gd name="T44" fmla="*/ 294 w 569"/>
                <a:gd name="T45" fmla="*/ 867 h 1025"/>
                <a:gd name="T46" fmla="*/ 253 w 569"/>
                <a:gd name="T47" fmla="*/ 949 h 1025"/>
                <a:gd name="T48" fmla="*/ 211 w 569"/>
                <a:gd name="T49" fmla="*/ 994 h 1025"/>
                <a:gd name="T50" fmla="*/ 153 w 569"/>
                <a:gd name="T51" fmla="*/ 1001 h 1025"/>
                <a:gd name="T52" fmla="*/ 92 w 569"/>
                <a:gd name="T53" fmla="*/ 1025 h 1025"/>
                <a:gd name="T54" fmla="*/ 31 w 569"/>
                <a:gd name="T55" fmla="*/ 970 h 1025"/>
                <a:gd name="T56" fmla="*/ 13 w 569"/>
                <a:gd name="T57" fmla="*/ 920 h 1025"/>
                <a:gd name="T58" fmla="*/ 22 w 569"/>
                <a:gd name="T59" fmla="*/ 862 h 1025"/>
                <a:gd name="T60" fmla="*/ 4 w 569"/>
                <a:gd name="T61" fmla="*/ 807 h 1025"/>
                <a:gd name="T62" fmla="*/ 6 w 569"/>
                <a:gd name="T63" fmla="*/ 735 h 1025"/>
                <a:gd name="T64" fmla="*/ 39 w 569"/>
                <a:gd name="T65" fmla="*/ 689 h 1025"/>
                <a:gd name="T66" fmla="*/ 86 w 569"/>
                <a:gd name="T67" fmla="*/ 621 h 1025"/>
                <a:gd name="T68" fmla="*/ 116 w 569"/>
                <a:gd name="T69" fmla="*/ 581 h 1025"/>
                <a:gd name="T70" fmla="*/ 116 w 569"/>
                <a:gd name="T71" fmla="*/ 539 h 1025"/>
                <a:gd name="T72" fmla="*/ 104 w 569"/>
                <a:gd name="T73" fmla="*/ 452 h 1025"/>
                <a:gd name="T74" fmla="*/ 103 w 569"/>
                <a:gd name="T75" fmla="*/ 391 h 1025"/>
                <a:gd name="T76" fmla="*/ 141 w 569"/>
                <a:gd name="T77" fmla="*/ 315 h 1025"/>
                <a:gd name="T78" fmla="*/ 168 w 569"/>
                <a:gd name="T79" fmla="*/ 301 h 1025"/>
                <a:gd name="T80" fmla="*/ 200 w 569"/>
                <a:gd name="T81" fmla="*/ 287 h 1025"/>
                <a:gd name="T82" fmla="*/ 226 w 569"/>
                <a:gd name="T83" fmla="*/ 287 h 1025"/>
                <a:gd name="T84" fmla="*/ 253 w 569"/>
                <a:gd name="T85" fmla="*/ 275 h 1025"/>
                <a:gd name="T86" fmla="*/ 280 w 569"/>
                <a:gd name="T87" fmla="*/ 296 h 1025"/>
                <a:gd name="T88" fmla="*/ 291 w 569"/>
                <a:gd name="T89" fmla="*/ 278 h 1025"/>
                <a:gd name="T90" fmla="*/ 304 w 569"/>
                <a:gd name="T91" fmla="*/ 243 h 1025"/>
                <a:gd name="T92" fmla="*/ 328 w 569"/>
                <a:gd name="T93" fmla="*/ 257 h 1025"/>
                <a:gd name="T94" fmla="*/ 337 w 569"/>
                <a:gd name="T95" fmla="*/ 228 h 10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69" h="1025">
                  <a:moveTo>
                    <a:pt x="352" y="213"/>
                  </a:moveTo>
                  <a:cubicBezTo>
                    <a:pt x="354" y="209"/>
                    <a:pt x="361" y="206"/>
                    <a:pt x="357" y="202"/>
                  </a:cubicBezTo>
                  <a:cubicBezTo>
                    <a:pt x="358" y="199"/>
                    <a:pt x="362" y="197"/>
                    <a:pt x="364" y="194"/>
                  </a:cubicBezTo>
                  <a:cubicBezTo>
                    <a:pt x="366" y="192"/>
                    <a:pt x="367" y="191"/>
                    <a:pt x="367" y="195"/>
                  </a:cubicBezTo>
                  <a:cubicBezTo>
                    <a:pt x="370" y="199"/>
                    <a:pt x="370" y="205"/>
                    <a:pt x="367" y="209"/>
                  </a:cubicBezTo>
                  <a:cubicBezTo>
                    <a:pt x="367" y="212"/>
                    <a:pt x="365" y="217"/>
                    <a:pt x="365" y="218"/>
                  </a:cubicBezTo>
                  <a:cubicBezTo>
                    <a:pt x="373" y="210"/>
                    <a:pt x="380" y="201"/>
                    <a:pt x="388" y="192"/>
                  </a:cubicBezTo>
                  <a:cubicBezTo>
                    <a:pt x="393" y="192"/>
                    <a:pt x="398" y="194"/>
                    <a:pt x="404" y="193"/>
                  </a:cubicBezTo>
                  <a:cubicBezTo>
                    <a:pt x="407" y="191"/>
                    <a:pt x="404" y="186"/>
                    <a:pt x="400" y="185"/>
                  </a:cubicBezTo>
                  <a:cubicBezTo>
                    <a:pt x="398" y="184"/>
                    <a:pt x="394" y="184"/>
                    <a:pt x="392" y="181"/>
                  </a:cubicBezTo>
                  <a:cubicBezTo>
                    <a:pt x="391" y="177"/>
                    <a:pt x="386" y="173"/>
                    <a:pt x="388" y="169"/>
                  </a:cubicBezTo>
                  <a:cubicBezTo>
                    <a:pt x="390" y="164"/>
                    <a:pt x="393" y="159"/>
                    <a:pt x="397" y="155"/>
                  </a:cubicBezTo>
                  <a:cubicBezTo>
                    <a:pt x="400" y="153"/>
                    <a:pt x="402" y="148"/>
                    <a:pt x="404" y="148"/>
                  </a:cubicBezTo>
                  <a:cubicBezTo>
                    <a:pt x="406" y="150"/>
                    <a:pt x="408" y="155"/>
                    <a:pt x="410" y="154"/>
                  </a:cubicBezTo>
                  <a:cubicBezTo>
                    <a:pt x="411" y="149"/>
                    <a:pt x="412" y="144"/>
                    <a:pt x="412" y="138"/>
                  </a:cubicBezTo>
                  <a:cubicBezTo>
                    <a:pt x="410" y="132"/>
                    <a:pt x="409" y="125"/>
                    <a:pt x="408" y="119"/>
                  </a:cubicBezTo>
                  <a:cubicBezTo>
                    <a:pt x="407" y="114"/>
                    <a:pt x="407" y="110"/>
                    <a:pt x="411" y="106"/>
                  </a:cubicBezTo>
                  <a:cubicBezTo>
                    <a:pt x="416" y="106"/>
                    <a:pt x="421" y="109"/>
                    <a:pt x="425" y="112"/>
                  </a:cubicBezTo>
                  <a:cubicBezTo>
                    <a:pt x="426" y="117"/>
                    <a:pt x="427" y="121"/>
                    <a:pt x="428" y="126"/>
                  </a:cubicBezTo>
                  <a:cubicBezTo>
                    <a:pt x="434" y="118"/>
                    <a:pt x="441" y="109"/>
                    <a:pt x="447" y="101"/>
                  </a:cubicBezTo>
                  <a:cubicBezTo>
                    <a:pt x="449" y="96"/>
                    <a:pt x="450" y="91"/>
                    <a:pt x="451" y="87"/>
                  </a:cubicBezTo>
                  <a:cubicBezTo>
                    <a:pt x="454" y="86"/>
                    <a:pt x="456" y="91"/>
                    <a:pt x="459" y="93"/>
                  </a:cubicBezTo>
                  <a:cubicBezTo>
                    <a:pt x="463" y="94"/>
                    <a:pt x="467" y="88"/>
                    <a:pt x="471" y="87"/>
                  </a:cubicBezTo>
                  <a:cubicBezTo>
                    <a:pt x="474" y="84"/>
                    <a:pt x="475" y="79"/>
                    <a:pt x="477" y="75"/>
                  </a:cubicBezTo>
                  <a:cubicBezTo>
                    <a:pt x="479" y="70"/>
                    <a:pt x="481" y="65"/>
                    <a:pt x="482" y="60"/>
                  </a:cubicBezTo>
                  <a:cubicBezTo>
                    <a:pt x="483" y="51"/>
                    <a:pt x="485" y="43"/>
                    <a:pt x="485" y="34"/>
                  </a:cubicBezTo>
                  <a:cubicBezTo>
                    <a:pt x="484" y="30"/>
                    <a:pt x="482" y="27"/>
                    <a:pt x="480" y="23"/>
                  </a:cubicBezTo>
                  <a:cubicBezTo>
                    <a:pt x="478" y="21"/>
                    <a:pt x="479" y="20"/>
                    <a:pt x="481" y="22"/>
                  </a:cubicBezTo>
                  <a:cubicBezTo>
                    <a:pt x="486" y="25"/>
                    <a:pt x="488" y="19"/>
                    <a:pt x="491" y="16"/>
                  </a:cubicBezTo>
                  <a:cubicBezTo>
                    <a:pt x="494" y="13"/>
                    <a:pt x="497" y="9"/>
                    <a:pt x="500" y="6"/>
                  </a:cubicBezTo>
                  <a:cubicBezTo>
                    <a:pt x="503" y="5"/>
                    <a:pt x="507" y="0"/>
                    <a:pt x="510" y="1"/>
                  </a:cubicBezTo>
                  <a:cubicBezTo>
                    <a:pt x="514" y="6"/>
                    <a:pt x="519" y="11"/>
                    <a:pt x="523" y="16"/>
                  </a:cubicBezTo>
                  <a:cubicBezTo>
                    <a:pt x="527" y="24"/>
                    <a:pt x="531" y="34"/>
                    <a:pt x="537" y="41"/>
                  </a:cubicBezTo>
                  <a:cubicBezTo>
                    <a:pt x="540" y="44"/>
                    <a:pt x="543" y="48"/>
                    <a:pt x="546" y="52"/>
                  </a:cubicBezTo>
                  <a:cubicBezTo>
                    <a:pt x="547" y="58"/>
                    <a:pt x="550" y="63"/>
                    <a:pt x="552" y="69"/>
                  </a:cubicBezTo>
                  <a:cubicBezTo>
                    <a:pt x="553" y="78"/>
                    <a:pt x="555" y="88"/>
                    <a:pt x="554" y="98"/>
                  </a:cubicBezTo>
                  <a:cubicBezTo>
                    <a:pt x="554" y="107"/>
                    <a:pt x="557" y="115"/>
                    <a:pt x="558" y="124"/>
                  </a:cubicBezTo>
                  <a:cubicBezTo>
                    <a:pt x="560" y="133"/>
                    <a:pt x="559" y="143"/>
                    <a:pt x="560" y="153"/>
                  </a:cubicBezTo>
                  <a:cubicBezTo>
                    <a:pt x="561" y="162"/>
                    <a:pt x="563" y="172"/>
                    <a:pt x="562" y="182"/>
                  </a:cubicBezTo>
                  <a:cubicBezTo>
                    <a:pt x="561" y="193"/>
                    <a:pt x="562" y="204"/>
                    <a:pt x="563" y="215"/>
                  </a:cubicBezTo>
                  <a:cubicBezTo>
                    <a:pt x="564" y="222"/>
                    <a:pt x="567" y="230"/>
                    <a:pt x="569" y="237"/>
                  </a:cubicBezTo>
                  <a:cubicBezTo>
                    <a:pt x="569" y="244"/>
                    <a:pt x="569" y="252"/>
                    <a:pt x="568" y="260"/>
                  </a:cubicBezTo>
                  <a:cubicBezTo>
                    <a:pt x="567" y="266"/>
                    <a:pt x="565" y="273"/>
                    <a:pt x="563" y="280"/>
                  </a:cubicBezTo>
                  <a:cubicBezTo>
                    <a:pt x="561" y="286"/>
                    <a:pt x="558" y="291"/>
                    <a:pt x="555" y="296"/>
                  </a:cubicBezTo>
                  <a:cubicBezTo>
                    <a:pt x="552" y="296"/>
                    <a:pt x="545" y="300"/>
                    <a:pt x="544" y="294"/>
                  </a:cubicBezTo>
                  <a:cubicBezTo>
                    <a:pt x="542" y="286"/>
                    <a:pt x="539" y="278"/>
                    <a:pt x="538" y="269"/>
                  </a:cubicBezTo>
                  <a:cubicBezTo>
                    <a:pt x="537" y="266"/>
                    <a:pt x="538" y="260"/>
                    <a:pt x="536" y="258"/>
                  </a:cubicBezTo>
                  <a:cubicBezTo>
                    <a:pt x="533" y="259"/>
                    <a:pt x="526" y="257"/>
                    <a:pt x="525" y="260"/>
                  </a:cubicBezTo>
                  <a:cubicBezTo>
                    <a:pt x="522" y="270"/>
                    <a:pt x="519" y="280"/>
                    <a:pt x="516" y="291"/>
                  </a:cubicBezTo>
                  <a:cubicBezTo>
                    <a:pt x="516" y="298"/>
                    <a:pt x="515" y="305"/>
                    <a:pt x="514" y="312"/>
                  </a:cubicBezTo>
                  <a:cubicBezTo>
                    <a:pt x="516" y="317"/>
                    <a:pt x="518" y="323"/>
                    <a:pt x="520" y="329"/>
                  </a:cubicBezTo>
                  <a:cubicBezTo>
                    <a:pt x="519" y="336"/>
                    <a:pt x="518" y="344"/>
                    <a:pt x="517" y="351"/>
                  </a:cubicBezTo>
                  <a:cubicBezTo>
                    <a:pt x="515" y="356"/>
                    <a:pt x="513" y="362"/>
                    <a:pt x="509" y="366"/>
                  </a:cubicBezTo>
                  <a:cubicBezTo>
                    <a:pt x="505" y="371"/>
                    <a:pt x="500" y="375"/>
                    <a:pt x="497" y="380"/>
                  </a:cubicBezTo>
                  <a:cubicBezTo>
                    <a:pt x="494" y="385"/>
                    <a:pt x="491" y="389"/>
                    <a:pt x="489" y="394"/>
                  </a:cubicBezTo>
                  <a:cubicBezTo>
                    <a:pt x="486" y="406"/>
                    <a:pt x="482" y="417"/>
                    <a:pt x="481" y="429"/>
                  </a:cubicBezTo>
                  <a:cubicBezTo>
                    <a:pt x="480" y="439"/>
                    <a:pt x="476" y="449"/>
                    <a:pt x="473" y="459"/>
                  </a:cubicBezTo>
                  <a:cubicBezTo>
                    <a:pt x="468" y="476"/>
                    <a:pt x="463" y="493"/>
                    <a:pt x="456" y="509"/>
                  </a:cubicBezTo>
                  <a:cubicBezTo>
                    <a:pt x="451" y="521"/>
                    <a:pt x="445" y="533"/>
                    <a:pt x="439" y="545"/>
                  </a:cubicBezTo>
                  <a:cubicBezTo>
                    <a:pt x="434" y="547"/>
                    <a:pt x="434" y="551"/>
                    <a:pt x="433" y="555"/>
                  </a:cubicBezTo>
                  <a:cubicBezTo>
                    <a:pt x="432" y="562"/>
                    <a:pt x="428" y="568"/>
                    <a:pt x="425" y="574"/>
                  </a:cubicBezTo>
                  <a:cubicBezTo>
                    <a:pt x="421" y="584"/>
                    <a:pt x="416" y="594"/>
                    <a:pt x="412" y="604"/>
                  </a:cubicBezTo>
                  <a:cubicBezTo>
                    <a:pt x="406" y="615"/>
                    <a:pt x="402" y="627"/>
                    <a:pt x="396" y="638"/>
                  </a:cubicBezTo>
                  <a:cubicBezTo>
                    <a:pt x="391" y="648"/>
                    <a:pt x="385" y="657"/>
                    <a:pt x="381" y="666"/>
                  </a:cubicBezTo>
                  <a:cubicBezTo>
                    <a:pt x="375" y="680"/>
                    <a:pt x="371" y="694"/>
                    <a:pt x="365" y="707"/>
                  </a:cubicBezTo>
                  <a:cubicBezTo>
                    <a:pt x="359" y="721"/>
                    <a:pt x="353" y="734"/>
                    <a:pt x="347" y="748"/>
                  </a:cubicBezTo>
                  <a:cubicBezTo>
                    <a:pt x="341" y="758"/>
                    <a:pt x="335" y="768"/>
                    <a:pt x="330" y="779"/>
                  </a:cubicBezTo>
                  <a:cubicBezTo>
                    <a:pt x="322" y="799"/>
                    <a:pt x="313" y="818"/>
                    <a:pt x="305" y="838"/>
                  </a:cubicBezTo>
                  <a:cubicBezTo>
                    <a:pt x="302" y="848"/>
                    <a:pt x="299" y="858"/>
                    <a:pt x="294" y="867"/>
                  </a:cubicBezTo>
                  <a:cubicBezTo>
                    <a:pt x="289" y="875"/>
                    <a:pt x="287" y="884"/>
                    <a:pt x="284" y="893"/>
                  </a:cubicBezTo>
                  <a:cubicBezTo>
                    <a:pt x="280" y="902"/>
                    <a:pt x="277" y="911"/>
                    <a:pt x="272" y="919"/>
                  </a:cubicBezTo>
                  <a:cubicBezTo>
                    <a:pt x="266" y="929"/>
                    <a:pt x="259" y="939"/>
                    <a:pt x="253" y="949"/>
                  </a:cubicBezTo>
                  <a:cubicBezTo>
                    <a:pt x="249" y="958"/>
                    <a:pt x="242" y="966"/>
                    <a:pt x="236" y="974"/>
                  </a:cubicBezTo>
                  <a:cubicBezTo>
                    <a:pt x="233" y="977"/>
                    <a:pt x="231" y="982"/>
                    <a:pt x="227" y="984"/>
                  </a:cubicBezTo>
                  <a:cubicBezTo>
                    <a:pt x="222" y="988"/>
                    <a:pt x="217" y="992"/>
                    <a:pt x="211" y="994"/>
                  </a:cubicBezTo>
                  <a:cubicBezTo>
                    <a:pt x="207" y="997"/>
                    <a:pt x="202" y="998"/>
                    <a:pt x="198" y="995"/>
                  </a:cubicBezTo>
                  <a:cubicBezTo>
                    <a:pt x="193" y="994"/>
                    <a:pt x="188" y="996"/>
                    <a:pt x="183" y="996"/>
                  </a:cubicBezTo>
                  <a:cubicBezTo>
                    <a:pt x="173" y="998"/>
                    <a:pt x="163" y="999"/>
                    <a:pt x="153" y="1001"/>
                  </a:cubicBezTo>
                  <a:cubicBezTo>
                    <a:pt x="146" y="1004"/>
                    <a:pt x="139" y="1009"/>
                    <a:pt x="132" y="1012"/>
                  </a:cubicBezTo>
                  <a:cubicBezTo>
                    <a:pt x="124" y="1016"/>
                    <a:pt x="117" y="1019"/>
                    <a:pt x="109" y="1023"/>
                  </a:cubicBezTo>
                  <a:cubicBezTo>
                    <a:pt x="103" y="1023"/>
                    <a:pt x="98" y="1024"/>
                    <a:pt x="92" y="1025"/>
                  </a:cubicBezTo>
                  <a:cubicBezTo>
                    <a:pt x="85" y="1017"/>
                    <a:pt x="79" y="1010"/>
                    <a:pt x="71" y="1004"/>
                  </a:cubicBezTo>
                  <a:cubicBezTo>
                    <a:pt x="63" y="997"/>
                    <a:pt x="56" y="990"/>
                    <a:pt x="47" y="985"/>
                  </a:cubicBezTo>
                  <a:cubicBezTo>
                    <a:pt x="40" y="981"/>
                    <a:pt x="36" y="975"/>
                    <a:pt x="31" y="970"/>
                  </a:cubicBezTo>
                  <a:cubicBezTo>
                    <a:pt x="28" y="968"/>
                    <a:pt x="28" y="964"/>
                    <a:pt x="26" y="961"/>
                  </a:cubicBezTo>
                  <a:cubicBezTo>
                    <a:pt x="23" y="954"/>
                    <a:pt x="19" y="947"/>
                    <a:pt x="16" y="940"/>
                  </a:cubicBezTo>
                  <a:cubicBezTo>
                    <a:pt x="15" y="933"/>
                    <a:pt x="14" y="927"/>
                    <a:pt x="13" y="920"/>
                  </a:cubicBezTo>
                  <a:cubicBezTo>
                    <a:pt x="12" y="913"/>
                    <a:pt x="13" y="906"/>
                    <a:pt x="12" y="899"/>
                  </a:cubicBezTo>
                  <a:cubicBezTo>
                    <a:pt x="12" y="891"/>
                    <a:pt x="14" y="883"/>
                    <a:pt x="15" y="876"/>
                  </a:cubicBezTo>
                  <a:cubicBezTo>
                    <a:pt x="17" y="871"/>
                    <a:pt x="22" y="867"/>
                    <a:pt x="22" y="862"/>
                  </a:cubicBezTo>
                  <a:cubicBezTo>
                    <a:pt x="21" y="851"/>
                    <a:pt x="19" y="840"/>
                    <a:pt x="17" y="829"/>
                  </a:cubicBezTo>
                  <a:cubicBezTo>
                    <a:pt x="16" y="825"/>
                    <a:pt x="14" y="822"/>
                    <a:pt x="11" y="819"/>
                  </a:cubicBezTo>
                  <a:cubicBezTo>
                    <a:pt x="7" y="816"/>
                    <a:pt x="4" y="812"/>
                    <a:pt x="4" y="807"/>
                  </a:cubicBezTo>
                  <a:cubicBezTo>
                    <a:pt x="3" y="802"/>
                    <a:pt x="1" y="798"/>
                    <a:pt x="0" y="793"/>
                  </a:cubicBezTo>
                  <a:cubicBezTo>
                    <a:pt x="2" y="783"/>
                    <a:pt x="4" y="773"/>
                    <a:pt x="3" y="763"/>
                  </a:cubicBezTo>
                  <a:cubicBezTo>
                    <a:pt x="3" y="754"/>
                    <a:pt x="5" y="744"/>
                    <a:pt x="6" y="735"/>
                  </a:cubicBezTo>
                  <a:cubicBezTo>
                    <a:pt x="8" y="731"/>
                    <a:pt x="11" y="727"/>
                    <a:pt x="14" y="724"/>
                  </a:cubicBezTo>
                  <a:cubicBezTo>
                    <a:pt x="17" y="720"/>
                    <a:pt x="20" y="716"/>
                    <a:pt x="22" y="712"/>
                  </a:cubicBezTo>
                  <a:cubicBezTo>
                    <a:pt x="26" y="703"/>
                    <a:pt x="32" y="696"/>
                    <a:pt x="39" y="689"/>
                  </a:cubicBezTo>
                  <a:cubicBezTo>
                    <a:pt x="42" y="686"/>
                    <a:pt x="48" y="687"/>
                    <a:pt x="51" y="683"/>
                  </a:cubicBezTo>
                  <a:cubicBezTo>
                    <a:pt x="55" y="672"/>
                    <a:pt x="61" y="661"/>
                    <a:pt x="67" y="650"/>
                  </a:cubicBezTo>
                  <a:cubicBezTo>
                    <a:pt x="73" y="640"/>
                    <a:pt x="80" y="631"/>
                    <a:pt x="86" y="621"/>
                  </a:cubicBezTo>
                  <a:cubicBezTo>
                    <a:pt x="90" y="615"/>
                    <a:pt x="94" y="609"/>
                    <a:pt x="99" y="604"/>
                  </a:cubicBezTo>
                  <a:cubicBezTo>
                    <a:pt x="102" y="601"/>
                    <a:pt x="105" y="598"/>
                    <a:pt x="108" y="595"/>
                  </a:cubicBezTo>
                  <a:cubicBezTo>
                    <a:pt x="111" y="590"/>
                    <a:pt x="113" y="586"/>
                    <a:pt x="116" y="581"/>
                  </a:cubicBezTo>
                  <a:cubicBezTo>
                    <a:pt x="116" y="576"/>
                    <a:pt x="113" y="570"/>
                    <a:pt x="116" y="566"/>
                  </a:cubicBezTo>
                  <a:cubicBezTo>
                    <a:pt x="119" y="563"/>
                    <a:pt x="122" y="560"/>
                    <a:pt x="120" y="555"/>
                  </a:cubicBezTo>
                  <a:cubicBezTo>
                    <a:pt x="120" y="550"/>
                    <a:pt x="118" y="544"/>
                    <a:pt x="116" y="539"/>
                  </a:cubicBezTo>
                  <a:cubicBezTo>
                    <a:pt x="113" y="534"/>
                    <a:pt x="110" y="528"/>
                    <a:pt x="110" y="521"/>
                  </a:cubicBezTo>
                  <a:cubicBezTo>
                    <a:pt x="108" y="508"/>
                    <a:pt x="106" y="494"/>
                    <a:pt x="105" y="480"/>
                  </a:cubicBezTo>
                  <a:cubicBezTo>
                    <a:pt x="104" y="470"/>
                    <a:pt x="104" y="461"/>
                    <a:pt x="104" y="452"/>
                  </a:cubicBezTo>
                  <a:cubicBezTo>
                    <a:pt x="105" y="442"/>
                    <a:pt x="106" y="433"/>
                    <a:pt x="107" y="423"/>
                  </a:cubicBezTo>
                  <a:cubicBezTo>
                    <a:pt x="104" y="417"/>
                    <a:pt x="100" y="411"/>
                    <a:pt x="97" y="404"/>
                  </a:cubicBezTo>
                  <a:cubicBezTo>
                    <a:pt x="95" y="399"/>
                    <a:pt x="101" y="395"/>
                    <a:pt x="103" y="391"/>
                  </a:cubicBezTo>
                  <a:cubicBezTo>
                    <a:pt x="110" y="382"/>
                    <a:pt x="117" y="374"/>
                    <a:pt x="122" y="364"/>
                  </a:cubicBezTo>
                  <a:cubicBezTo>
                    <a:pt x="128" y="352"/>
                    <a:pt x="135" y="340"/>
                    <a:pt x="140" y="328"/>
                  </a:cubicBezTo>
                  <a:cubicBezTo>
                    <a:pt x="141" y="324"/>
                    <a:pt x="141" y="319"/>
                    <a:pt x="141" y="315"/>
                  </a:cubicBezTo>
                  <a:cubicBezTo>
                    <a:pt x="142" y="311"/>
                    <a:pt x="141" y="306"/>
                    <a:pt x="144" y="303"/>
                  </a:cubicBezTo>
                  <a:cubicBezTo>
                    <a:pt x="146" y="299"/>
                    <a:pt x="151" y="297"/>
                    <a:pt x="155" y="300"/>
                  </a:cubicBezTo>
                  <a:cubicBezTo>
                    <a:pt x="159" y="303"/>
                    <a:pt x="164" y="301"/>
                    <a:pt x="168" y="301"/>
                  </a:cubicBezTo>
                  <a:cubicBezTo>
                    <a:pt x="172" y="301"/>
                    <a:pt x="175" y="301"/>
                    <a:pt x="179" y="301"/>
                  </a:cubicBezTo>
                  <a:cubicBezTo>
                    <a:pt x="182" y="297"/>
                    <a:pt x="185" y="294"/>
                    <a:pt x="190" y="292"/>
                  </a:cubicBezTo>
                  <a:cubicBezTo>
                    <a:pt x="193" y="291"/>
                    <a:pt x="197" y="287"/>
                    <a:pt x="200" y="287"/>
                  </a:cubicBezTo>
                  <a:cubicBezTo>
                    <a:pt x="201" y="291"/>
                    <a:pt x="201" y="296"/>
                    <a:pt x="205" y="296"/>
                  </a:cubicBezTo>
                  <a:cubicBezTo>
                    <a:pt x="210" y="297"/>
                    <a:pt x="211" y="286"/>
                    <a:pt x="217" y="289"/>
                  </a:cubicBezTo>
                  <a:cubicBezTo>
                    <a:pt x="220" y="293"/>
                    <a:pt x="224" y="291"/>
                    <a:pt x="226" y="287"/>
                  </a:cubicBezTo>
                  <a:cubicBezTo>
                    <a:pt x="230" y="284"/>
                    <a:pt x="230" y="279"/>
                    <a:pt x="232" y="275"/>
                  </a:cubicBezTo>
                  <a:cubicBezTo>
                    <a:pt x="235" y="272"/>
                    <a:pt x="240" y="273"/>
                    <a:pt x="245" y="271"/>
                  </a:cubicBezTo>
                  <a:cubicBezTo>
                    <a:pt x="247" y="273"/>
                    <a:pt x="250" y="278"/>
                    <a:pt x="253" y="275"/>
                  </a:cubicBezTo>
                  <a:cubicBezTo>
                    <a:pt x="257" y="272"/>
                    <a:pt x="260" y="267"/>
                    <a:pt x="265" y="270"/>
                  </a:cubicBezTo>
                  <a:cubicBezTo>
                    <a:pt x="271" y="272"/>
                    <a:pt x="270" y="279"/>
                    <a:pt x="272" y="284"/>
                  </a:cubicBezTo>
                  <a:cubicBezTo>
                    <a:pt x="274" y="288"/>
                    <a:pt x="278" y="292"/>
                    <a:pt x="280" y="296"/>
                  </a:cubicBezTo>
                  <a:cubicBezTo>
                    <a:pt x="285" y="297"/>
                    <a:pt x="289" y="300"/>
                    <a:pt x="294" y="298"/>
                  </a:cubicBezTo>
                  <a:cubicBezTo>
                    <a:pt x="302" y="299"/>
                    <a:pt x="297" y="291"/>
                    <a:pt x="297" y="286"/>
                  </a:cubicBezTo>
                  <a:cubicBezTo>
                    <a:pt x="296" y="283"/>
                    <a:pt x="293" y="281"/>
                    <a:pt x="291" y="278"/>
                  </a:cubicBezTo>
                  <a:cubicBezTo>
                    <a:pt x="289" y="275"/>
                    <a:pt x="284" y="273"/>
                    <a:pt x="286" y="270"/>
                  </a:cubicBezTo>
                  <a:cubicBezTo>
                    <a:pt x="287" y="265"/>
                    <a:pt x="287" y="259"/>
                    <a:pt x="291" y="256"/>
                  </a:cubicBezTo>
                  <a:cubicBezTo>
                    <a:pt x="295" y="252"/>
                    <a:pt x="299" y="247"/>
                    <a:pt x="304" y="243"/>
                  </a:cubicBezTo>
                  <a:cubicBezTo>
                    <a:pt x="309" y="240"/>
                    <a:pt x="314" y="237"/>
                    <a:pt x="320" y="234"/>
                  </a:cubicBezTo>
                  <a:cubicBezTo>
                    <a:pt x="323" y="237"/>
                    <a:pt x="328" y="237"/>
                    <a:pt x="328" y="242"/>
                  </a:cubicBezTo>
                  <a:cubicBezTo>
                    <a:pt x="328" y="247"/>
                    <a:pt x="328" y="252"/>
                    <a:pt x="328" y="257"/>
                  </a:cubicBezTo>
                  <a:cubicBezTo>
                    <a:pt x="333" y="257"/>
                    <a:pt x="337" y="260"/>
                    <a:pt x="341" y="257"/>
                  </a:cubicBezTo>
                  <a:cubicBezTo>
                    <a:pt x="345" y="256"/>
                    <a:pt x="348" y="253"/>
                    <a:pt x="345" y="249"/>
                  </a:cubicBezTo>
                  <a:cubicBezTo>
                    <a:pt x="343" y="242"/>
                    <a:pt x="340" y="235"/>
                    <a:pt x="337" y="228"/>
                  </a:cubicBezTo>
                  <a:cubicBezTo>
                    <a:pt x="343" y="223"/>
                    <a:pt x="348" y="219"/>
                    <a:pt x="352" y="213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96" name="Macedonia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4755219" y="3195461"/>
              <a:ext cx="55475" cy="50161"/>
            </a:xfrm>
            <a:custGeom>
              <a:avLst/>
              <a:gdLst/>
              <a:ahLst/>
              <a:cxnLst>
                <a:cxn ang="0">
                  <a:pos x="10" y="7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2" y="9"/>
                </a:cxn>
                <a:cxn ang="0">
                  <a:pos x="6" y="9"/>
                </a:cxn>
                <a:cxn ang="0">
                  <a:pos x="10" y="7"/>
                </a:cxn>
              </a:cxnLst>
              <a:rect l="0" t="0" r="r" b="b"/>
              <a:pathLst>
                <a:path w="10" h="9">
                  <a:moveTo>
                    <a:pt x="10" y="7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2" y="9"/>
                  </a:lnTo>
                  <a:lnTo>
                    <a:pt x="6" y="9"/>
                  </a:lnTo>
                  <a:lnTo>
                    <a:pt x="10" y="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97" name="Luxembourg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405727" y="2955803"/>
              <a:ext cx="11095" cy="1672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0"/>
                </a:cxn>
                <a:cxn ang="0">
                  <a:pos x="2" y="3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98" name="Lithuania"/>
            <p:cNvGrpSpPr/>
            <p:nvPr/>
          </p:nvGrpSpPr>
          <p:grpSpPr>
            <a:xfrm>
              <a:off x="4721935" y="2755159"/>
              <a:ext cx="149781" cy="66881"/>
              <a:chOff x="4721935" y="2755159"/>
              <a:chExt cx="149781" cy="66881"/>
            </a:xfrm>
            <a:grpFill/>
          </p:grpSpPr>
          <p:sp>
            <p:nvSpPr>
              <p:cNvPr id="319" name="Lithuania"/>
              <p:cNvSpPr>
                <a:spLocks/>
              </p:cNvSpPr>
              <p:nvPr>
                <p:custDataLst>
                  <p:tags r:id="rId221"/>
                </p:custDataLst>
              </p:nvPr>
            </p:nvSpPr>
            <p:spPr bwMode="auto">
              <a:xfrm>
                <a:off x="4721935" y="2783026"/>
                <a:ext cx="55475" cy="3901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0" y="7"/>
                  </a:cxn>
                  <a:cxn ang="0">
                    <a:pos x="10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</a:cxnLst>
                <a:rect l="0" t="0" r="r" b="b"/>
                <a:pathLst>
                  <a:path w="10" h="7">
                    <a:moveTo>
                      <a:pt x="0" y="4"/>
                    </a:moveTo>
                    <a:lnTo>
                      <a:pt x="10" y="7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20" name="Lithuania"/>
              <p:cNvSpPr>
                <a:spLocks/>
              </p:cNvSpPr>
              <p:nvPr>
                <p:custDataLst>
                  <p:tags r:id="rId222"/>
                </p:custDataLst>
              </p:nvPr>
            </p:nvSpPr>
            <p:spPr bwMode="auto">
              <a:xfrm>
                <a:off x="4733029" y="2755159"/>
                <a:ext cx="138687" cy="66881"/>
              </a:xfrm>
              <a:custGeom>
                <a:avLst/>
                <a:gdLst/>
                <a:ahLst/>
                <a:cxnLst>
                  <a:cxn ang="0">
                    <a:pos x="12" y="12"/>
                  </a:cxn>
                  <a:cxn ang="0">
                    <a:pos x="8" y="12"/>
                  </a:cxn>
                  <a:cxn ang="0">
                    <a:pos x="8" y="5"/>
                  </a:cxn>
                  <a:cxn ang="0">
                    <a:pos x="0" y="5"/>
                  </a:cxn>
                  <a:cxn ang="0">
                    <a:pos x="4" y="3"/>
                  </a:cxn>
                  <a:cxn ang="0">
                    <a:pos x="6" y="0"/>
                  </a:cxn>
                  <a:cxn ang="0">
                    <a:pos x="16" y="0"/>
                  </a:cxn>
                  <a:cxn ang="0">
                    <a:pos x="25" y="3"/>
                  </a:cxn>
                  <a:cxn ang="0">
                    <a:pos x="25" y="5"/>
                  </a:cxn>
                  <a:cxn ang="0">
                    <a:pos x="21" y="9"/>
                  </a:cxn>
                  <a:cxn ang="0">
                    <a:pos x="23" y="12"/>
                  </a:cxn>
                  <a:cxn ang="0">
                    <a:pos x="16" y="12"/>
                  </a:cxn>
                  <a:cxn ang="0">
                    <a:pos x="12" y="12"/>
                  </a:cxn>
                </a:cxnLst>
                <a:rect l="0" t="0" r="r" b="b"/>
                <a:pathLst>
                  <a:path w="25" h="12">
                    <a:moveTo>
                      <a:pt x="12" y="12"/>
                    </a:moveTo>
                    <a:lnTo>
                      <a:pt x="8" y="12"/>
                    </a:lnTo>
                    <a:lnTo>
                      <a:pt x="8" y="5"/>
                    </a:lnTo>
                    <a:lnTo>
                      <a:pt x="0" y="5"/>
                    </a:lnTo>
                    <a:lnTo>
                      <a:pt x="4" y="3"/>
                    </a:lnTo>
                    <a:lnTo>
                      <a:pt x="6" y="0"/>
                    </a:lnTo>
                    <a:lnTo>
                      <a:pt x="16" y="0"/>
                    </a:lnTo>
                    <a:lnTo>
                      <a:pt x="25" y="3"/>
                    </a:lnTo>
                    <a:lnTo>
                      <a:pt x="25" y="5"/>
                    </a:lnTo>
                    <a:lnTo>
                      <a:pt x="21" y="9"/>
                    </a:lnTo>
                    <a:lnTo>
                      <a:pt x="23" y="12"/>
                    </a:lnTo>
                    <a:lnTo>
                      <a:pt x="16" y="12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99" name="Lichtenstein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4492070" y="3020125"/>
              <a:ext cx="11095" cy="360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2" y="9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9">
                  <a:moveTo>
                    <a:pt x="0" y="0"/>
                  </a:moveTo>
                  <a:lnTo>
                    <a:pt x="0" y="4"/>
                  </a:lnTo>
                  <a:lnTo>
                    <a:pt x="2" y="9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00" name="Libya"/>
            <p:cNvSpPr>
              <a:spLocks/>
            </p:cNvSpPr>
            <p:nvPr/>
          </p:nvSpPr>
          <p:spPr bwMode="auto">
            <a:xfrm>
              <a:off x="4486017" y="3489884"/>
              <a:ext cx="403681" cy="430607"/>
            </a:xfrm>
            <a:custGeom>
              <a:avLst/>
              <a:gdLst>
                <a:gd name="T0" fmla="*/ 348 w 1110"/>
                <a:gd name="T1" fmla="*/ 764 h 997"/>
                <a:gd name="T2" fmla="*/ 284 w 1110"/>
                <a:gd name="T3" fmla="*/ 728 h 997"/>
                <a:gd name="T4" fmla="*/ 177 w 1110"/>
                <a:gd name="T5" fmla="*/ 702 h 997"/>
                <a:gd name="T6" fmla="*/ 113 w 1110"/>
                <a:gd name="T7" fmla="*/ 633 h 997"/>
                <a:gd name="T8" fmla="*/ 49 w 1110"/>
                <a:gd name="T9" fmla="*/ 607 h 997"/>
                <a:gd name="T10" fmla="*/ 1 w 1110"/>
                <a:gd name="T11" fmla="*/ 507 h 997"/>
                <a:gd name="T12" fmla="*/ 32 w 1110"/>
                <a:gd name="T13" fmla="*/ 442 h 997"/>
                <a:gd name="T14" fmla="*/ 37 w 1110"/>
                <a:gd name="T15" fmla="*/ 363 h 997"/>
                <a:gd name="T16" fmla="*/ 12 w 1110"/>
                <a:gd name="T17" fmla="*/ 223 h 997"/>
                <a:gd name="T18" fmla="*/ 22 w 1110"/>
                <a:gd name="T19" fmla="*/ 204 h 997"/>
                <a:gd name="T20" fmla="*/ 73 w 1110"/>
                <a:gd name="T21" fmla="*/ 158 h 997"/>
                <a:gd name="T22" fmla="*/ 95 w 1110"/>
                <a:gd name="T23" fmla="*/ 93 h 997"/>
                <a:gd name="T24" fmla="*/ 154 w 1110"/>
                <a:gd name="T25" fmla="*/ 53 h 997"/>
                <a:gd name="T26" fmla="*/ 160 w 1110"/>
                <a:gd name="T27" fmla="*/ 0 h 997"/>
                <a:gd name="T28" fmla="*/ 201 w 1110"/>
                <a:gd name="T29" fmla="*/ 18 h 997"/>
                <a:gd name="T30" fmla="*/ 249 w 1110"/>
                <a:gd name="T31" fmla="*/ 18 h 997"/>
                <a:gd name="T32" fmla="*/ 296 w 1110"/>
                <a:gd name="T33" fmla="*/ 24 h 997"/>
                <a:gd name="T34" fmla="*/ 353 w 1110"/>
                <a:gd name="T35" fmla="*/ 44 h 997"/>
                <a:gd name="T36" fmla="*/ 401 w 1110"/>
                <a:gd name="T37" fmla="*/ 64 h 997"/>
                <a:gd name="T38" fmla="*/ 411 w 1110"/>
                <a:gd name="T39" fmla="*/ 100 h 997"/>
                <a:gd name="T40" fmla="*/ 463 w 1110"/>
                <a:gd name="T41" fmla="*/ 137 h 997"/>
                <a:gd name="T42" fmla="*/ 548 w 1110"/>
                <a:gd name="T43" fmla="*/ 151 h 997"/>
                <a:gd name="T44" fmla="*/ 599 w 1110"/>
                <a:gd name="T45" fmla="*/ 172 h 997"/>
                <a:gd name="T46" fmla="*/ 647 w 1110"/>
                <a:gd name="T47" fmla="*/ 205 h 997"/>
                <a:gd name="T48" fmla="*/ 690 w 1110"/>
                <a:gd name="T49" fmla="*/ 195 h 997"/>
                <a:gd name="T50" fmla="*/ 722 w 1110"/>
                <a:gd name="T51" fmla="*/ 157 h 997"/>
                <a:gd name="T52" fmla="*/ 718 w 1110"/>
                <a:gd name="T53" fmla="*/ 123 h 997"/>
                <a:gd name="T54" fmla="*/ 712 w 1110"/>
                <a:gd name="T55" fmla="*/ 75 h 997"/>
                <a:gd name="T56" fmla="*/ 770 w 1110"/>
                <a:gd name="T57" fmla="*/ 26 h 997"/>
                <a:gd name="T58" fmla="*/ 811 w 1110"/>
                <a:gd name="T59" fmla="*/ 14 h 997"/>
                <a:gd name="T60" fmla="*/ 889 w 1110"/>
                <a:gd name="T61" fmla="*/ 24 h 997"/>
                <a:gd name="T62" fmla="*/ 916 w 1110"/>
                <a:gd name="T63" fmla="*/ 35 h 997"/>
                <a:gd name="T64" fmla="*/ 918 w 1110"/>
                <a:gd name="T65" fmla="*/ 55 h 997"/>
                <a:gd name="T66" fmla="*/ 966 w 1110"/>
                <a:gd name="T67" fmla="*/ 66 h 997"/>
                <a:gd name="T68" fmla="*/ 1034 w 1110"/>
                <a:gd name="T69" fmla="*/ 77 h 997"/>
                <a:gd name="T70" fmla="*/ 1060 w 1110"/>
                <a:gd name="T71" fmla="*/ 100 h 997"/>
                <a:gd name="T72" fmla="*/ 1062 w 1110"/>
                <a:gd name="T73" fmla="*/ 105 h 997"/>
                <a:gd name="T74" fmla="*/ 1062 w 1110"/>
                <a:gd name="T75" fmla="*/ 157 h 997"/>
                <a:gd name="T76" fmla="*/ 1057 w 1110"/>
                <a:gd name="T77" fmla="*/ 237 h 997"/>
                <a:gd name="T78" fmla="*/ 1098 w 1110"/>
                <a:gd name="T79" fmla="*/ 708 h 997"/>
                <a:gd name="T80" fmla="*/ 1103 w 1110"/>
                <a:gd name="T81" fmla="*/ 810 h 997"/>
                <a:gd name="T82" fmla="*/ 1039 w 1110"/>
                <a:gd name="T83" fmla="*/ 960 h 997"/>
                <a:gd name="T84" fmla="*/ 1040 w 1110"/>
                <a:gd name="T85" fmla="*/ 997 h 997"/>
                <a:gd name="T86" fmla="*/ 390 w 1110"/>
                <a:gd name="T87" fmla="*/ 742 h 9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10" h="997">
                  <a:moveTo>
                    <a:pt x="390" y="742"/>
                  </a:moveTo>
                  <a:cubicBezTo>
                    <a:pt x="376" y="749"/>
                    <a:pt x="362" y="756"/>
                    <a:pt x="348" y="764"/>
                  </a:cubicBezTo>
                  <a:cubicBezTo>
                    <a:pt x="338" y="774"/>
                    <a:pt x="330" y="766"/>
                    <a:pt x="322" y="758"/>
                  </a:cubicBezTo>
                  <a:cubicBezTo>
                    <a:pt x="309" y="748"/>
                    <a:pt x="299" y="735"/>
                    <a:pt x="284" y="728"/>
                  </a:cubicBezTo>
                  <a:cubicBezTo>
                    <a:pt x="249" y="718"/>
                    <a:pt x="213" y="711"/>
                    <a:pt x="177" y="702"/>
                  </a:cubicBezTo>
                  <a:cubicBezTo>
                    <a:pt x="177" y="702"/>
                    <a:pt x="177" y="702"/>
                    <a:pt x="177" y="702"/>
                  </a:cubicBezTo>
                  <a:cubicBezTo>
                    <a:pt x="167" y="683"/>
                    <a:pt x="158" y="664"/>
                    <a:pt x="148" y="644"/>
                  </a:cubicBezTo>
                  <a:cubicBezTo>
                    <a:pt x="136" y="640"/>
                    <a:pt x="124" y="637"/>
                    <a:pt x="113" y="633"/>
                  </a:cubicBezTo>
                  <a:cubicBezTo>
                    <a:pt x="100" y="630"/>
                    <a:pt x="87" y="620"/>
                    <a:pt x="75" y="630"/>
                  </a:cubicBezTo>
                  <a:cubicBezTo>
                    <a:pt x="59" y="634"/>
                    <a:pt x="59" y="614"/>
                    <a:pt x="49" y="607"/>
                  </a:cubicBezTo>
                  <a:cubicBezTo>
                    <a:pt x="37" y="599"/>
                    <a:pt x="46" y="580"/>
                    <a:pt x="43" y="567"/>
                  </a:cubicBezTo>
                  <a:cubicBezTo>
                    <a:pt x="29" y="547"/>
                    <a:pt x="15" y="527"/>
                    <a:pt x="1" y="507"/>
                  </a:cubicBezTo>
                  <a:cubicBezTo>
                    <a:pt x="2" y="493"/>
                    <a:pt x="16" y="487"/>
                    <a:pt x="28" y="483"/>
                  </a:cubicBezTo>
                  <a:cubicBezTo>
                    <a:pt x="43" y="475"/>
                    <a:pt x="38" y="454"/>
                    <a:pt x="32" y="442"/>
                  </a:cubicBezTo>
                  <a:cubicBezTo>
                    <a:pt x="25" y="428"/>
                    <a:pt x="28" y="414"/>
                    <a:pt x="34" y="401"/>
                  </a:cubicBezTo>
                  <a:cubicBezTo>
                    <a:pt x="46" y="391"/>
                    <a:pt x="43" y="375"/>
                    <a:pt x="37" y="363"/>
                  </a:cubicBezTo>
                  <a:cubicBezTo>
                    <a:pt x="31" y="353"/>
                    <a:pt x="34" y="341"/>
                    <a:pt x="37" y="331"/>
                  </a:cubicBezTo>
                  <a:cubicBezTo>
                    <a:pt x="46" y="294"/>
                    <a:pt x="35" y="253"/>
                    <a:pt x="12" y="223"/>
                  </a:cubicBezTo>
                  <a:cubicBezTo>
                    <a:pt x="0" y="215"/>
                    <a:pt x="14" y="210"/>
                    <a:pt x="21" y="207"/>
                  </a:cubicBezTo>
                  <a:cubicBezTo>
                    <a:pt x="22" y="204"/>
                    <a:pt x="22" y="204"/>
                    <a:pt x="22" y="204"/>
                  </a:cubicBezTo>
                  <a:cubicBezTo>
                    <a:pt x="27" y="207"/>
                    <a:pt x="38" y="198"/>
                    <a:pt x="44" y="198"/>
                  </a:cubicBezTo>
                  <a:cubicBezTo>
                    <a:pt x="55" y="186"/>
                    <a:pt x="68" y="174"/>
                    <a:pt x="73" y="158"/>
                  </a:cubicBezTo>
                  <a:cubicBezTo>
                    <a:pt x="76" y="142"/>
                    <a:pt x="55" y="122"/>
                    <a:pt x="71" y="109"/>
                  </a:cubicBezTo>
                  <a:cubicBezTo>
                    <a:pt x="74" y="95"/>
                    <a:pt x="88" y="103"/>
                    <a:pt x="95" y="93"/>
                  </a:cubicBezTo>
                  <a:cubicBezTo>
                    <a:pt x="96" y="80"/>
                    <a:pt x="111" y="82"/>
                    <a:pt x="116" y="71"/>
                  </a:cubicBezTo>
                  <a:cubicBezTo>
                    <a:pt x="126" y="63"/>
                    <a:pt x="142" y="59"/>
                    <a:pt x="154" y="53"/>
                  </a:cubicBezTo>
                  <a:cubicBezTo>
                    <a:pt x="167" y="49"/>
                    <a:pt x="161" y="39"/>
                    <a:pt x="157" y="32"/>
                  </a:cubicBezTo>
                  <a:cubicBezTo>
                    <a:pt x="157" y="19"/>
                    <a:pt x="157" y="12"/>
                    <a:pt x="160" y="0"/>
                  </a:cubicBezTo>
                  <a:cubicBezTo>
                    <a:pt x="161" y="0"/>
                    <a:pt x="162" y="0"/>
                    <a:pt x="163" y="1"/>
                  </a:cubicBezTo>
                  <a:cubicBezTo>
                    <a:pt x="175" y="8"/>
                    <a:pt x="188" y="12"/>
                    <a:pt x="201" y="18"/>
                  </a:cubicBezTo>
                  <a:cubicBezTo>
                    <a:pt x="208" y="22"/>
                    <a:pt x="217" y="21"/>
                    <a:pt x="226" y="22"/>
                  </a:cubicBezTo>
                  <a:cubicBezTo>
                    <a:pt x="234" y="24"/>
                    <a:pt x="242" y="20"/>
                    <a:pt x="249" y="18"/>
                  </a:cubicBezTo>
                  <a:cubicBezTo>
                    <a:pt x="256" y="16"/>
                    <a:pt x="263" y="17"/>
                    <a:pt x="270" y="17"/>
                  </a:cubicBezTo>
                  <a:cubicBezTo>
                    <a:pt x="280" y="17"/>
                    <a:pt x="286" y="25"/>
                    <a:pt x="296" y="24"/>
                  </a:cubicBezTo>
                  <a:cubicBezTo>
                    <a:pt x="306" y="24"/>
                    <a:pt x="316" y="28"/>
                    <a:pt x="326" y="31"/>
                  </a:cubicBezTo>
                  <a:cubicBezTo>
                    <a:pt x="334" y="36"/>
                    <a:pt x="344" y="40"/>
                    <a:pt x="353" y="44"/>
                  </a:cubicBezTo>
                  <a:cubicBezTo>
                    <a:pt x="364" y="50"/>
                    <a:pt x="376" y="49"/>
                    <a:pt x="386" y="55"/>
                  </a:cubicBezTo>
                  <a:cubicBezTo>
                    <a:pt x="392" y="56"/>
                    <a:pt x="397" y="59"/>
                    <a:pt x="401" y="64"/>
                  </a:cubicBezTo>
                  <a:cubicBezTo>
                    <a:pt x="403" y="71"/>
                    <a:pt x="406" y="79"/>
                    <a:pt x="406" y="87"/>
                  </a:cubicBezTo>
                  <a:cubicBezTo>
                    <a:pt x="405" y="92"/>
                    <a:pt x="409" y="96"/>
                    <a:pt x="411" y="100"/>
                  </a:cubicBezTo>
                  <a:cubicBezTo>
                    <a:pt x="418" y="110"/>
                    <a:pt x="427" y="118"/>
                    <a:pt x="436" y="127"/>
                  </a:cubicBezTo>
                  <a:cubicBezTo>
                    <a:pt x="445" y="131"/>
                    <a:pt x="454" y="134"/>
                    <a:pt x="463" y="137"/>
                  </a:cubicBezTo>
                  <a:cubicBezTo>
                    <a:pt x="476" y="137"/>
                    <a:pt x="489" y="138"/>
                    <a:pt x="502" y="139"/>
                  </a:cubicBezTo>
                  <a:cubicBezTo>
                    <a:pt x="518" y="141"/>
                    <a:pt x="533" y="146"/>
                    <a:pt x="548" y="151"/>
                  </a:cubicBezTo>
                  <a:cubicBezTo>
                    <a:pt x="559" y="154"/>
                    <a:pt x="570" y="159"/>
                    <a:pt x="579" y="166"/>
                  </a:cubicBezTo>
                  <a:cubicBezTo>
                    <a:pt x="586" y="167"/>
                    <a:pt x="593" y="169"/>
                    <a:pt x="599" y="172"/>
                  </a:cubicBezTo>
                  <a:cubicBezTo>
                    <a:pt x="606" y="180"/>
                    <a:pt x="614" y="187"/>
                    <a:pt x="623" y="194"/>
                  </a:cubicBezTo>
                  <a:cubicBezTo>
                    <a:pt x="629" y="200"/>
                    <a:pt x="639" y="202"/>
                    <a:pt x="647" y="205"/>
                  </a:cubicBezTo>
                  <a:cubicBezTo>
                    <a:pt x="653" y="206"/>
                    <a:pt x="659" y="206"/>
                    <a:pt x="665" y="205"/>
                  </a:cubicBezTo>
                  <a:cubicBezTo>
                    <a:pt x="673" y="201"/>
                    <a:pt x="682" y="199"/>
                    <a:pt x="690" y="195"/>
                  </a:cubicBezTo>
                  <a:cubicBezTo>
                    <a:pt x="698" y="191"/>
                    <a:pt x="704" y="184"/>
                    <a:pt x="709" y="178"/>
                  </a:cubicBezTo>
                  <a:cubicBezTo>
                    <a:pt x="714" y="171"/>
                    <a:pt x="717" y="163"/>
                    <a:pt x="722" y="157"/>
                  </a:cubicBezTo>
                  <a:cubicBezTo>
                    <a:pt x="726" y="153"/>
                    <a:pt x="725" y="149"/>
                    <a:pt x="725" y="144"/>
                  </a:cubicBezTo>
                  <a:cubicBezTo>
                    <a:pt x="724" y="137"/>
                    <a:pt x="718" y="131"/>
                    <a:pt x="718" y="123"/>
                  </a:cubicBezTo>
                  <a:cubicBezTo>
                    <a:pt x="719" y="117"/>
                    <a:pt x="714" y="112"/>
                    <a:pt x="710" y="107"/>
                  </a:cubicBezTo>
                  <a:cubicBezTo>
                    <a:pt x="708" y="97"/>
                    <a:pt x="707" y="85"/>
                    <a:pt x="712" y="75"/>
                  </a:cubicBezTo>
                  <a:cubicBezTo>
                    <a:pt x="720" y="66"/>
                    <a:pt x="729" y="56"/>
                    <a:pt x="739" y="48"/>
                  </a:cubicBezTo>
                  <a:cubicBezTo>
                    <a:pt x="749" y="40"/>
                    <a:pt x="758" y="31"/>
                    <a:pt x="770" y="26"/>
                  </a:cubicBezTo>
                  <a:cubicBezTo>
                    <a:pt x="775" y="23"/>
                    <a:pt x="781" y="21"/>
                    <a:pt x="787" y="21"/>
                  </a:cubicBezTo>
                  <a:cubicBezTo>
                    <a:pt x="795" y="20"/>
                    <a:pt x="803" y="17"/>
                    <a:pt x="811" y="14"/>
                  </a:cubicBezTo>
                  <a:cubicBezTo>
                    <a:pt x="823" y="12"/>
                    <a:pt x="837" y="12"/>
                    <a:pt x="849" y="12"/>
                  </a:cubicBezTo>
                  <a:cubicBezTo>
                    <a:pt x="863" y="16"/>
                    <a:pt x="876" y="19"/>
                    <a:pt x="889" y="24"/>
                  </a:cubicBezTo>
                  <a:cubicBezTo>
                    <a:pt x="894" y="28"/>
                    <a:pt x="900" y="25"/>
                    <a:pt x="906" y="28"/>
                  </a:cubicBezTo>
                  <a:cubicBezTo>
                    <a:pt x="909" y="30"/>
                    <a:pt x="916" y="30"/>
                    <a:pt x="916" y="35"/>
                  </a:cubicBezTo>
                  <a:cubicBezTo>
                    <a:pt x="916" y="38"/>
                    <a:pt x="919" y="47"/>
                    <a:pt x="913" y="45"/>
                  </a:cubicBezTo>
                  <a:cubicBezTo>
                    <a:pt x="913" y="47"/>
                    <a:pt x="914" y="54"/>
                    <a:pt x="918" y="55"/>
                  </a:cubicBezTo>
                  <a:cubicBezTo>
                    <a:pt x="924" y="59"/>
                    <a:pt x="931" y="65"/>
                    <a:pt x="939" y="62"/>
                  </a:cubicBezTo>
                  <a:cubicBezTo>
                    <a:pt x="948" y="63"/>
                    <a:pt x="957" y="64"/>
                    <a:pt x="966" y="66"/>
                  </a:cubicBezTo>
                  <a:cubicBezTo>
                    <a:pt x="977" y="68"/>
                    <a:pt x="987" y="76"/>
                    <a:pt x="1000" y="76"/>
                  </a:cubicBezTo>
                  <a:cubicBezTo>
                    <a:pt x="1011" y="78"/>
                    <a:pt x="1023" y="76"/>
                    <a:pt x="1034" y="77"/>
                  </a:cubicBezTo>
                  <a:cubicBezTo>
                    <a:pt x="1041" y="77"/>
                    <a:pt x="1046" y="80"/>
                    <a:pt x="1052" y="83"/>
                  </a:cubicBezTo>
                  <a:cubicBezTo>
                    <a:pt x="1055" y="88"/>
                    <a:pt x="1056" y="95"/>
                    <a:pt x="1060" y="100"/>
                  </a:cubicBezTo>
                  <a:cubicBezTo>
                    <a:pt x="1061" y="102"/>
                    <a:pt x="1062" y="103"/>
                    <a:pt x="1063" y="104"/>
                  </a:cubicBezTo>
                  <a:cubicBezTo>
                    <a:pt x="1062" y="105"/>
                    <a:pt x="1062" y="105"/>
                    <a:pt x="1062" y="105"/>
                  </a:cubicBezTo>
                  <a:cubicBezTo>
                    <a:pt x="1057" y="112"/>
                    <a:pt x="1056" y="113"/>
                    <a:pt x="1051" y="120"/>
                  </a:cubicBezTo>
                  <a:cubicBezTo>
                    <a:pt x="1051" y="133"/>
                    <a:pt x="1055" y="145"/>
                    <a:pt x="1062" y="157"/>
                  </a:cubicBezTo>
                  <a:cubicBezTo>
                    <a:pt x="1064" y="169"/>
                    <a:pt x="1060" y="183"/>
                    <a:pt x="1052" y="194"/>
                  </a:cubicBezTo>
                  <a:cubicBezTo>
                    <a:pt x="1039" y="208"/>
                    <a:pt x="1058" y="222"/>
                    <a:pt x="1057" y="237"/>
                  </a:cubicBezTo>
                  <a:cubicBezTo>
                    <a:pt x="1061" y="251"/>
                    <a:pt x="1065" y="264"/>
                    <a:pt x="1071" y="277"/>
                  </a:cubicBezTo>
                  <a:cubicBezTo>
                    <a:pt x="1081" y="421"/>
                    <a:pt x="1090" y="564"/>
                    <a:pt x="1098" y="708"/>
                  </a:cubicBezTo>
                  <a:cubicBezTo>
                    <a:pt x="1098" y="708"/>
                    <a:pt x="1098" y="708"/>
                    <a:pt x="1098" y="708"/>
                  </a:cubicBezTo>
                  <a:cubicBezTo>
                    <a:pt x="1100" y="742"/>
                    <a:pt x="1101" y="776"/>
                    <a:pt x="1103" y="810"/>
                  </a:cubicBezTo>
                  <a:cubicBezTo>
                    <a:pt x="1106" y="859"/>
                    <a:pt x="1108" y="909"/>
                    <a:pt x="1110" y="959"/>
                  </a:cubicBezTo>
                  <a:cubicBezTo>
                    <a:pt x="1087" y="959"/>
                    <a:pt x="1062" y="959"/>
                    <a:pt x="1039" y="960"/>
                  </a:cubicBezTo>
                  <a:cubicBezTo>
                    <a:pt x="1039" y="969"/>
                    <a:pt x="1040" y="992"/>
                    <a:pt x="1040" y="997"/>
                  </a:cubicBezTo>
                  <a:cubicBezTo>
                    <a:pt x="1040" y="997"/>
                    <a:pt x="1040" y="997"/>
                    <a:pt x="1040" y="997"/>
                  </a:cubicBezTo>
                  <a:cubicBezTo>
                    <a:pt x="849" y="897"/>
                    <a:pt x="656" y="801"/>
                    <a:pt x="461" y="708"/>
                  </a:cubicBezTo>
                  <a:cubicBezTo>
                    <a:pt x="437" y="719"/>
                    <a:pt x="414" y="730"/>
                    <a:pt x="390" y="742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01" name="Liberia"/>
            <p:cNvSpPr>
              <a:spLocks/>
            </p:cNvSpPr>
            <p:nvPr/>
          </p:nvSpPr>
          <p:spPr bwMode="auto">
            <a:xfrm>
              <a:off x="3910034" y="4268481"/>
              <a:ext cx="110415" cy="146039"/>
            </a:xfrm>
            <a:custGeom>
              <a:avLst/>
              <a:gdLst>
                <a:gd name="T0" fmla="*/ 227 w 304"/>
                <a:gd name="T1" fmla="*/ 172 h 338"/>
                <a:gd name="T2" fmla="*/ 259 w 304"/>
                <a:gd name="T3" fmla="*/ 180 h 338"/>
                <a:gd name="T4" fmla="*/ 269 w 304"/>
                <a:gd name="T5" fmla="*/ 198 h 338"/>
                <a:gd name="T6" fmla="*/ 268 w 304"/>
                <a:gd name="T7" fmla="*/ 197 h 338"/>
                <a:gd name="T8" fmla="*/ 269 w 304"/>
                <a:gd name="T9" fmla="*/ 198 h 338"/>
                <a:gd name="T10" fmla="*/ 283 w 304"/>
                <a:gd name="T11" fmla="*/ 209 h 338"/>
                <a:gd name="T12" fmla="*/ 297 w 304"/>
                <a:gd name="T13" fmla="*/ 225 h 338"/>
                <a:gd name="T14" fmla="*/ 300 w 304"/>
                <a:gd name="T15" fmla="*/ 255 h 338"/>
                <a:gd name="T16" fmla="*/ 293 w 304"/>
                <a:gd name="T17" fmla="*/ 266 h 338"/>
                <a:gd name="T18" fmla="*/ 287 w 304"/>
                <a:gd name="T19" fmla="*/ 284 h 338"/>
                <a:gd name="T20" fmla="*/ 285 w 304"/>
                <a:gd name="T21" fmla="*/ 331 h 338"/>
                <a:gd name="T22" fmla="*/ 288 w 304"/>
                <a:gd name="T23" fmla="*/ 332 h 338"/>
                <a:gd name="T24" fmla="*/ 289 w 304"/>
                <a:gd name="T25" fmla="*/ 337 h 338"/>
                <a:gd name="T26" fmla="*/ 289 w 304"/>
                <a:gd name="T27" fmla="*/ 337 h 338"/>
                <a:gd name="T28" fmla="*/ 286 w 304"/>
                <a:gd name="T29" fmla="*/ 338 h 338"/>
                <a:gd name="T30" fmla="*/ 217 w 304"/>
                <a:gd name="T31" fmla="*/ 311 h 338"/>
                <a:gd name="T32" fmla="*/ 183 w 304"/>
                <a:gd name="T33" fmla="*/ 288 h 338"/>
                <a:gd name="T34" fmla="*/ 156 w 304"/>
                <a:gd name="T35" fmla="*/ 263 h 338"/>
                <a:gd name="T36" fmla="*/ 101 w 304"/>
                <a:gd name="T37" fmla="*/ 208 h 338"/>
                <a:gd name="T38" fmla="*/ 75 w 304"/>
                <a:gd name="T39" fmla="*/ 193 h 338"/>
                <a:gd name="T40" fmla="*/ 56 w 304"/>
                <a:gd name="T41" fmla="*/ 176 h 338"/>
                <a:gd name="T42" fmla="*/ 40 w 304"/>
                <a:gd name="T43" fmla="*/ 169 h 338"/>
                <a:gd name="T44" fmla="*/ 29 w 304"/>
                <a:gd name="T45" fmla="*/ 162 h 338"/>
                <a:gd name="T46" fmla="*/ 22 w 304"/>
                <a:gd name="T47" fmla="*/ 154 h 338"/>
                <a:gd name="T48" fmla="*/ 21 w 304"/>
                <a:gd name="T49" fmla="*/ 146 h 338"/>
                <a:gd name="T50" fmla="*/ 0 w 304"/>
                <a:gd name="T51" fmla="*/ 129 h 338"/>
                <a:gd name="T52" fmla="*/ 0 w 304"/>
                <a:gd name="T53" fmla="*/ 128 h 338"/>
                <a:gd name="T54" fmla="*/ 27 w 304"/>
                <a:gd name="T55" fmla="*/ 99 h 338"/>
                <a:gd name="T56" fmla="*/ 58 w 304"/>
                <a:gd name="T57" fmla="*/ 71 h 338"/>
                <a:gd name="T58" fmla="*/ 70 w 304"/>
                <a:gd name="T59" fmla="*/ 46 h 338"/>
                <a:gd name="T60" fmla="*/ 93 w 304"/>
                <a:gd name="T61" fmla="*/ 21 h 338"/>
                <a:gd name="T62" fmla="*/ 97 w 304"/>
                <a:gd name="T63" fmla="*/ 8 h 338"/>
                <a:gd name="T64" fmla="*/ 96 w 304"/>
                <a:gd name="T65" fmla="*/ 7 h 338"/>
                <a:gd name="T66" fmla="*/ 109 w 304"/>
                <a:gd name="T67" fmla="*/ 5 h 338"/>
                <a:gd name="T68" fmla="*/ 129 w 304"/>
                <a:gd name="T69" fmla="*/ 7 h 338"/>
                <a:gd name="T70" fmla="*/ 137 w 304"/>
                <a:gd name="T71" fmla="*/ 12 h 338"/>
                <a:gd name="T72" fmla="*/ 141 w 304"/>
                <a:gd name="T73" fmla="*/ 15 h 338"/>
                <a:gd name="T74" fmla="*/ 151 w 304"/>
                <a:gd name="T75" fmla="*/ 28 h 338"/>
                <a:gd name="T76" fmla="*/ 154 w 304"/>
                <a:gd name="T77" fmla="*/ 37 h 338"/>
                <a:gd name="T78" fmla="*/ 156 w 304"/>
                <a:gd name="T79" fmla="*/ 49 h 338"/>
                <a:gd name="T80" fmla="*/ 153 w 304"/>
                <a:gd name="T81" fmla="*/ 89 h 338"/>
                <a:gd name="T82" fmla="*/ 165 w 304"/>
                <a:gd name="T83" fmla="*/ 94 h 338"/>
                <a:gd name="T84" fmla="*/ 187 w 304"/>
                <a:gd name="T85" fmla="*/ 103 h 338"/>
                <a:gd name="T86" fmla="*/ 199 w 304"/>
                <a:gd name="T87" fmla="*/ 94 h 338"/>
                <a:gd name="T88" fmla="*/ 217 w 304"/>
                <a:gd name="T89" fmla="*/ 70 h 338"/>
                <a:gd name="T90" fmla="*/ 225 w 304"/>
                <a:gd name="T91" fmla="*/ 79 h 338"/>
                <a:gd name="T92" fmla="*/ 225 w 304"/>
                <a:gd name="T93" fmla="*/ 81 h 338"/>
                <a:gd name="T94" fmla="*/ 237 w 304"/>
                <a:gd name="T95" fmla="*/ 115 h 338"/>
                <a:gd name="T96" fmla="*/ 225 w 304"/>
                <a:gd name="T97" fmla="*/ 150 h 338"/>
                <a:gd name="T98" fmla="*/ 221 w 304"/>
                <a:gd name="T99" fmla="*/ 167 h 338"/>
                <a:gd name="T100" fmla="*/ 227 w 304"/>
                <a:gd name="T101" fmla="*/ 172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4" h="338">
                  <a:moveTo>
                    <a:pt x="227" y="172"/>
                  </a:moveTo>
                  <a:cubicBezTo>
                    <a:pt x="235" y="178"/>
                    <a:pt x="247" y="181"/>
                    <a:pt x="259" y="180"/>
                  </a:cubicBezTo>
                  <a:cubicBezTo>
                    <a:pt x="268" y="180"/>
                    <a:pt x="270" y="196"/>
                    <a:pt x="269" y="198"/>
                  </a:cubicBezTo>
                  <a:cubicBezTo>
                    <a:pt x="269" y="197"/>
                    <a:pt x="269" y="197"/>
                    <a:pt x="268" y="197"/>
                  </a:cubicBezTo>
                  <a:cubicBezTo>
                    <a:pt x="269" y="198"/>
                    <a:pt x="269" y="198"/>
                    <a:pt x="269" y="198"/>
                  </a:cubicBezTo>
                  <a:cubicBezTo>
                    <a:pt x="272" y="202"/>
                    <a:pt x="275" y="211"/>
                    <a:pt x="283" y="209"/>
                  </a:cubicBezTo>
                  <a:cubicBezTo>
                    <a:pt x="290" y="216"/>
                    <a:pt x="302" y="212"/>
                    <a:pt x="297" y="225"/>
                  </a:cubicBezTo>
                  <a:cubicBezTo>
                    <a:pt x="304" y="235"/>
                    <a:pt x="292" y="247"/>
                    <a:pt x="300" y="255"/>
                  </a:cubicBezTo>
                  <a:cubicBezTo>
                    <a:pt x="297" y="259"/>
                    <a:pt x="291" y="257"/>
                    <a:pt x="293" y="266"/>
                  </a:cubicBezTo>
                  <a:cubicBezTo>
                    <a:pt x="290" y="273"/>
                    <a:pt x="283" y="275"/>
                    <a:pt x="287" y="284"/>
                  </a:cubicBezTo>
                  <a:cubicBezTo>
                    <a:pt x="281" y="296"/>
                    <a:pt x="287" y="316"/>
                    <a:pt x="285" y="331"/>
                  </a:cubicBezTo>
                  <a:cubicBezTo>
                    <a:pt x="288" y="332"/>
                    <a:pt x="288" y="332"/>
                    <a:pt x="288" y="332"/>
                  </a:cubicBezTo>
                  <a:cubicBezTo>
                    <a:pt x="289" y="337"/>
                    <a:pt x="289" y="337"/>
                    <a:pt x="289" y="337"/>
                  </a:cubicBezTo>
                  <a:cubicBezTo>
                    <a:pt x="289" y="337"/>
                    <a:pt x="289" y="337"/>
                    <a:pt x="289" y="337"/>
                  </a:cubicBezTo>
                  <a:cubicBezTo>
                    <a:pt x="288" y="337"/>
                    <a:pt x="287" y="338"/>
                    <a:pt x="286" y="338"/>
                  </a:cubicBezTo>
                  <a:cubicBezTo>
                    <a:pt x="264" y="328"/>
                    <a:pt x="240" y="319"/>
                    <a:pt x="217" y="311"/>
                  </a:cubicBezTo>
                  <a:cubicBezTo>
                    <a:pt x="205" y="304"/>
                    <a:pt x="194" y="296"/>
                    <a:pt x="183" y="288"/>
                  </a:cubicBezTo>
                  <a:cubicBezTo>
                    <a:pt x="173" y="281"/>
                    <a:pt x="164" y="272"/>
                    <a:pt x="156" y="263"/>
                  </a:cubicBezTo>
                  <a:cubicBezTo>
                    <a:pt x="137" y="245"/>
                    <a:pt x="122" y="224"/>
                    <a:pt x="101" y="208"/>
                  </a:cubicBezTo>
                  <a:cubicBezTo>
                    <a:pt x="93" y="201"/>
                    <a:pt x="84" y="198"/>
                    <a:pt x="75" y="193"/>
                  </a:cubicBezTo>
                  <a:cubicBezTo>
                    <a:pt x="67" y="190"/>
                    <a:pt x="63" y="181"/>
                    <a:pt x="56" y="176"/>
                  </a:cubicBezTo>
                  <a:cubicBezTo>
                    <a:pt x="51" y="172"/>
                    <a:pt x="46" y="170"/>
                    <a:pt x="40" y="169"/>
                  </a:cubicBezTo>
                  <a:cubicBezTo>
                    <a:pt x="35" y="169"/>
                    <a:pt x="32" y="165"/>
                    <a:pt x="29" y="162"/>
                  </a:cubicBezTo>
                  <a:cubicBezTo>
                    <a:pt x="25" y="162"/>
                    <a:pt x="21" y="157"/>
                    <a:pt x="22" y="154"/>
                  </a:cubicBezTo>
                  <a:cubicBezTo>
                    <a:pt x="28" y="153"/>
                    <a:pt x="26" y="147"/>
                    <a:pt x="21" y="146"/>
                  </a:cubicBezTo>
                  <a:cubicBezTo>
                    <a:pt x="13" y="141"/>
                    <a:pt x="8" y="133"/>
                    <a:pt x="0" y="129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3" y="123"/>
                    <a:pt x="11" y="102"/>
                    <a:pt x="27" y="99"/>
                  </a:cubicBezTo>
                  <a:cubicBezTo>
                    <a:pt x="33" y="85"/>
                    <a:pt x="51" y="84"/>
                    <a:pt x="58" y="71"/>
                  </a:cubicBezTo>
                  <a:cubicBezTo>
                    <a:pt x="65" y="64"/>
                    <a:pt x="73" y="58"/>
                    <a:pt x="70" y="46"/>
                  </a:cubicBezTo>
                  <a:cubicBezTo>
                    <a:pt x="72" y="30"/>
                    <a:pt x="97" y="40"/>
                    <a:pt x="93" y="21"/>
                  </a:cubicBezTo>
                  <a:cubicBezTo>
                    <a:pt x="93" y="16"/>
                    <a:pt x="97" y="13"/>
                    <a:pt x="97" y="8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101" y="6"/>
                    <a:pt x="105" y="6"/>
                    <a:pt x="109" y="5"/>
                  </a:cubicBezTo>
                  <a:cubicBezTo>
                    <a:pt x="112" y="17"/>
                    <a:pt x="120" y="7"/>
                    <a:pt x="129" y="7"/>
                  </a:cubicBezTo>
                  <a:cubicBezTo>
                    <a:pt x="134" y="0"/>
                    <a:pt x="135" y="6"/>
                    <a:pt x="137" y="12"/>
                  </a:cubicBezTo>
                  <a:cubicBezTo>
                    <a:pt x="142" y="8"/>
                    <a:pt x="143" y="10"/>
                    <a:pt x="141" y="15"/>
                  </a:cubicBezTo>
                  <a:cubicBezTo>
                    <a:pt x="149" y="13"/>
                    <a:pt x="155" y="20"/>
                    <a:pt x="151" y="28"/>
                  </a:cubicBezTo>
                  <a:cubicBezTo>
                    <a:pt x="154" y="30"/>
                    <a:pt x="154" y="29"/>
                    <a:pt x="154" y="37"/>
                  </a:cubicBezTo>
                  <a:cubicBezTo>
                    <a:pt x="152" y="46"/>
                    <a:pt x="160" y="40"/>
                    <a:pt x="156" y="49"/>
                  </a:cubicBezTo>
                  <a:cubicBezTo>
                    <a:pt x="158" y="62"/>
                    <a:pt x="164" y="77"/>
                    <a:pt x="153" y="89"/>
                  </a:cubicBezTo>
                  <a:cubicBezTo>
                    <a:pt x="146" y="99"/>
                    <a:pt x="160" y="87"/>
                    <a:pt x="165" y="94"/>
                  </a:cubicBezTo>
                  <a:cubicBezTo>
                    <a:pt x="174" y="95"/>
                    <a:pt x="176" y="116"/>
                    <a:pt x="187" y="103"/>
                  </a:cubicBezTo>
                  <a:cubicBezTo>
                    <a:pt x="195" y="106"/>
                    <a:pt x="197" y="100"/>
                    <a:pt x="199" y="94"/>
                  </a:cubicBezTo>
                  <a:cubicBezTo>
                    <a:pt x="210" y="89"/>
                    <a:pt x="203" y="69"/>
                    <a:pt x="217" y="70"/>
                  </a:cubicBezTo>
                  <a:cubicBezTo>
                    <a:pt x="218" y="77"/>
                    <a:pt x="221" y="79"/>
                    <a:pt x="225" y="79"/>
                  </a:cubicBezTo>
                  <a:cubicBezTo>
                    <a:pt x="225" y="81"/>
                    <a:pt x="225" y="81"/>
                    <a:pt x="225" y="81"/>
                  </a:cubicBezTo>
                  <a:cubicBezTo>
                    <a:pt x="231" y="91"/>
                    <a:pt x="230" y="104"/>
                    <a:pt x="237" y="115"/>
                  </a:cubicBezTo>
                  <a:cubicBezTo>
                    <a:pt x="235" y="127"/>
                    <a:pt x="237" y="142"/>
                    <a:pt x="225" y="150"/>
                  </a:cubicBezTo>
                  <a:cubicBezTo>
                    <a:pt x="220" y="156"/>
                    <a:pt x="206" y="163"/>
                    <a:pt x="221" y="167"/>
                  </a:cubicBezTo>
                  <a:cubicBezTo>
                    <a:pt x="227" y="165"/>
                    <a:pt x="227" y="164"/>
                    <a:pt x="227" y="172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02" name="Lesotho"/>
            <p:cNvSpPr>
              <a:spLocks/>
            </p:cNvSpPr>
            <p:nvPr/>
          </p:nvSpPr>
          <p:spPr bwMode="auto">
            <a:xfrm>
              <a:off x="4921345" y="5484361"/>
              <a:ext cx="65405" cy="66761"/>
            </a:xfrm>
            <a:custGeom>
              <a:avLst/>
              <a:gdLst>
                <a:gd name="T0" fmla="*/ 166 w 179"/>
                <a:gd name="T1" fmla="*/ 38 h 156"/>
                <a:gd name="T2" fmla="*/ 164 w 179"/>
                <a:gd name="T3" fmla="*/ 67 h 156"/>
                <a:gd name="T4" fmla="*/ 149 w 179"/>
                <a:gd name="T5" fmla="*/ 85 h 156"/>
                <a:gd name="T6" fmla="*/ 138 w 179"/>
                <a:gd name="T7" fmla="*/ 105 h 156"/>
                <a:gd name="T8" fmla="*/ 129 w 179"/>
                <a:gd name="T9" fmla="*/ 109 h 156"/>
                <a:gd name="T10" fmla="*/ 85 w 179"/>
                <a:gd name="T11" fmla="*/ 122 h 156"/>
                <a:gd name="T12" fmla="*/ 79 w 179"/>
                <a:gd name="T13" fmla="*/ 137 h 156"/>
                <a:gd name="T14" fmla="*/ 44 w 179"/>
                <a:gd name="T15" fmla="*/ 140 h 156"/>
                <a:gd name="T16" fmla="*/ 28 w 179"/>
                <a:gd name="T17" fmla="*/ 116 h 156"/>
                <a:gd name="T18" fmla="*/ 12 w 179"/>
                <a:gd name="T19" fmla="*/ 82 h 156"/>
                <a:gd name="T20" fmla="*/ 27 w 179"/>
                <a:gd name="T21" fmla="*/ 65 h 156"/>
                <a:gd name="T22" fmla="*/ 55 w 179"/>
                <a:gd name="T23" fmla="*/ 30 h 156"/>
                <a:gd name="T24" fmla="*/ 88 w 179"/>
                <a:gd name="T25" fmla="*/ 9 h 156"/>
                <a:gd name="T26" fmla="*/ 124 w 179"/>
                <a:gd name="T27" fmla="*/ 0 h 156"/>
                <a:gd name="T28" fmla="*/ 141 w 179"/>
                <a:gd name="T29" fmla="*/ 18 h 156"/>
                <a:gd name="T30" fmla="*/ 166 w 179"/>
                <a:gd name="T31" fmla="*/ 3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9" h="156">
                  <a:moveTo>
                    <a:pt x="166" y="38"/>
                  </a:moveTo>
                  <a:cubicBezTo>
                    <a:pt x="170" y="48"/>
                    <a:pt x="179" y="62"/>
                    <a:pt x="164" y="67"/>
                  </a:cubicBezTo>
                  <a:cubicBezTo>
                    <a:pt x="162" y="76"/>
                    <a:pt x="155" y="78"/>
                    <a:pt x="149" y="85"/>
                  </a:cubicBezTo>
                  <a:cubicBezTo>
                    <a:pt x="149" y="93"/>
                    <a:pt x="149" y="103"/>
                    <a:pt x="138" y="105"/>
                  </a:cubicBezTo>
                  <a:cubicBezTo>
                    <a:pt x="135" y="106"/>
                    <a:pt x="132" y="108"/>
                    <a:pt x="129" y="109"/>
                  </a:cubicBezTo>
                  <a:cubicBezTo>
                    <a:pt x="115" y="115"/>
                    <a:pt x="98" y="110"/>
                    <a:pt x="85" y="122"/>
                  </a:cubicBezTo>
                  <a:cubicBezTo>
                    <a:pt x="86" y="116"/>
                    <a:pt x="83" y="132"/>
                    <a:pt x="79" y="137"/>
                  </a:cubicBezTo>
                  <a:cubicBezTo>
                    <a:pt x="77" y="156"/>
                    <a:pt x="53" y="150"/>
                    <a:pt x="44" y="140"/>
                  </a:cubicBezTo>
                  <a:cubicBezTo>
                    <a:pt x="42" y="128"/>
                    <a:pt x="23" y="127"/>
                    <a:pt x="28" y="116"/>
                  </a:cubicBezTo>
                  <a:cubicBezTo>
                    <a:pt x="26" y="106"/>
                    <a:pt x="14" y="95"/>
                    <a:pt x="12" y="82"/>
                  </a:cubicBezTo>
                  <a:cubicBezTo>
                    <a:pt x="0" y="71"/>
                    <a:pt x="19" y="70"/>
                    <a:pt x="27" y="65"/>
                  </a:cubicBezTo>
                  <a:cubicBezTo>
                    <a:pt x="37" y="54"/>
                    <a:pt x="47" y="43"/>
                    <a:pt x="55" y="30"/>
                  </a:cubicBezTo>
                  <a:cubicBezTo>
                    <a:pt x="63" y="16"/>
                    <a:pt x="81" y="25"/>
                    <a:pt x="88" y="9"/>
                  </a:cubicBezTo>
                  <a:cubicBezTo>
                    <a:pt x="101" y="9"/>
                    <a:pt x="111" y="0"/>
                    <a:pt x="124" y="0"/>
                  </a:cubicBezTo>
                  <a:cubicBezTo>
                    <a:pt x="128" y="6"/>
                    <a:pt x="135" y="11"/>
                    <a:pt x="141" y="18"/>
                  </a:cubicBezTo>
                  <a:cubicBezTo>
                    <a:pt x="148" y="26"/>
                    <a:pt x="156" y="35"/>
                    <a:pt x="166" y="38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03" name="Lebanon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5126902" y="3446265"/>
              <a:ext cx="33285" cy="39014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6" y="0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0" y="5"/>
                </a:cxn>
                <a:cxn ang="0">
                  <a:pos x="2" y="0"/>
                </a:cxn>
              </a:cxnLst>
              <a:rect l="0" t="0" r="r" b="b"/>
              <a:pathLst>
                <a:path w="6" h="7">
                  <a:moveTo>
                    <a:pt x="2" y="0"/>
                  </a:moveTo>
                  <a:lnTo>
                    <a:pt x="6" y="0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5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04" name="Latvia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4755219" y="2704998"/>
              <a:ext cx="149783" cy="66881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2" y="3"/>
                </a:cxn>
                <a:cxn ang="0">
                  <a:pos x="8" y="5"/>
                </a:cxn>
                <a:cxn ang="0">
                  <a:pos x="10" y="5"/>
                </a:cxn>
                <a:cxn ang="0">
                  <a:pos x="10" y="0"/>
                </a:cxn>
                <a:cxn ang="0">
                  <a:pos x="12" y="0"/>
                </a:cxn>
                <a:cxn ang="0">
                  <a:pos x="21" y="3"/>
                </a:cxn>
                <a:cxn ang="0">
                  <a:pos x="27" y="9"/>
                </a:cxn>
                <a:cxn ang="0">
                  <a:pos x="21" y="12"/>
                </a:cxn>
                <a:cxn ang="0">
                  <a:pos x="12" y="9"/>
                </a:cxn>
                <a:cxn ang="0">
                  <a:pos x="2" y="9"/>
                </a:cxn>
                <a:cxn ang="0">
                  <a:pos x="0" y="12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0" y="5"/>
                  </a:lnTo>
                  <a:lnTo>
                    <a:pt x="0" y="3"/>
                  </a:lnTo>
                  <a:lnTo>
                    <a:pt x="2" y="3"/>
                  </a:lnTo>
                  <a:lnTo>
                    <a:pt x="8" y="5"/>
                  </a:lnTo>
                  <a:lnTo>
                    <a:pt x="10" y="5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21" y="3"/>
                  </a:lnTo>
                  <a:lnTo>
                    <a:pt x="27" y="9"/>
                  </a:lnTo>
                  <a:lnTo>
                    <a:pt x="21" y="12"/>
                  </a:lnTo>
                  <a:lnTo>
                    <a:pt x="12" y="9"/>
                  </a:lnTo>
                  <a:lnTo>
                    <a:pt x="2" y="9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05" name="Laos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6824437" y="3825259"/>
              <a:ext cx="221900" cy="273098"/>
            </a:xfrm>
            <a:custGeom>
              <a:avLst/>
              <a:gdLst/>
              <a:ahLst/>
              <a:cxnLst>
                <a:cxn ang="0">
                  <a:pos x="40" y="45"/>
                </a:cxn>
                <a:cxn ang="0">
                  <a:pos x="36" y="40"/>
                </a:cxn>
                <a:cxn ang="0">
                  <a:pos x="30" y="34"/>
                </a:cxn>
                <a:cxn ang="0">
                  <a:pos x="30" y="31"/>
                </a:cxn>
                <a:cxn ang="0">
                  <a:pos x="19" y="18"/>
                </a:cxn>
                <a:cxn ang="0">
                  <a:pos x="21" y="16"/>
                </a:cxn>
                <a:cxn ang="0">
                  <a:pos x="19" y="13"/>
                </a:cxn>
                <a:cxn ang="0">
                  <a:pos x="13" y="9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5" y="7"/>
                </a:cxn>
                <a:cxn ang="0">
                  <a:pos x="0" y="13"/>
                </a:cxn>
                <a:cxn ang="0">
                  <a:pos x="2" y="16"/>
                </a:cxn>
                <a:cxn ang="0">
                  <a:pos x="5" y="18"/>
                </a:cxn>
                <a:cxn ang="0">
                  <a:pos x="5" y="27"/>
                </a:cxn>
                <a:cxn ang="0">
                  <a:pos x="11" y="25"/>
                </a:cxn>
                <a:cxn ang="0">
                  <a:pos x="13" y="27"/>
                </a:cxn>
                <a:cxn ang="0">
                  <a:pos x="17" y="25"/>
                </a:cxn>
                <a:cxn ang="0">
                  <a:pos x="21" y="31"/>
                </a:cxn>
                <a:cxn ang="0">
                  <a:pos x="25" y="36"/>
                </a:cxn>
                <a:cxn ang="0">
                  <a:pos x="28" y="43"/>
                </a:cxn>
                <a:cxn ang="0">
                  <a:pos x="28" y="49"/>
                </a:cxn>
                <a:cxn ang="0">
                  <a:pos x="30" y="49"/>
                </a:cxn>
                <a:cxn ang="0">
                  <a:pos x="34" y="49"/>
                </a:cxn>
                <a:cxn ang="0">
                  <a:pos x="36" y="47"/>
                </a:cxn>
                <a:cxn ang="0">
                  <a:pos x="40" y="45"/>
                </a:cxn>
              </a:cxnLst>
              <a:rect l="0" t="0" r="r" b="b"/>
              <a:pathLst>
                <a:path w="40" h="49">
                  <a:moveTo>
                    <a:pt x="40" y="45"/>
                  </a:moveTo>
                  <a:lnTo>
                    <a:pt x="36" y="40"/>
                  </a:lnTo>
                  <a:lnTo>
                    <a:pt x="30" y="34"/>
                  </a:lnTo>
                  <a:lnTo>
                    <a:pt x="30" y="31"/>
                  </a:lnTo>
                  <a:lnTo>
                    <a:pt x="19" y="18"/>
                  </a:lnTo>
                  <a:lnTo>
                    <a:pt x="21" y="16"/>
                  </a:lnTo>
                  <a:lnTo>
                    <a:pt x="19" y="13"/>
                  </a:lnTo>
                  <a:lnTo>
                    <a:pt x="13" y="9"/>
                  </a:lnTo>
                  <a:lnTo>
                    <a:pt x="9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0" y="13"/>
                  </a:lnTo>
                  <a:lnTo>
                    <a:pt x="2" y="16"/>
                  </a:lnTo>
                  <a:lnTo>
                    <a:pt x="5" y="18"/>
                  </a:lnTo>
                  <a:lnTo>
                    <a:pt x="5" y="27"/>
                  </a:lnTo>
                  <a:lnTo>
                    <a:pt x="11" y="25"/>
                  </a:lnTo>
                  <a:lnTo>
                    <a:pt x="13" y="27"/>
                  </a:lnTo>
                  <a:lnTo>
                    <a:pt x="17" y="25"/>
                  </a:lnTo>
                  <a:lnTo>
                    <a:pt x="21" y="31"/>
                  </a:lnTo>
                  <a:lnTo>
                    <a:pt x="25" y="36"/>
                  </a:lnTo>
                  <a:lnTo>
                    <a:pt x="28" y="43"/>
                  </a:lnTo>
                  <a:lnTo>
                    <a:pt x="28" y="49"/>
                  </a:lnTo>
                  <a:lnTo>
                    <a:pt x="30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40" y="4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06" name="Kyrgyzstan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5947932" y="3156447"/>
              <a:ext cx="232995" cy="139336"/>
            </a:xfrm>
            <a:custGeom>
              <a:avLst/>
              <a:gdLst/>
              <a:ahLst/>
              <a:cxnLst>
                <a:cxn ang="0">
                  <a:pos x="2" y="18"/>
                </a:cxn>
                <a:cxn ang="0">
                  <a:pos x="0" y="18"/>
                </a:cxn>
                <a:cxn ang="0">
                  <a:pos x="0" y="23"/>
                </a:cxn>
                <a:cxn ang="0">
                  <a:pos x="8" y="23"/>
                </a:cxn>
                <a:cxn ang="0">
                  <a:pos x="10" y="25"/>
                </a:cxn>
                <a:cxn ang="0">
                  <a:pos x="19" y="23"/>
                </a:cxn>
                <a:cxn ang="0">
                  <a:pos x="19" y="18"/>
                </a:cxn>
                <a:cxn ang="0">
                  <a:pos x="21" y="16"/>
                </a:cxn>
                <a:cxn ang="0">
                  <a:pos x="31" y="16"/>
                </a:cxn>
                <a:cxn ang="0">
                  <a:pos x="31" y="14"/>
                </a:cxn>
                <a:cxn ang="0">
                  <a:pos x="35" y="14"/>
                </a:cxn>
                <a:cxn ang="0">
                  <a:pos x="42" y="9"/>
                </a:cxn>
                <a:cxn ang="0">
                  <a:pos x="42" y="7"/>
                </a:cxn>
                <a:cxn ang="0">
                  <a:pos x="35" y="5"/>
                </a:cxn>
                <a:cxn ang="0">
                  <a:pos x="19" y="5"/>
                </a:cxn>
                <a:cxn ang="0">
                  <a:pos x="12" y="0"/>
                </a:cxn>
                <a:cxn ang="0">
                  <a:pos x="12" y="5"/>
                </a:cxn>
                <a:cxn ang="0">
                  <a:pos x="10" y="7"/>
                </a:cxn>
                <a:cxn ang="0">
                  <a:pos x="4" y="5"/>
                </a:cxn>
                <a:cxn ang="0">
                  <a:pos x="2" y="5"/>
                </a:cxn>
                <a:cxn ang="0">
                  <a:pos x="2" y="7"/>
                </a:cxn>
                <a:cxn ang="0">
                  <a:pos x="0" y="9"/>
                </a:cxn>
                <a:cxn ang="0">
                  <a:pos x="4" y="14"/>
                </a:cxn>
                <a:cxn ang="0">
                  <a:pos x="4" y="9"/>
                </a:cxn>
                <a:cxn ang="0">
                  <a:pos x="12" y="16"/>
                </a:cxn>
                <a:cxn ang="0">
                  <a:pos x="8" y="18"/>
                </a:cxn>
                <a:cxn ang="0">
                  <a:pos x="4" y="18"/>
                </a:cxn>
                <a:cxn ang="0">
                  <a:pos x="2" y="18"/>
                </a:cxn>
              </a:cxnLst>
              <a:rect l="0" t="0" r="r" b="b"/>
              <a:pathLst>
                <a:path w="42" h="25">
                  <a:moveTo>
                    <a:pt x="2" y="18"/>
                  </a:moveTo>
                  <a:lnTo>
                    <a:pt x="0" y="18"/>
                  </a:lnTo>
                  <a:lnTo>
                    <a:pt x="0" y="23"/>
                  </a:lnTo>
                  <a:lnTo>
                    <a:pt x="8" y="23"/>
                  </a:lnTo>
                  <a:lnTo>
                    <a:pt x="10" y="25"/>
                  </a:lnTo>
                  <a:lnTo>
                    <a:pt x="19" y="23"/>
                  </a:lnTo>
                  <a:lnTo>
                    <a:pt x="19" y="18"/>
                  </a:lnTo>
                  <a:lnTo>
                    <a:pt x="21" y="16"/>
                  </a:lnTo>
                  <a:lnTo>
                    <a:pt x="31" y="16"/>
                  </a:lnTo>
                  <a:lnTo>
                    <a:pt x="31" y="14"/>
                  </a:lnTo>
                  <a:lnTo>
                    <a:pt x="35" y="14"/>
                  </a:lnTo>
                  <a:lnTo>
                    <a:pt x="42" y="9"/>
                  </a:lnTo>
                  <a:lnTo>
                    <a:pt x="42" y="7"/>
                  </a:lnTo>
                  <a:lnTo>
                    <a:pt x="35" y="5"/>
                  </a:lnTo>
                  <a:lnTo>
                    <a:pt x="19" y="5"/>
                  </a:lnTo>
                  <a:lnTo>
                    <a:pt x="12" y="0"/>
                  </a:lnTo>
                  <a:lnTo>
                    <a:pt x="12" y="5"/>
                  </a:lnTo>
                  <a:lnTo>
                    <a:pt x="10" y="7"/>
                  </a:lnTo>
                  <a:lnTo>
                    <a:pt x="4" y="5"/>
                  </a:lnTo>
                  <a:lnTo>
                    <a:pt x="2" y="5"/>
                  </a:lnTo>
                  <a:lnTo>
                    <a:pt x="2" y="7"/>
                  </a:lnTo>
                  <a:lnTo>
                    <a:pt x="0" y="9"/>
                  </a:lnTo>
                  <a:lnTo>
                    <a:pt x="4" y="14"/>
                  </a:lnTo>
                  <a:lnTo>
                    <a:pt x="4" y="9"/>
                  </a:lnTo>
                  <a:lnTo>
                    <a:pt x="12" y="16"/>
                  </a:lnTo>
                  <a:lnTo>
                    <a:pt x="8" y="18"/>
                  </a:lnTo>
                  <a:lnTo>
                    <a:pt x="4" y="18"/>
                  </a:lnTo>
                  <a:lnTo>
                    <a:pt x="2" y="1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107" name="Kuwait"/>
            <p:cNvGrpSpPr/>
            <p:nvPr/>
          </p:nvGrpSpPr>
          <p:grpSpPr>
            <a:xfrm>
              <a:off x="5382087" y="3585601"/>
              <a:ext cx="88760" cy="50161"/>
              <a:chOff x="5382087" y="3585601"/>
              <a:chExt cx="88760" cy="50161"/>
            </a:xfrm>
            <a:grpFill/>
          </p:grpSpPr>
          <p:sp>
            <p:nvSpPr>
              <p:cNvPr id="317" name="Kuwait"/>
              <p:cNvSpPr>
                <a:spLocks/>
              </p:cNvSpPr>
              <p:nvPr>
                <p:custDataLst>
                  <p:tags r:id="rId219"/>
                </p:custDataLst>
              </p:nvPr>
            </p:nvSpPr>
            <p:spPr bwMode="auto">
              <a:xfrm>
                <a:off x="5426467" y="3585601"/>
                <a:ext cx="44380" cy="50161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2" y="0"/>
                  </a:cxn>
                  <a:cxn ang="0">
                    <a:pos x="8" y="0"/>
                  </a:cxn>
                  <a:cxn ang="0">
                    <a:pos x="8" y="2"/>
                  </a:cxn>
                  <a:cxn ang="0">
                    <a:pos x="6" y="2"/>
                  </a:cxn>
                  <a:cxn ang="0">
                    <a:pos x="8" y="9"/>
                  </a:cxn>
                  <a:cxn ang="0">
                    <a:pos x="4" y="9"/>
                  </a:cxn>
                  <a:cxn ang="0">
                    <a:pos x="0" y="7"/>
                  </a:cxn>
                </a:cxnLst>
                <a:rect l="0" t="0" r="r" b="b"/>
                <a:pathLst>
                  <a:path w="8" h="9">
                    <a:moveTo>
                      <a:pt x="0" y="7"/>
                    </a:moveTo>
                    <a:lnTo>
                      <a:pt x="2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8" y="9"/>
                    </a:lnTo>
                    <a:lnTo>
                      <a:pt x="4" y="9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18" name="Kuwait"/>
              <p:cNvSpPr>
                <a:spLocks/>
              </p:cNvSpPr>
              <p:nvPr>
                <p:custDataLst>
                  <p:tags r:id="rId220"/>
                </p:custDataLst>
              </p:nvPr>
            </p:nvSpPr>
            <p:spPr bwMode="auto">
              <a:xfrm>
                <a:off x="5382087" y="3596748"/>
                <a:ext cx="44380" cy="27867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2" y="0"/>
                  </a:cxn>
                  <a:cxn ang="0">
                    <a:pos x="8" y="5"/>
                  </a:cxn>
                  <a:cxn ang="0">
                    <a:pos x="2" y="5"/>
                  </a:cxn>
                  <a:cxn ang="0">
                    <a:pos x="0" y="5"/>
                  </a:cxn>
                </a:cxnLst>
                <a:rect l="0" t="0" r="r" b="b"/>
                <a:pathLst>
                  <a:path w="8" h="5">
                    <a:moveTo>
                      <a:pt x="0" y="5"/>
                    </a:moveTo>
                    <a:lnTo>
                      <a:pt x="2" y="0"/>
                    </a:lnTo>
                    <a:lnTo>
                      <a:pt x="8" y="5"/>
                    </a:lnTo>
                    <a:lnTo>
                      <a:pt x="2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108" name="Kenya"/>
            <p:cNvSpPr>
              <a:spLocks/>
            </p:cNvSpPr>
            <p:nvPr/>
          </p:nvSpPr>
          <p:spPr bwMode="auto">
            <a:xfrm>
              <a:off x="5144324" y="4371009"/>
              <a:ext cx="214460" cy="343098"/>
            </a:xfrm>
            <a:custGeom>
              <a:avLst/>
              <a:gdLst>
                <a:gd name="T0" fmla="*/ 153 w 594"/>
                <a:gd name="T1" fmla="*/ 10 h 734"/>
                <a:gd name="T2" fmla="*/ 195 w 594"/>
                <a:gd name="T3" fmla="*/ 24 h 734"/>
                <a:gd name="T4" fmla="*/ 244 w 594"/>
                <a:gd name="T5" fmla="*/ 37 h 734"/>
                <a:gd name="T6" fmla="*/ 306 w 594"/>
                <a:gd name="T7" fmla="*/ 78 h 734"/>
                <a:gd name="T8" fmla="*/ 346 w 594"/>
                <a:gd name="T9" fmla="*/ 85 h 734"/>
                <a:gd name="T10" fmla="*/ 386 w 594"/>
                <a:gd name="T11" fmla="*/ 93 h 734"/>
                <a:gd name="T12" fmla="*/ 423 w 594"/>
                <a:gd name="T13" fmla="*/ 100 h 734"/>
                <a:gd name="T14" fmla="*/ 442 w 594"/>
                <a:gd name="T15" fmla="*/ 72 h 734"/>
                <a:gd name="T16" fmla="*/ 474 w 594"/>
                <a:gd name="T17" fmla="*/ 51 h 734"/>
                <a:gd name="T18" fmla="*/ 505 w 594"/>
                <a:gd name="T19" fmla="*/ 37 h 734"/>
                <a:gd name="T20" fmla="*/ 530 w 594"/>
                <a:gd name="T21" fmla="*/ 50 h 734"/>
                <a:gd name="T22" fmla="*/ 573 w 594"/>
                <a:gd name="T23" fmla="*/ 56 h 734"/>
                <a:gd name="T24" fmla="*/ 594 w 594"/>
                <a:gd name="T25" fmla="*/ 56 h 734"/>
                <a:gd name="T26" fmla="*/ 594 w 594"/>
                <a:gd name="T27" fmla="*/ 56 h 734"/>
                <a:gd name="T28" fmla="*/ 551 w 594"/>
                <a:gd name="T29" fmla="*/ 122 h 734"/>
                <a:gd name="T30" fmla="*/ 528 w 594"/>
                <a:gd name="T31" fmla="*/ 155 h 734"/>
                <a:gd name="T32" fmla="*/ 531 w 594"/>
                <a:gd name="T33" fmla="*/ 430 h 734"/>
                <a:gd name="T34" fmla="*/ 552 w 594"/>
                <a:gd name="T35" fmla="*/ 463 h 734"/>
                <a:gd name="T36" fmla="*/ 574 w 594"/>
                <a:gd name="T37" fmla="*/ 495 h 734"/>
                <a:gd name="T38" fmla="*/ 575 w 594"/>
                <a:gd name="T39" fmla="*/ 502 h 734"/>
                <a:gd name="T40" fmla="*/ 575 w 594"/>
                <a:gd name="T41" fmla="*/ 502 h 734"/>
                <a:gd name="T42" fmla="*/ 566 w 594"/>
                <a:gd name="T43" fmla="*/ 511 h 734"/>
                <a:gd name="T44" fmla="*/ 537 w 594"/>
                <a:gd name="T45" fmla="*/ 518 h 734"/>
                <a:gd name="T46" fmla="*/ 526 w 594"/>
                <a:gd name="T47" fmla="*/ 533 h 734"/>
                <a:gd name="T48" fmla="*/ 522 w 594"/>
                <a:gd name="T49" fmla="*/ 551 h 734"/>
                <a:gd name="T50" fmla="*/ 490 w 594"/>
                <a:gd name="T51" fmla="*/ 567 h 734"/>
                <a:gd name="T52" fmla="*/ 479 w 594"/>
                <a:gd name="T53" fmla="*/ 586 h 734"/>
                <a:gd name="T54" fmla="*/ 475 w 594"/>
                <a:gd name="T55" fmla="*/ 611 h 734"/>
                <a:gd name="T56" fmla="*/ 455 w 594"/>
                <a:gd name="T57" fmla="*/ 652 h 734"/>
                <a:gd name="T58" fmla="*/ 441 w 594"/>
                <a:gd name="T59" fmla="*/ 680 h 734"/>
                <a:gd name="T60" fmla="*/ 424 w 594"/>
                <a:gd name="T61" fmla="*/ 716 h 734"/>
                <a:gd name="T62" fmla="*/ 405 w 594"/>
                <a:gd name="T63" fmla="*/ 725 h 734"/>
                <a:gd name="T64" fmla="*/ 404 w 594"/>
                <a:gd name="T65" fmla="*/ 734 h 734"/>
                <a:gd name="T66" fmla="*/ 404 w 594"/>
                <a:gd name="T67" fmla="*/ 734 h 734"/>
                <a:gd name="T68" fmla="*/ 315 w 594"/>
                <a:gd name="T69" fmla="*/ 666 h 734"/>
                <a:gd name="T70" fmla="*/ 287 w 594"/>
                <a:gd name="T71" fmla="*/ 638 h 734"/>
                <a:gd name="T72" fmla="*/ 285 w 594"/>
                <a:gd name="T73" fmla="*/ 622 h 734"/>
                <a:gd name="T74" fmla="*/ 266 w 594"/>
                <a:gd name="T75" fmla="*/ 590 h 734"/>
                <a:gd name="T76" fmla="*/ 47 w 594"/>
                <a:gd name="T77" fmla="*/ 462 h 734"/>
                <a:gd name="T78" fmla="*/ 7 w 594"/>
                <a:gd name="T79" fmla="*/ 442 h 734"/>
                <a:gd name="T80" fmla="*/ 4 w 594"/>
                <a:gd name="T81" fmla="*/ 442 h 734"/>
                <a:gd name="T82" fmla="*/ 6 w 594"/>
                <a:gd name="T83" fmla="*/ 409 h 734"/>
                <a:gd name="T84" fmla="*/ 9 w 594"/>
                <a:gd name="T85" fmla="*/ 368 h 734"/>
                <a:gd name="T86" fmla="*/ 22 w 594"/>
                <a:gd name="T87" fmla="*/ 324 h 734"/>
                <a:gd name="T88" fmla="*/ 45 w 594"/>
                <a:gd name="T89" fmla="*/ 299 h 734"/>
                <a:gd name="T90" fmla="*/ 65 w 594"/>
                <a:gd name="T91" fmla="*/ 273 h 734"/>
                <a:gd name="T92" fmla="*/ 72 w 594"/>
                <a:gd name="T93" fmla="*/ 260 h 734"/>
                <a:gd name="T94" fmla="*/ 87 w 594"/>
                <a:gd name="T95" fmla="*/ 227 h 734"/>
                <a:gd name="T96" fmla="*/ 78 w 594"/>
                <a:gd name="T97" fmla="*/ 183 h 734"/>
                <a:gd name="T98" fmla="*/ 71 w 594"/>
                <a:gd name="T99" fmla="*/ 162 h 734"/>
                <a:gd name="T100" fmla="*/ 56 w 594"/>
                <a:gd name="T101" fmla="*/ 141 h 734"/>
                <a:gd name="T102" fmla="*/ 44 w 594"/>
                <a:gd name="T103" fmla="*/ 115 h 734"/>
                <a:gd name="T104" fmla="*/ 40 w 594"/>
                <a:gd name="T105" fmla="*/ 81 h 734"/>
                <a:gd name="T106" fmla="*/ 25 w 594"/>
                <a:gd name="T107" fmla="*/ 76 h 734"/>
                <a:gd name="T108" fmla="*/ 24 w 594"/>
                <a:gd name="T109" fmla="*/ 68 h 734"/>
                <a:gd name="T110" fmla="*/ 9 w 594"/>
                <a:gd name="T111" fmla="*/ 42 h 734"/>
                <a:gd name="T112" fmla="*/ 9 w 594"/>
                <a:gd name="T113" fmla="*/ 42 h 734"/>
                <a:gd name="T114" fmla="*/ 38 w 594"/>
                <a:gd name="T115" fmla="*/ 12 h 734"/>
                <a:gd name="T116" fmla="*/ 124 w 594"/>
                <a:gd name="T117" fmla="*/ 11 h 734"/>
                <a:gd name="T118" fmla="*/ 128 w 594"/>
                <a:gd name="T119" fmla="*/ 11 h 734"/>
                <a:gd name="T120" fmla="*/ 145 w 594"/>
                <a:gd name="T121" fmla="*/ 11 h 734"/>
                <a:gd name="T122" fmla="*/ 148 w 594"/>
                <a:gd name="T123" fmla="*/ 10 h 734"/>
                <a:gd name="T124" fmla="*/ 153 w 594"/>
                <a:gd name="T125" fmla="*/ 10 h 734"/>
                <a:gd name="connsiteX0" fmla="*/ 2509 w 9933"/>
                <a:gd name="connsiteY0" fmla="*/ 405 h 10269"/>
                <a:gd name="connsiteX1" fmla="*/ 3216 w 9933"/>
                <a:gd name="connsiteY1" fmla="*/ 596 h 10269"/>
                <a:gd name="connsiteX2" fmla="*/ 4041 w 9933"/>
                <a:gd name="connsiteY2" fmla="*/ 773 h 10269"/>
                <a:gd name="connsiteX3" fmla="*/ 5085 w 9933"/>
                <a:gd name="connsiteY3" fmla="*/ 1332 h 10269"/>
                <a:gd name="connsiteX4" fmla="*/ 5758 w 9933"/>
                <a:gd name="connsiteY4" fmla="*/ 1427 h 10269"/>
                <a:gd name="connsiteX5" fmla="*/ 6431 w 9933"/>
                <a:gd name="connsiteY5" fmla="*/ 1536 h 10269"/>
                <a:gd name="connsiteX6" fmla="*/ 7054 w 9933"/>
                <a:gd name="connsiteY6" fmla="*/ 1631 h 10269"/>
                <a:gd name="connsiteX7" fmla="*/ 7374 w 9933"/>
                <a:gd name="connsiteY7" fmla="*/ 1250 h 10269"/>
                <a:gd name="connsiteX8" fmla="*/ 7913 w 9933"/>
                <a:gd name="connsiteY8" fmla="*/ 964 h 10269"/>
                <a:gd name="connsiteX9" fmla="*/ 8435 w 9933"/>
                <a:gd name="connsiteY9" fmla="*/ 773 h 10269"/>
                <a:gd name="connsiteX10" fmla="*/ 8856 w 9933"/>
                <a:gd name="connsiteY10" fmla="*/ 950 h 10269"/>
                <a:gd name="connsiteX11" fmla="*/ 9579 w 9933"/>
                <a:gd name="connsiteY11" fmla="*/ 1032 h 10269"/>
                <a:gd name="connsiteX12" fmla="*/ 9933 w 9933"/>
                <a:gd name="connsiteY12" fmla="*/ 1032 h 10269"/>
                <a:gd name="connsiteX13" fmla="*/ 9933 w 9933"/>
                <a:gd name="connsiteY13" fmla="*/ 1032 h 10269"/>
                <a:gd name="connsiteX14" fmla="*/ 9209 w 9933"/>
                <a:gd name="connsiteY14" fmla="*/ 1931 h 10269"/>
                <a:gd name="connsiteX15" fmla="*/ 8822 w 9933"/>
                <a:gd name="connsiteY15" fmla="*/ 2381 h 10269"/>
                <a:gd name="connsiteX16" fmla="*/ 8872 w 9933"/>
                <a:gd name="connsiteY16" fmla="*/ 6127 h 10269"/>
                <a:gd name="connsiteX17" fmla="*/ 9226 w 9933"/>
                <a:gd name="connsiteY17" fmla="*/ 6577 h 10269"/>
                <a:gd name="connsiteX18" fmla="*/ 9596 w 9933"/>
                <a:gd name="connsiteY18" fmla="*/ 7013 h 10269"/>
                <a:gd name="connsiteX19" fmla="*/ 9613 w 9933"/>
                <a:gd name="connsiteY19" fmla="*/ 7108 h 10269"/>
                <a:gd name="connsiteX20" fmla="*/ 9613 w 9933"/>
                <a:gd name="connsiteY20" fmla="*/ 7108 h 10269"/>
                <a:gd name="connsiteX21" fmla="*/ 9462 w 9933"/>
                <a:gd name="connsiteY21" fmla="*/ 7231 h 10269"/>
                <a:gd name="connsiteX22" fmla="*/ 8973 w 9933"/>
                <a:gd name="connsiteY22" fmla="*/ 7326 h 10269"/>
                <a:gd name="connsiteX23" fmla="*/ 8788 w 9933"/>
                <a:gd name="connsiteY23" fmla="*/ 7531 h 10269"/>
                <a:gd name="connsiteX24" fmla="*/ 8721 w 9933"/>
                <a:gd name="connsiteY24" fmla="*/ 7776 h 10269"/>
                <a:gd name="connsiteX25" fmla="*/ 8182 w 9933"/>
                <a:gd name="connsiteY25" fmla="*/ 7994 h 10269"/>
                <a:gd name="connsiteX26" fmla="*/ 7997 w 9933"/>
                <a:gd name="connsiteY26" fmla="*/ 8253 h 10269"/>
                <a:gd name="connsiteX27" fmla="*/ 7930 w 9933"/>
                <a:gd name="connsiteY27" fmla="*/ 8593 h 10269"/>
                <a:gd name="connsiteX28" fmla="*/ 7593 w 9933"/>
                <a:gd name="connsiteY28" fmla="*/ 9152 h 10269"/>
                <a:gd name="connsiteX29" fmla="*/ 7357 w 9933"/>
                <a:gd name="connsiteY29" fmla="*/ 9533 h 10269"/>
                <a:gd name="connsiteX30" fmla="*/ 7071 w 9933"/>
                <a:gd name="connsiteY30" fmla="*/ 10024 h 10269"/>
                <a:gd name="connsiteX31" fmla="*/ 6751 w 9933"/>
                <a:gd name="connsiteY31" fmla="*/ 10146 h 10269"/>
                <a:gd name="connsiteX32" fmla="*/ 6734 w 9933"/>
                <a:gd name="connsiteY32" fmla="*/ 10269 h 10269"/>
                <a:gd name="connsiteX33" fmla="*/ 6734 w 9933"/>
                <a:gd name="connsiteY33" fmla="*/ 10269 h 10269"/>
                <a:gd name="connsiteX34" fmla="*/ 5236 w 9933"/>
                <a:gd name="connsiteY34" fmla="*/ 9343 h 10269"/>
                <a:gd name="connsiteX35" fmla="*/ 4765 w 9933"/>
                <a:gd name="connsiteY35" fmla="*/ 8961 h 10269"/>
                <a:gd name="connsiteX36" fmla="*/ 4731 w 9933"/>
                <a:gd name="connsiteY36" fmla="*/ 8743 h 10269"/>
                <a:gd name="connsiteX37" fmla="*/ 4411 w 9933"/>
                <a:gd name="connsiteY37" fmla="*/ 8307 h 10269"/>
                <a:gd name="connsiteX38" fmla="*/ 724 w 9933"/>
                <a:gd name="connsiteY38" fmla="*/ 6563 h 10269"/>
                <a:gd name="connsiteX39" fmla="*/ 51 w 9933"/>
                <a:gd name="connsiteY39" fmla="*/ 6291 h 10269"/>
                <a:gd name="connsiteX40" fmla="*/ 0 w 9933"/>
                <a:gd name="connsiteY40" fmla="*/ 6291 h 10269"/>
                <a:gd name="connsiteX41" fmla="*/ 34 w 9933"/>
                <a:gd name="connsiteY41" fmla="*/ 5841 h 10269"/>
                <a:gd name="connsiteX42" fmla="*/ 85 w 9933"/>
                <a:gd name="connsiteY42" fmla="*/ 5283 h 10269"/>
                <a:gd name="connsiteX43" fmla="*/ 303 w 9933"/>
                <a:gd name="connsiteY43" fmla="*/ 4683 h 10269"/>
                <a:gd name="connsiteX44" fmla="*/ 691 w 9933"/>
                <a:gd name="connsiteY44" fmla="*/ 4343 h 10269"/>
                <a:gd name="connsiteX45" fmla="*/ 1027 w 9933"/>
                <a:gd name="connsiteY45" fmla="*/ 3988 h 10269"/>
                <a:gd name="connsiteX46" fmla="*/ 1145 w 9933"/>
                <a:gd name="connsiteY46" fmla="*/ 3811 h 10269"/>
                <a:gd name="connsiteX47" fmla="*/ 1398 w 9933"/>
                <a:gd name="connsiteY47" fmla="*/ 3362 h 10269"/>
                <a:gd name="connsiteX48" fmla="*/ 1246 w 9933"/>
                <a:gd name="connsiteY48" fmla="*/ 2762 h 10269"/>
                <a:gd name="connsiteX49" fmla="*/ 1128 w 9933"/>
                <a:gd name="connsiteY49" fmla="*/ 2476 h 10269"/>
                <a:gd name="connsiteX50" fmla="*/ 876 w 9933"/>
                <a:gd name="connsiteY50" fmla="*/ 2190 h 10269"/>
                <a:gd name="connsiteX51" fmla="*/ 674 w 9933"/>
                <a:gd name="connsiteY51" fmla="*/ 1836 h 10269"/>
                <a:gd name="connsiteX52" fmla="*/ 606 w 9933"/>
                <a:gd name="connsiteY52" fmla="*/ 1373 h 10269"/>
                <a:gd name="connsiteX53" fmla="*/ 354 w 9933"/>
                <a:gd name="connsiteY53" fmla="*/ 1304 h 10269"/>
                <a:gd name="connsiteX54" fmla="*/ 337 w 9933"/>
                <a:gd name="connsiteY54" fmla="*/ 1195 h 10269"/>
                <a:gd name="connsiteX55" fmla="*/ 85 w 9933"/>
                <a:gd name="connsiteY55" fmla="*/ 841 h 10269"/>
                <a:gd name="connsiteX56" fmla="*/ 85 w 9933"/>
                <a:gd name="connsiteY56" fmla="*/ 841 h 10269"/>
                <a:gd name="connsiteX57" fmla="*/ 573 w 9933"/>
                <a:gd name="connsiteY57" fmla="*/ 432 h 10269"/>
                <a:gd name="connsiteX58" fmla="*/ 2021 w 9933"/>
                <a:gd name="connsiteY58" fmla="*/ 419 h 10269"/>
                <a:gd name="connsiteX59" fmla="*/ 2381 w 9933"/>
                <a:gd name="connsiteY59" fmla="*/ 24 h 10269"/>
                <a:gd name="connsiteX60" fmla="*/ 2374 w 9933"/>
                <a:gd name="connsiteY60" fmla="*/ 419 h 10269"/>
                <a:gd name="connsiteX61" fmla="*/ 2425 w 9933"/>
                <a:gd name="connsiteY61" fmla="*/ 405 h 10269"/>
                <a:gd name="connsiteX62" fmla="*/ 2509 w 9933"/>
                <a:gd name="connsiteY62" fmla="*/ 405 h 10269"/>
                <a:gd name="connsiteX0" fmla="*/ 2526 w 10000"/>
                <a:gd name="connsiteY0" fmla="*/ 870 h 10476"/>
                <a:gd name="connsiteX1" fmla="*/ 3238 w 10000"/>
                <a:gd name="connsiteY1" fmla="*/ 1056 h 10476"/>
                <a:gd name="connsiteX2" fmla="*/ 4068 w 10000"/>
                <a:gd name="connsiteY2" fmla="*/ 1229 h 10476"/>
                <a:gd name="connsiteX3" fmla="*/ 5119 w 10000"/>
                <a:gd name="connsiteY3" fmla="*/ 1773 h 10476"/>
                <a:gd name="connsiteX4" fmla="*/ 5797 w 10000"/>
                <a:gd name="connsiteY4" fmla="*/ 1866 h 10476"/>
                <a:gd name="connsiteX5" fmla="*/ 6474 w 10000"/>
                <a:gd name="connsiteY5" fmla="*/ 1972 h 10476"/>
                <a:gd name="connsiteX6" fmla="*/ 7102 w 10000"/>
                <a:gd name="connsiteY6" fmla="*/ 2064 h 10476"/>
                <a:gd name="connsiteX7" fmla="*/ 7424 w 10000"/>
                <a:gd name="connsiteY7" fmla="*/ 1693 h 10476"/>
                <a:gd name="connsiteX8" fmla="*/ 7966 w 10000"/>
                <a:gd name="connsiteY8" fmla="*/ 1415 h 10476"/>
                <a:gd name="connsiteX9" fmla="*/ 8492 w 10000"/>
                <a:gd name="connsiteY9" fmla="*/ 1229 h 10476"/>
                <a:gd name="connsiteX10" fmla="*/ 8916 w 10000"/>
                <a:gd name="connsiteY10" fmla="*/ 1401 h 10476"/>
                <a:gd name="connsiteX11" fmla="*/ 9644 w 10000"/>
                <a:gd name="connsiteY11" fmla="*/ 1481 h 10476"/>
                <a:gd name="connsiteX12" fmla="*/ 10000 w 10000"/>
                <a:gd name="connsiteY12" fmla="*/ 1481 h 10476"/>
                <a:gd name="connsiteX13" fmla="*/ 10000 w 10000"/>
                <a:gd name="connsiteY13" fmla="*/ 1481 h 10476"/>
                <a:gd name="connsiteX14" fmla="*/ 9271 w 10000"/>
                <a:gd name="connsiteY14" fmla="*/ 2356 h 10476"/>
                <a:gd name="connsiteX15" fmla="*/ 8882 w 10000"/>
                <a:gd name="connsiteY15" fmla="*/ 2795 h 10476"/>
                <a:gd name="connsiteX16" fmla="*/ 8932 w 10000"/>
                <a:gd name="connsiteY16" fmla="*/ 6443 h 10476"/>
                <a:gd name="connsiteX17" fmla="*/ 9288 w 10000"/>
                <a:gd name="connsiteY17" fmla="*/ 6881 h 10476"/>
                <a:gd name="connsiteX18" fmla="*/ 9661 w 10000"/>
                <a:gd name="connsiteY18" fmla="*/ 7305 h 10476"/>
                <a:gd name="connsiteX19" fmla="*/ 9678 w 10000"/>
                <a:gd name="connsiteY19" fmla="*/ 7398 h 10476"/>
                <a:gd name="connsiteX20" fmla="*/ 9678 w 10000"/>
                <a:gd name="connsiteY20" fmla="*/ 7398 h 10476"/>
                <a:gd name="connsiteX21" fmla="*/ 9526 w 10000"/>
                <a:gd name="connsiteY21" fmla="*/ 7518 h 10476"/>
                <a:gd name="connsiteX22" fmla="*/ 9034 w 10000"/>
                <a:gd name="connsiteY22" fmla="*/ 7610 h 10476"/>
                <a:gd name="connsiteX23" fmla="*/ 8847 w 10000"/>
                <a:gd name="connsiteY23" fmla="*/ 7810 h 10476"/>
                <a:gd name="connsiteX24" fmla="*/ 8780 w 10000"/>
                <a:gd name="connsiteY24" fmla="*/ 8048 h 10476"/>
                <a:gd name="connsiteX25" fmla="*/ 8237 w 10000"/>
                <a:gd name="connsiteY25" fmla="*/ 8261 h 10476"/>
                <a:gd name="connsiteX26" fmla="*/ 8051 w 10000"/>
                <a:gd name="connsiteY26" fmla="*/ 8513 h 10476"/>
                <a:gd name="connsiteX27" fmla="*/ 7983 w 10000"/>
                <a:gd name="connsiteY27" fmla="*/ 8844 h 10476"/>
                <a:gd name="connsiteX28" fmla="*/ 7644 w 10000"/>
                <a:gd name="connsiteY28" fmla="*/ 9388 h 10476"/>
                <a:gd name="connsiteX29" fmla="*/ 7407 w 10000"/>
                <a:gd name="connsiteY29" fmla="*/ 9759 h 10476"/>
                <a:gd name="connsiteX30" fmla="*/ 7119 w 10000"/>
                <a:gd name="connsiteY30" fmla="*/ 10237 h 10476"/>
                <a:gd name="connsiteX31" fmla="*/ 6797 w 10000"/>
                <a:gd name="connsiteY31" fmla="*/ 10356 h 10476"/>
                <a:gd name="connsiteX32" fmla="*/ 6779 w 10000"/>
                <a:gd name="connsiteY32" fmla="*/ 10476 h 10476"/>
                <a:gd name="connsiteX33" fmla="*/ 6779 w 10000"/>
                <a:gd name="connsiteY33" fmla="*/ 10476 h 10476"/>
                <a:gd name="connsiteX34" fmla="*/ 5271 w 10000"/>
                <a:gd name="connsiteY34" fmla="*/ 9574 h 10476"/>
                <a:gd name="connsiteX35" fmla="*/ 4797 w 10000"/>
                <a:gd name="connsiteY35" fmla="*/ 9202 h 10476"/>
                <a:gd name="connsiteX36" fmla="*/ 4763 w 10000"/>
                <a:gd name="connsiteY36" fmla="*/ 8990 h 10476"/>
                <a:gd name="connsiteX37" fmla="*/ 4441 w 10000"/>
                <a:gd name="connsiteY37" fmla="*/ 8565 h 10476"/>
                <a:gd name="connsiteX38" fmla="*/ 729 w 10000"/>
                <a:gd name="connsiteY38" fmla="*/ 6867 h 10476"/>
                <a:gd name="connsiteX39" fmla="*/ 51 w 10000"/>
                <a:gd name="connsiteY39" fmla="*/ 6602 h 10476"/>
                <a:gd name="connsiteX40" fmla="*/ 0 w 10000"/>
                <a:gd name="connsiteY40" fmla="*/ 6602 h 10476"/>
                <a:gd name="connsiteX41" fmla="*/ 34 w 10000"/>
                <a:gd name="connsiteY41" fmla="*/ 6164 h 10476"/>
                <a:gd name="connsiteX42" fmla="*/ 86 w 10000"/>
                <a:gd name="connsiteY42" fmla="*/ 5621 h 10476"/>
                <a:gd name="connsiteX43" fmla="*/ 305 w 10000"/>
                <a:gd name="connsiteY43" fmla="*/ 5036 h 10476"/>
                <a:gd name="connsiteX44" fmla="*/ 696 w 10000"/>
                <a:gd name="connsiteY44" fmla="*/ 4705 h 10476"/>
                <a:gd name="connsiteX45" fmla="*/ 1034 w 10000"/>
                <a:gd name="connsiteY45" fmla="*/ 4360 h 10476"/>
                <a:gd name="connsiteX46" fmla="*/ 1153 w 10000"/>
                <a:gd name="connsiteY46" fmla="*/ 4187 h 10476"/>
                <a:gd name="connsiteX47" fmla="*/ 1407 w 10000"/>
                <a:gd name="connsiteY47" fmla="*/ 3750 h 10476"/>
                <a:gd name="connsiteX48" fmla="*/ 1254 w 10000"/>
                <a:gd name="connsiteY48" fmla="*/ 3166 h 10476"/>
                <a:gd name="connsiteX49" fmla="*/ 1136 w 10000"/>
                <a:gd name="connsiteY49" fmla="*/ 2887 h 10476"/>
                <a:gd name="connsiteX50" fmla="*/ 882 w 10000"/>
                <a:gd name="connsiteY50" fmla="*/ 2609 h 10476"/>
                <a:gd name="connsiteX51" fmla="*/ 679 w 10000"/>
                <a:gd name="connsiteY51" fmla="*/ 2264 h 10476"/>
                <a:gd name="connsiteX52" fmla="*/ 610 w 10000"/>
                <a:gd name="connsiteY52" fmla="*/ 1813 h 10476"/>
                <a:gd name="connsiteX53" fmla="*/ 356 w 10000"/>
                <a:gd name="connsiteY53" fmla="*/ 1746 h 10476"/>
                <a:gd name="connsiteX54" fmla="*/ 339 w 10000"/>
                <a:gd name="connsiteY54" fmla="*/ 1640 h 10476"/>
                <a:gd name="connsiteX55" fmla="*/ 86 w 10000"/>
                <a:gd name="connsiteY55" fmla="*/ 1295 h 10476"/>
                <a:gd name="connsiteX56" fmla="*/ 86 w 10000"/>
                <a:gd name="connsiteY56" fmla="*/ 1295 h 10476"/>
                <a:gd name="connsiteX57" fmla="*/ 577 w 10000"/>
                <a:gd name="connsiteY57" fmla="*/ 897 h 10476"/>
                <a:gd name="connsiteX58" fmla="*/ 1592 w 10000"/>
                <a:gd name="connsiteY58" fmla="*/ 0 h 10476"/>
                <a:gd name="connsiteX59" fmla="*/ 2397 w 10000"/>
                <a:gd name="connsiteY59" fmla="*/ 499 h 10476"/>
                <a:gd name="connsiteX60" fmla="*/ 2390 w 10000"/>
                <a:gd name="connsiteY60" fmla="*/ 884 h 10476"/>
                <a:gd name="connsiteX61" fmla="*/ 2441 w 10000"/>
                <a:gd name="connsiteY61" fmla="*/ 870 h 10476"/>
                <a:gd name="connsiteX62" fmla="*/ 2526 w 10000"/>
                <a:gd name="connsiteY62" fmla="*/ 870 h 10476"/>
                <a:gd name="connsiteX0" fmla="*/ 2526 w 10000"/>
                <a:gd name="connsiteY0" fmla="*/ 930 h 10536"/>
                <a:gd name="connsiteX1" fmla="*/ 3238 w 10000"/>
                <a:gd name="connsiteY1" fmla="*/ 1116 h 10536"/>
                <a:gd name="connsiteX2" fmla="*/ 4068 w 10000"/>
                <a:gd name="connsiteY2" fmla="*/ 1289 h 10536"/>
                <a:gd name="connsiteX3" fmla="*/ 5119 w 10000"/>
                <a:gd name="connsiteY3" fmla="*/ 1833 h 10536"/>
                <a:gd name="connsiteX4" fmla="*/ 5797 w 10000"/>
                <a:gd name="connsiteY4" fmla="*/ 1926 h 10536"/>
                <a:gd name="connsiteX5" fmla="*/ 6474 w 10000"/>
                <a:gd name="connsiteY5" fmla="*/ 2032 h 10536"/>
                <a:gd name="connsiteX6" fmla="*/ 7102 w 10000"/>
                <a:gd name="connsiteY6" fmla="*/ 2124 h 10536"/>
                <a:gd name="connsiteX7" fmla="*/ 7424 w 10000"/>
                <a:gd name="connsiteY7" fmla="*/ 1753 h 10536"/>
                <a:gd name="connsiteX8" fmla="*/ 7966 w 10000"/>
                <a:gd name="connsiteY8" fmla="*/ 1475 h 10536"/>
                <a:gd name="connsiteX9" fmla="*/ 8492 w 10000"/>
                <a:gd name="connsiteY9" fmla="*/ 1289 h 10536"/>
                <a:gd name="connsiteX10" fmla="*/ 8916 w 10000"/>
                <a:gd name="connsiteY10" fmla="*/ 1461 h 10536"/>
                <a:gd name="connsiteX11" fmla="*/ 9644 w 10000"/>
                <a:gd name="connsiteY11" fmla="*/ 1541 h 10536"/>
                <a:gd name="connsiteX12" fmla="*/ 10000 w 10000"/>
                <a:gd name="connsiteY12" fmla="*/ 1541 h 10536"/>
                <a:gd name="connsiteX13" fmla="*/ 10000 w 10000"/>
                <a:gd name="connsiteY13" fmla="*/ 1541 h 10536"/>
                <a:gd name="connsiteX14" fmla="*/ 9271 w 10000"/>
                <a:gd name="connsiteY14" fmla="*/ 2416 h 10536"/>
                <a:gd name="connsiteX15" fmla="*/ 8882 w 10000"/>
                <a:gd name="connsiteY15" fmla="*/ 2855 h 10536"/>
                <a:gd name="connsiteX16" fmla="*/ 8932 w 10000"/>
                <a:gd name="connsiteY16" fmla="*/ 6503 h 10536"/>
                <a:gd name="connsiteX17" fmla="*/ 9288 w 10000"/>
                <a:gd name="connsiteY17" fmla="*/ 6941 h 10536"/>
                <a:gd name="connsiteX18" fmla="*/ 9661 w 10000"/>
                <a:gd name="connsiteY18" fmla="*/ 7365 h 10536"/>
                <a:gd name="connsiteX19" fmla="*/ 9678 w 10000"/>
                <a:gd name="connsiteY19" fmla="*/ 7458 h 10536"/>
                <a:gd name="connsiteX20" fmla="*/ 9678 w 10000"/>
                <a:gd name="connsiteY20" fmla="*/ 7458 h 10536"/>
                <a:gd name="connsiteX21" fmla="*/ 9526 w 10000"/>
                <a:gd name="connsiteY21" fmla="*/ 7578 h 10536"/>
                <a:gd name="connsiteX22" fmla="*/ 9034 w 10000"/>
                <a:gd name="connsiteY22" fmla="*/ 7670 h 10536"/>
                <a:gd name="connsiteX23" fmla="*/ 8847 w 10000"/>
                <a:gd name="connsiteY23" fmla="*/ 7870 h 10536"/>
                <a:gd name="connsiteX24" fmla="*/ 8780 w 10000"/>
                <a:gd name="connsiteY24" fmla="*/ 8108 h 10536"/>
                <a:gd name="connsiteX25" fmla="*/ 8237 w 10000"/>
                <a:gd name="connsiteY25" fmla="*/ 8321 h 10536"/>
                <a:gd name="connsiteX26" fmla="*/ 8051 w 10000"/>
                <a:gd name="connsiteY26" fmla="*/ 8573 h 10536"/>
                <a:gd name="connsiteX27" fmla="*/ 7983 w 10000"/>
                <a:gd name="connsiteY27" fmla="*/ 8904 h 10536"/>
                <a:gd name="connsiteX28" fmla="*/ 7644 w 10000"/>
                <a:gd name="connsiteY28" fmla="*/ 9448 h 10536"/>
                <a:gd name="connsiteX29" fmla="*/ 7407 w 10000"/>
                <a:gd name="connsiteY29" fmla="*/ 9819 h 10536"/>
                <a:gd name="connsiteX30" fmla="*/ 7119 w 10000"/>
                <a:gd name="connsiteY30" fmla="*/ 10297 h 10536"/>
                <a:gd name="connsiteX31" fmla="*/ 6797 w 10000"/>
                <a:gd name="connsiteY31" fmla="*/ 10416 h 10536"/>
                <a:gd name="connsiteX32" fmla="*/ 6779 w 10000"/>
                <a:gd name="connsiteY32" fmla="*/ 10536 h 10536"/>
                <a:gd name="connsiteX33" fmla="*/ 6779 w 10000"/>
                <a:gd name="connsiteY33" fmla="*/ 10536 h 10536"/>
                <a:gd name="connsiteX34" fmla="*/ 5271 w 10000"/>
                <a:gd name="connsiteY34" fmla="*/ 9634 h 10536"/>
                <a:gd name="connsiteX35" fmla="*/ 4797 w 10000"/>
                <a:gd name="connsiteY35" fmla="*/ 9262 h 10536"/>
                <a:gd name="connsiteX36" fmla="*/ 4763 w 10000"/>
                <a:gd name="connsiteY36" fmla="*/ 9050 h 10536"/>
                <a:gd name="connsiteX37" fmla="*/ 4441 w 10000"/>
                <a:gd name="connsiteY37" fmla="*/ 8625 h 10536"/>
                <a:gd name="connsiteX38" fmla="*/ 729 w 10000"/>
                <a:gd name="connsiteY38" fmla="*/ 6927 h 10536"/>
                <a:gd name="connsiteX39" fmla="*/ 51 w 10000"/>
                <a:gd name="connsiteY39" fmla="*/ 6662 h 10536"/>
                <a:gd name="connsiteX40" fmla="*/ 0 w 10000"/>
                <a:gd name="connsiteY40" fmla="*/ 6662 h 10536"/>
                <a:gd name="connsiteX41" fmla="*/ 34 w 10000"/>
                <a:gd name="connsiteY41" fmla="*/ 6224 h 10536"/>
                <a:gd name="connsiteX42" fmla="*/ 86 w 10000"/>
                <a:gd name="connsiteY42" fmla="*/ 5681 h 10536"/>
                <a:gd name="connsiteX43" fmla="*/ 305 w 10000"/>
                <a:gd name="connsiteY43" fmla="*/ 5096 h 10536"/>
                <a:gd name="connsiteX44" fmla="*/ 696 w 10000"/>
                <a:gd name="connsiteY44" fmla="*/ 4765 h 10536"/>
                <a:gd name="connsiteX45" fmla="*/ 1034 w 10000"/>
                <a:gd name="connsiteY45" fmla="*/ 4420 h 10536"/>
                <a:gd name="connsiteX46" fmla="*/ 1153 w 10000"/>
                <a:gd name="connsiteY46" fmla="*/ 4247 h 10536"/>
                <a:gd name="connsiteX47" fmla="*/ 1407 w 10000"/>
                <a:gd name="connsiteY47" fmla="*/ 3810 h 10536"/>
                <a:gd name="connsiteX48" fmla="*/ 1254 w 10000"/>
                <a:gd name="connsiteY48" fmla="*/ 3226 h 10536"/>
                <a:gd name="connsiteX49" fmla="*/ 1136 w 10000"/>
                <a:gd name="connsiteY49" fmla="*/ 2947 h 10536"/>
                <a:gd name="connsiteX50" fmla="*/ 882 w 10000"/>
                <a:gd name="connsiteY50" fmla="*/ 2669 h 10536"/>
                <a:gd name="connsiteX51" fmla="*/ 679 w 10000"/>
                <a:gd name="connsiteY51" fmla="*/ 2324 h 10536"/>
                <a:gd name="connsiteX52" fmla="*/ 610 w 10000"/>
                <a:gd name="connsiteY52" fmla="*/ 1873 h 10536"/>
                <a:gd name="connsiteX53" fmla="*/ 356 w 10000"/>
                <a:gd name="connsiteY53" fmla="*/ 1806 h 10536"/>
                <a:gd name="connsiteX54" fmla="*/ 339 w 10000"/>
                <a:gd name="connsiteY54" fmla="*/ 1700 h 10536"/>
                <a:gd name="connsiteX55" fmla="*/ 86 w 10000"/>
                <a:gd name="connsiteY55" fmla="*/ 1355 h 10536"/>
                <a:gd name="connsiteX56" fmla="*/ 86 w 10000"/>
                <a:gd name="connsiteY56" fmla="*/ 1355 h 10536"/>
                <a:gd name="connsiteX57" fmla="*/ 577 w 10000"/>
                <a:gd name="connsiteY57" fmla="*/ 957 h 10536"/>
                <a:gd name="connsiteX58" fmla="*/ 1592 w 10000"/>
                <a:gd name="connsiteY58" fmla="*/ 60 h 10536"/>
                <a:gd name="connsiteX59" fmla="*/ 2146 w 10000"/>
                <a:gd name="connsiteY59" fmla="*/ 80 h 10536"/>
                <a:gd name="connsiteX60" fmla="*/ 2397 w 10000"/>
                <a:gd name="connsiteY60" fmla="*/ 559 h 10536"/>
                <a:gd name="connsiteX61" fmla="*/ 2390 w 10000"/>
                <a:gd name="connsiteY61" fmla="*/ 944 h 10536"/>
                <a:gd name="connsiteX62" fmla="*/ 2441 w 10000"/>
                <a:gd name="connsiteY62" fmla="*/ 930 h 10536"/>
                <a:gd name="connsiteX63" fmla="*/ 2526 w 10000"/>
                <a:gd name="connsiteY63" fmla="*/ 930 h 10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10000" h="10536">
                  <a:moveTo>
                    <a:pt x="2526" y="930"/>
                  </a:moveTo>
                  <a:cubicBezTo>
                    <a:pt x="2559" y="1209"/>
                    <a:pt x="3000" y="1090"/>
                    <a:pt x="3238" y="1116"/>
                  </a:cubicBezTo>
                  <a:cubicBezTo>
                    <a:pt x="3526" y="1116"/>
                    <a:pt x="3848" y="1090"/>
                    <a:pt x="4068" y="1289"/>
                  </a:cubicBezTo>
                  <a:cubicBezTo>
                    <a:pt x="4424" y="1461"/>
                    <a:pt x="4763" y="1647"/>
                    <a:pt x="5119" y="1833"/>
                  </a:cubicBezTo>
                  <a:cubicBezTo>
                    <a:pt x="5271" y="1992"/>
                    <a:pt x="5576" y="1979"/>
                    <a:pt x="5797" y="1926"/>
                  </a:cubicBezTo>
                  <a:cubicBezTo>
                    <a:pt x="6034" y="1952"/>
                    <a:pt x="6221" y="2072"/>
                    <a:pt x="6474" y="2032"/>
                  </a:cubicBezTo>
                  <a:cubicBezTo>
                    <a:pt x="6695" y="2085"/>
                    <a:pt x="6915" y="2085"/>
                    <a:pt x="7102" y="2124"/>
                  </a:cubicBezTo>
                  <a:cubicBezTo>
                    <a:pt x="7153" y="1979"/>
                    <a:pt x="7407" y="1912"/>
                    <a:pt x="7424" y="1753"/>
                  </a:cubicBezTo>
                  <a:cubicBezTo>
                    <a:pt x="7543" y="1607"/>
                    <a:pt x="7780" y="1555"/>
                    <a:pt x="7966" y="1475"/>
                  </a:cubicBezTo>
                  <a:cubicBezTo>
                    <a:pt x="8136" y="1409"/>
                    <a:pt x="8305" y="1342"/>
                    <a:pt x="8492" y="1289"/>
                  </a:cubicBezTo>
                  <a:cubicBezTo>
                    <a:pt x="8661" y="1183"/>
                    <a:pt x="8780" y="1421"/>
                    <a:pt x="8916" y="1461"/>
                  </a:cubicBezTo>
                  <a:cubicBezTo>
                    <a:pt x="9051" y="1673"/>
                    <a:pt x="9407" y="1567"/>
                    <a:pt x="9644" y="1541"/>
                  </a:cubicBezTo>
                  <a:cubicBezTo>
                    <a:pt x="9762" y="1515"/>
                    <a:pt x="9915" y="1594"/>
                    <a:pt x="10000" y="1541"/>
                  </a:cubicBezTo>
                  <a:lnTo>
                    <a:pt x="10000" y="1541"/>
                  </a:lnTo>
                  <a:cubicBezTo>
                    <a:pt x="9762" y="1833"/>
                    <a:pt x="9542" y="2138"/>
                    <a:pt x="9271" y="2416"/>
                  </a:cubicBezTo>
                  <a:cubicBezTo>
                    <a:pt x="9152" y="2562"/>
                    <a:pt x="8847" y="2655"/>
                    <a:pt x="8882" y="2855"/>
                  </a:cubicBezTo>
                  <a:cubicBezTo>
                    <a:pt x="8916" y="4075"/>
                    <a:pt x="8916" y="5296"/>
                    <a:pt x="8932" y="6503"/>
                  </a:cubicBezTo>
                  <a:cubicBezTo>
                    <a:pt x="9017" y="6662"/>
                    <a:pt x="9169" y="6795"/>
                    <a:pt x="9288" y="6941"/>
                  </a:cubicBezTo>
                  <a:cubicBezTo>
                    <a:pt x="9407" y="7047"/>
                    <a:pt x="9559" y="7246"/>
                    <a:pt x="9661" y="7365"/>
                  </a:cubicBezTo>
                  <a:cubicBezTo>
                    <a:pt x="9678" y="7392"/>
                    <a:pt x="9661" y="7418"/>
                    <a:pt x="9678" y="7458"/>
                  </a:cubicBezTo>
                  <a:lnTo>
                    <a:pt x="9678" y="7458"/>
                  </a:lnTo>
                  <a:cubicBezTo>
                    <a:pt x="9628" y="7498"/>
                    <a:pt x="9593" y="7551"/>
                    <a:pt x="9526" y="7578"/>
                  </a:cubicBezTo>
                  <a:cubicBezTo>
                    <a:pt x="9373" y="7657"/>
                    <a:pt x="9204" y="7684"/>
                    <a:pt x="9034" y="7670"/>
                  </a:cubicBezTo>
                  <a:cubicBezTo>
                    <a:pt x="8966" y="7736"/>
                    <a:pt x="8916" y="7803"/>
                    <a:pt x="8847" y="7870"/>
                  </a:cubicBezTo>
                  <a:cubicBezTo>
                    <a:pt x="8763" y="7922"/>
                    <a:pt x="8797" y="8028"/>
                    <a:pt x="8780" y="8108"/>
                  </a:cubicBezTo>
                  <a:cubicBezTo>
                    <a:pt x="8594" y="8175"/>
                    <a:pt x="8423" y="8254"/>
                    <a:pt x="8237" y="8321"/>
                  </a:cubicBezTo>
                  <a:cubicBezTo>
                    <a:pt x="8170" y="8400"/>
                    <a:pt x="8118" y="8493"/>
                    <a:pt x="8051" y="8573"/>
                  </a:cubicBezTo>
                  <a:cubicBezTo>
                    <a:pt x="8017" y="8679"/>
                    <a:pt x="8000" y="8798"/>
                    <a:pt x="7983" y="8904"/>
                  </a:cubicBezTo>
                  <a:cubicBezTo>
                    <a:pt x="7882" y="9090"/>
                    <a:pt x="7780" y="9276"/>
                    <a:pt x="7644" y="9448"/>
                  </a:cubicBezTo>
                  <a:cubicBezTo>
                    <a:pt x="7560" y="9567"/>
                    <a:pt x="7458" y="9687"/>
                    <a:pt x="7407" y="9819"/>
                  </a:cubicBezTo>
                  <a:cubicBezTo>
                    <a:pt x="7356" y="9992"/>
                    <a:pt x="7220" y="10138"/>
                    <a:pt x="7119" y="10297"/>
                  </a:cubicBezTo>
                  <a:cubicBezTo>
                    <a:pt x="7017" y="10337"/>
                    <a:pt x="6898" y="10377"/>
                    <a:pt x="6797" y="10416"/>
                  </a:cubicBezTo>
                  <a:cubicBezTo>
                    <a:pt x="6797" y="10456"/>
                    <a:pt x="6797" y="10496"/>
                    <a:pt x="6779" y="10536"/>
                  </a:cubicBezTo>
                  <a:lnTo>
                    <a:pt x="6779" y="10536"/>
                  </a:lnTo>
                  <a:cubicBezTo>
                    <a:pt x="6339" y="10257"/>
                    <a:pt x="5712" y="9899"/>
                    <a:pt x="5271" y="9634"/>
                  </a:cubicBezTo>
                  <a:cubicBezTo>
                    <a:pt x="5102" y="9514"/>
                    <a:pt x="4882" y="9435"/>
                    <a:pt x="4797" y="9262"/>
                  </a:cubicBezTo>
                  <a:cubicBezTo>
                    <a:pt x="4610" y="9236"/>
                    <a:pt x="4610" y="9116"/>
                    <a:pt x="4763" y="9050"/>
                  </a:cubicBezTo>
                  <a:cubicBezTo>
                    <a:pt x="4830" y="8864"/>
                    <a:pt x="4678" y="8679"/>
                    <a:pt x="4441" y="8625"/>
                  </a:cubicBezTo>
                  <a:lnTo>
                    <a:pt x="729" y="6927"/>
                  </a:lnTo>
                  <a:cubicBezTo>
                    <a:pt x="492" y="6848"/>
                    <a:pt x="305" y="6688"/>
                    <a:pt x="51" y="6662"/>
                  </a:cubicBezTo>
                  <a:lnTo>
                    <a:pt x="0" y="6662"/>
                  </a:lnTo>
                  <a:cubicBezTo>
                    <a:pt x="102" y="6556"/>
                    <a:pt x="0" y="6356"/>
                    <a:pt x="34" y="6224"/>
                  </a:cubicBezTo>
                  <a:cubicBezTo>
                    <a:pt x="17" y="6038"/>
                    <a:pt x="153" y="5866"/>
                    <a:pt x="86" y="5681"/>
                  </a:cubicBezTo>
                  <a:cubicBezTo>
                    <a:pt x="-67" y="5455"/>
                    <a:pt x="356" y="5335"/>
                    <a:pt x="305" y="5096"/>
                  </a:cubicBezTo>
                  <a:cubicBezTo>
                    <a:pt x="441" y="4990"/>
                    <a:pt x="560" y="4884"/>
                    <a:pt x="696" y="4765"/>
                  </a:cubicBezTo>
                  <a:cubicBezTo>
                    <a:pt x="729" y="4606"/>
                    <a:pt x="831" y="4486"/>
                    <a:pt x="1034" y="4420"/>
                  </a:cubicBezTo>
                  <a:cubicBezTo>
                    <a:pt x="1187" y="4433"/>
                    <a:pt x="1204" y="4341"/>
                    <a:pt x="1153" y="4247"/>
                  </a:cubicBezTo>
                  <a:cubicBezTo>
                    <a:pt x="1237" y="4101"/>
                    <a:pt x="1424" y="3982"/>
                    <a:pt x="1407" y="3810"/>
                  </a:cubicBezTo>
                  <a:cubicBezTo>
                    <a:pt x="1407" y="3598"/>
                    <a:pt x="1339" y="3412"/>
                    <a:pt x="1254" y="3226"/>
                  </a:cubicBezTo>
                  <a:cubicBezTo>
                    <a:pt x="1356" y="3120"/>
                    <a:pt x="1237" y="3013"/>
                    <a:pt x="1136" y="2947"/>
                  </a:cubicBezTo>
                  <a:cubicBezTo>
                    <a:pt x="1153" y="2788"/>
                    <a:pt x="1001" y="2748"/>
                    <a:pt x="882" y="2669"/>
                  </a:cubicBezTo>
                  <a:cubicBezTo>
                    <a:pt x="899" y="2509"/>
                    <a:pt x="696" y="2456"/>
                    <a:pt x="679" y="2324"/>
                  </a:cubicBezTo>
                  <a:cubicBezTo>
                    <a:pt x="526" y="2178"/>
                    <a:pt x="813" y="1992"/>
                    <a:pt x="610" y="1873"/>
                  </a:cubicBezTo>
                  <a:cubicBezTo>
                    <a:pt x="492" y="1886"/>
                    <a:pt x="475" y="1806"/>
                    <a:pt x="356" y="1806"/>
                  </a:cubicBezTo>
                  <a:cubicBezTo>
                    <a:pt x="255" y="1767"/>
                    <a:pt x="424" y="1727"/>
                    <a:pt x="339" y="1700"/>
                  </a:cubicBezTo>
                  <a:cubicBezTo>
                    <a:pt x="119" y="1740"/>
                    <a:pt x="289" y="1409"/>
                    <a:pt x="86" y="1355"/>
                  </a:cubicBezTo>
                  <a:lnTo>
                    <a:pt x="86" y="1355"/>
                  </a:lnTo>
                  <a:cubicBezTo>
                    <a:pt x="255" y="1223"/>
                    <a:pt x="407" y="1090"/>
                    <a:pt x="577" y="957"/>
                  </a:cubicBezTo>
                  <a:lnTo>
                    <a:pt x="1592" y="60"/>
                  </a:lnTo>
                  <a:cubicBezTo>
                    <a:pt x="1845" y="-41"/>
                    <a:pt x="2012" y="-3"/>
                    <a:pt x="2146" y="80"/>
                  </a:cubicBezTo>
                  <a:cubicBezTo>
                    <a:pt x="2280" y="163"/>
                    <a:pt x="2348" y="460"/>
                    <a:pt x="2397" y="559"/>
                  </a:cubicBezTo>
                  <a:cubicBezTo>
                    <a:pt x="2447" y="413"/>
                    <a:pt x="2271" y="997"/>
                    <a:pt x="2390" y="944"/>
                  </a:cubicBezTo>
                  <a:cubicBezTo>
                    <a:pt x="2424" y="944"/>
                    <a:pt x="2441" y="944"/>
                    <a:pt x="2441" y="930"/>
                  </a:cubicBezTo>
                  <a:lnTo>
                    <a:pt x="2526" y="93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09" name="Kazakhstan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5343255" y="2783026"/>
              <a:ext cx="926432" cy="451449"/>
            </a:xfrm>
            <a:custGeom>
              <a:avLst/>
              <a:gdLst/>
              <a:ahLst/>
              <a:cxnLst>
                <a:cxn ang="0">
                  <a:pos x="167" y="34"/>
                </a:cxn>
                <a:cxn ang="0">
                  <a:pos x="161" y="34"/>
                </a:cxn>
                <a:cxn ang="0">
                  <a:pos x="148" y="25"/>
                </a:cxn>
                <a:cxn ang="0">
                  <a:pos x="136" y="22"/>
                </a:cxn>
                <a:cxn ang="0">
                  <a:pos x="121" y="13"/>
                </a:cxn>
                <a:cxn ang="0">
                  <a:pos x="111" y="7"/>
                </a:cxn>
                <a:cxn ang="0">
                  <a:pos x="103" y="9"/>
                </a:cxn>
                <a:cxn ang="0">
                  <a:pos x="96" y="7"/>
                </a:cxn>
                <a:cxn ang="0">
                  <a:pos x="90" y="4"/>
                </a:cxn>
                <a:cxn ang="0">
                  <a:pos x="80" y="0"/>
                </a:cxn>
                <a:cxn ang="0">
                  <a:pos x="71" y="4"/>
                </a:cxn>
                <a:cxn ang="0">
                  <a:pos x="50" y="7"/>
                </a:cxn>
                <a:cxn ang="0">
                  <a:pos x="55" y="9"/>
                </a:cxn>
                <a:cxn ang="0">
                  <a:pos x="50" y="16"/>
                </a:cxn>
                <a:cxn ang="0">
                  <a:pos x="50" y="20"/>
                </a:cxn>
                <a:cxn ang="0">
                  <a:pos x="57" y="25"/>
                </a:cxn>
                <a:cxn ang="0">
                  <a:pos x="46" y="25"/>
                </a:cxn>
                <a:cxn ang="0">
                  <a:pos x="34" y="25"/>
                </a:cxn>
                <a:cxn ang="0">
                  <a:pos x="32" y="29"/>
                </a:cxn>
                <a:cxn ang="0">
                  <a:pos x="21" y="20"/>
                </a:cxn>
                <a:cxn ang="0">
                  <a:pos x="15" y="22"/>
                </a:cxn>
                <a:cxn ang="0">
                  <a:pos x="7" y="25"/>
                </a:cxn>
                <a:cxn ang="0">
                  <a:pos x="7" y="31"/>
                </a:cxn>
                <a:cxn ang="0">
                  <a:pos x="0" y="38"/>
                </a:cxn>
                <a:cxn ang="0">
                  <a:pos x="2" y="43"/>
                </a:cxn>
                <a:cxn ang="0">
                  <a:pos x="11" y="49"/>
                </a:cxn>
                <a:cxn ang="0">
                  <a:pos x="25" y="47"/>
                </a:cxn>
                <a:cxn ang="0">
                  <a:pos x="38" y="56"/>
                </a:cxn>
                <a:cxn ang="0">
                  <a:pos x="23" y="58"/>
                </a:cxn>
                <a:cxn ang="0">
                  <a:pos x="23" y="61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38" y="74"/>
                </a:cxn>
                <a:cxn ang="0">
                  <a:pos x="48" y="81"/>
                </a:cxn>
                <a:cxn ang="0">
                  <a:pos x="55" y="56"/>
                </a:cxn>
                <a:cxn ang="0">
                  <a:pos x="82" y="65"/>
                </a:cxn>
                <a:cxn ang="0">
                  <a:pos x="90" y="76"/>
                </a:cxn>
                <a:cxn ang="0">
                  <a:pos x="94" y="81"/>
                </a:cxn>
                <a:cxn ang="0">
                  <a:pos x="109" y="76"/>
                </a:cxn>
                <a:cxn ang="0">
                  <a:pos x="111" y="72"/>
                </a:cxn>
                <a:cxn ang="0">
                  <a:pos x="121" y="72"/>
                </a:cxn>
                <a:cxn ang="0">
                  <a:pos x="128" y="72"/>
                </a:cxn>
                <a:cxn ang="0">
                  <a:pos x="151" y="74"/>
                </a:cxn>
                <a:cxn ang="0">
                  <a:pos x="148" y="58"/>
                </a:cxn>
                <a:cxn ang="0">
                  <a:pos x="153" y="47"/>
                </a:cxn>
                <a:cxn ang="0">
                  <a:pos x="165" y="47"/>
                </a:cxn>
                <a:cxn ang="0">
                  <a:pos x="167" y="38"/>
                </a:cxn>
              </a:cxnLst>
              <a:rect l="0" t="0" r="r" b="b"/>
              <a:pathLst>
                <a:path w="167" h="81">
                  <a:moveTo>
                    <a:pt x="167" y="38"/>
                  </a:moveTo>
                  <a:lnTo>
                    <a:pt x="167" y="34"/>
                  </a:lnTo>
                  <a:lnTo>
                    <a:pt x="165" y="31"/>
                  </a:lnTo>
                  <a:lnTo>
                    <a:pt x="161" y="34"/>
                  </a:lnTo>
                  <a:lnTo>
                    <a:pt x="159" y="31"/>
                  </a:lnTo>
                  <a:lnTo>
                    <a:pt x="148" y="25"/>
                  </a:lnTo>
                  <a:lnTo>
                    <a:pt x="140" y="25"/>
                  </a:lnTo>
                  <a:lnTo>
                    <a:pt x="136" y="22"/>
                  </a:lnTo>
                  <a:lnTo>
                    <a:pt x="134" y="25"/>
                  </a:lnTo>
                  <a:lnTo>
                    <a:pt x="121" y="13"/>
                  </a:lnTo>
                  <a:lnTo>
                    <a:pt x="113" y="7"/>
                  </a:lnTo>
                  <a:lnTo>
                    <a:pt x="111" y="7"/>
                  </a:lnTo>
                  <a:lnTo>
                    <a:pt x="105" y="9"/>
                  </a:lnTo>
                  <a:lnTo>
                    <a:pt x="103" y="9"/>
                  </a:lnTo>
                  <a:lnTo>
                    <a:pt x="103" y="7"/>
                  </a:lnTo>
                  <a:lnTo>
                    <a:pt x="96" y="7"/>
                  </a:lnTo>
                  <a:lnTo>
                    <a:pt x="90" y="7"/>
                  </a:lnTo>
                  <a:lnTo>
                    <a:pt x="90" y="4"/>
                  </a:lnTo>
                  <a:lnTo>
                    <a:pt x="88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71" y="4"/>
                  </a:lnTo>
                  <a:lnTo>
                    <a:pt x="57" y="7"/>
                  </a:lnTo>
                  <a:lnTo>
                    <a:pt x="50" y="7"/>
                  </a:lnTo>
                  <a:lnTo>
                    <a:pt x="50" y="9"/>
                  </a:lnTo>
                  <a:lnTo>
                    <a:pt x="55" y="9"/>
                  </a:lnTo>
                  <a:lnTo>
                    <a:pt x="55" y="13"/>
                  </a:lnTo>
                  <a:lnTo>
                    <a:pt x="50" y="16"/>
                  </a:lnTo>
                  <a:lnTo>
                    <a:pt x="55" y="16"/>
                  </a:lnTo>
                  <a:lnTo>
                    <a:pt x="50" y="20"/>
                  </a:lnTo>
                  <a:lnTo>
                    <a:pt x="61" y="22"/>
                  </a:lnTo>
                  <a:lnTo>
                    <a:pt x="57" y="25"/>
                  </a:lnTo>
                  <a:lnTo>
                    <a:pt x="50" y="25"/>
                  </a:lnTo>
                  <a:lnTo>
                    <a:pt x="46" y="25"/>
                  </a:lnTo>
                  <a:lnTo>
                    <a:pt x="40" y="25"/>
                  </a:lnTo>
                  <a:lnTo>
                    <a:pt x="34" y="25"/>
                  </a:lnTo>
                  <a:lnTo>
                    <a:pt x="32" y="25"/>
                  </a:lnTo>
                  <a:lnTo>
                    <a:pt x="32" y="29"/>
                  </a:lnTo>
                  <a:lnTo>
                    <a:pt x="25" y="22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5" y="22"/>
                  </a:lnTo>
                  <a:lnTo>
                    <a:pt x="9" y="25"/>
                  </a:lnTo>
                  <a:lnTo>
                    <a:pt x="7" y="25"/>
                  </a:lnTo>
                  <a:lnTo>
                    <a:pt x="9" y="31"/>
                  </a:lnTo>
                  <a:lnTo>
                    <a:pt x="7" y="31"/>
                  </a:lnTo>
                  <a:lnTo>
                    <a:pt x="2" y="29"/>
                  </a:lnTo>
                  <a:lnTo>
                    <a:pt x="0" y="38"/>
                  </a:lnTo>
                  <a:lnTo>
                    <a:pt x="2" y="40"/>
                  </a:lnTo>
                  <a:lnTo>
                    <a:pt x="2" y="43"/>
                  </a:lnTo>
                  <a:lnTo>
                    <a:pt x="9" y="43"/>
                  </a:lnTo>
                  <a:lnTo>
                    <a:pt x="11" y="49"/>
                  </a:lnTo>
                  <a:lnTo>
                    <a:pt x="21" y="47"/>
                  </a:lnTo>
                  <a:lnTo>
                    <a:pt x="25" y="47"/>
                  </a:lnTo>
                  <a:lnTo>
                    <a:pt x="32" y="49"/>
                  </a:lnTo>
                  <a:lnTo>
                    <a:pt x="38" y="56"/>
                  </a:lnTo>
                  <a:lnTo>
                    <a:pt x="25" y="56"/>
                  </a:lnTo>
                  <a:lnTo>
                    <a:pt x="23" y="58"/>
                  </a:lnTo>
                  <a:lnTo>
                    <a:pt x="25" y="61"/>
                  </a:lnTo>
                  <a:lnTo>
                    <a:pt x="23" y="61"/>
                  </a:lnTo>
                  <a:lnTo>
                    <a:pt x="29" y="72"/>
                  </a:lnTo>
                  <a:lnTo>
                    <a:pt x="32" y="72"/>
                  </a:lnTo>
                  <a:lnTo>
                    <a:pt x="32" y="74"/>
                  </a:lnTo>
                  <a:lnTo>
                    <a:pt x="32" y="76"/>
                  </a:lnTo>
                  <a:lnTo>
                    <a:pt x="34" y="74"/>
                  </a:lnTo>
                  <a:lnTo>
                    <a:pt x="38" y="74"/>
                  </a:lnTo>
                  <a:lnTo>
                    <a:pt x="46" y="81"/>
                  </a:lnTo>
                  <a:lnTo>
                    <a:pt x="48" y="81"/>
                  </a:lnTo>
                  <a:lnTo>
                    <a:pt x="42" y="58"/>
                  </a:lnTo>
                  <a:lnTo>
                    <a:pt x="55" y="56"/>
                  </a:lnTo>
                  <a:lnTo>
                    <a:pt x="71" y="67"/>
                  </a:lnTo>
                  <a:lnTo>
                    <a:pt x="82" y="65"/>
                  </a:lnTo>
                  <a:lnTo>
                    <a:pt x="88" y="72"/>
                  </a:lnTo>
                  <a:lnTo>
                    <a:pt x="90" y="76"/>
                  </a:lnTo>
                  <a:lnTo>
                    <a:pt x="94" y="76"/>
                  </a:lnTo>
                  <a:lnTo>
                    <a:pt x="94" y="81"/>
                  </a:lnTo>
                  <a:lnTo>
                    <a:pt x="103" y="81"/>
                  </a:lnTo>
                  <a:lnTo>
                    <a:pt x="109" y="76"/>
                  </a:lnTo>
                  <a:lnTo>
                    <a:pt x="111" y="74"/>
                  </a:lnTo>
                  <a:lnTo>
                    <a:pt x="111" y="72"/>
                  </a:lnTo>
                  <a:lnTo>
                    <a:pt x="119" y="74"/>
                  </a:lnTo>
                  <a:lnTo>
                    <a:pt x="121" y="72"/>
                  </a:lnTo>
                  <a:lnTo>
                    <a:pt x="121" y="67"/>
                  </a:lnTo>
                  <a:lnTo>
                    <a:pt x="128" y="72"/>
                  </a:lnTo>
                  <a:lnTo>
                    <a:pt x="144" y="72"/>
                  </a:lnTo>
                  <a:lnTo>
                    <a:pt x="151" y="74"/>
                  </a:lnTo>
                  <a:lnTo>
                    <a:pt x="151" y="67"/>
                  </a:lnTo>
                  <a:lnTo>
                    <a:pt x="148" y="58"/>
                  </a:lnTo>
                  <a:lnTo>
                    <a:pt x="153" y="56"/>
                  </a:lnTo>
                  <a:lnTo>
                    <a:pt x="153" y="47"/>
                  </a:lnTo>
                  <a:lnTo>
                    <a:pt x="161" y="47"/>
                  </a:lnTo>
                  <a:lnTo>
                    <a:pt x="165" y="47"/>
                  </a:lnTo>
                  <a:lnTo>
                    <a:pt x="165" y="40"/>
                  </a:lnTo>
                  <a:lnTo>
                    <a:pt x="167" y="3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10" name="Jordan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5126902" y="3485280"/>
              <a:ext cx="110950" cy="111468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6" y="7"/>
                </a:cxn>
                <a:cxn ang="0">
                  <a:pos x="16" y="0"/>
                </a:cxn>
                <a:cxn ang="0">
                  <a:pos x="20" y="7"/>
                </a:cxn>
                <a:cxn ang="0">
                  <a:pos x="8" y="9"/>
                </a:cxn>
                <a:cxn ang="0">
                  <a:pos x="14" y="16"/>
                </a:cxn>
                <a:cxn ang="0">
                  <a:pos x="10" y="18"/>
                </a:cxn>
                <a:cxn ang="0">
                  <a:pos x="8" y="18"/>
                </a:cxn>
                <a:cxn ang="0">
                  <a:pos x="6" y="20"/>
                </a:cxn>
                <a:cxn ang="0">
                  <a:pos x="0" y="20"/>
                </a:cxn>
                <a:cxn ang="0">
                  <a:pos x="2" y="11"/>
                </a:cxn>
                <a:cxn ang="0">
                  <a:pos x="0" y="7"/>
                </a:cxn>
                <a:cxn ang="0">
                  <a:pos x="0" y="4"/>
                </a:cxn>
                <a:cxn ang="0">
                  <a:pos x="2" y="2"/>
                </a:cxn>
              </a:cxnLst>
              <a:rect l="0" t="0" r="r" b="b"/>
              <a:pathLst>
                <a:path w="20" h="20">
                  <a:moveTo>
                    <a:pt x="2" y="2"/>
                  </a:moveTo>
                  <a:lnTo>
                    <a:pt x="6" y="7"/>
                  </a:lnTo>
                  <a:lnTo>
                    <a:pt x="16" y="0"/>
                  </a:lnTo>
                  <a:lnTo>
                    <a:pt x="20" y="7"/>
                  </a:lnTo>
                  <a:lnTo>
                    <a:pt x="8" y="9"/>
                  </a:lnTo>
                  <a:lnTo>
                    <a:pt x="14" y="16"/>
                  </a:lnTo>
                  <a:lnTo>
                    <a:pt x="10" y="18"/>
                  </a:lnTo>
                  <a:lnTo>
                    <a:pt x="8" y="18"/>
                  </a:lnTo>
                  <a:lnTo>
                    <a:pt x="6" y="20"/>
                  </a:lnTo>
                  <a:lnTo>
                    <a:pt x="0" y="20"/>
                  </a:lnTo>
                  <a:lnTo>
                    <a:pt x="2" y="11"/>
                  </a:lnTo>
                  <a:lnTo>
                    <a:pt x="0" y="7"/>
                  </a:lnTo>
                  <a:lnTo>
                    <a:pt x="0" y="4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111" name="Japan"/>
            <p:cNvGrpSpPr/>
            <p:nvPr/>
          </p:nvGrpSpPr>
          <p:grpSpPr>
            <a:xfrm>
              <a:off x="7484590" y="3056125"/>
              <a:ext cx="327303" cy="490462"/>
              <a:chOff x="7484590" y="3056125"/>
              <a:chExt cx="327303" cy="490462"/>
            </a:xfrm>
            <a:grpFill/>
          </p:grpSpPr>
          <p:sp>
            <p:nvSpPr>
              <p:cNvPr id="309" name="Japan"/>
              <p:cNvSpPr>
                <a:spLocks/>
              </p:cNvSpPr>
              <p:nvPr>
                <p:custDataLst>
                  <p:tags r:id="rId211"/>
                </p:custDataLst>
              </p:nvPr>
            </p:nvSpPr>
            <p:spPr bwMode="auto">
              <a:xfrm>
                <a:off x="7484590" y="3474132"/>
                <a:ext cx="61023" cy="72455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4" y="4"/>
                  </a:cxn>
                  <a:cxn ang="0">
                    <a:pos x="4" y="13"/>
                  </a:cxn>
                  <a:cxn ang="0">
                    <a:pos x="9" y="13"/>
                  </a:cxn>
                  <a:cxn ang="0">
                    <a:pos x="11" y="11"/>
                  </a:cxn>
                  <a:cxn ang="0">
                    <a:pos x="11" y="4"/>
                  </a:cxn>
                  <a:cxn ang="0">
                    <a:pos x="9" y="0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11" h="13">
                    <a:moveTo>
                      <a:pt x="0" y="2"/>
                    </a:moveTo>
                    <a:lnTo>
                      <a:pt x="2" y="4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13"/>
                    </a:lnTo>
                    <a:lnTo>
                      <a:pt x="9" y="13"/>
                    </a:lnTo>
                    <a:lnTo>
                      <a:pt x="11" y="11"/>
                    </a:lnTo>
                    <a:lnTo>
                      <a:pt x="11" y="4"/>
                    </a:lnTo>
                    <a:lnTo>
                      <a:pt x="9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10" name="Japan"/>
              <p:cNvSpPr>
                <a:spLocks/>
              </p:cNvSpPr>
              <p:nvPr>
                <p:custDataLst>
                  <p:tags r:id="rId212"/>
                </p:custDataLst>
              </p:nvPr>
            </p:nvSpPr>
            <p:spPr bwMode="auto">
              <a:xfrm>
                <a:off x="7545613" y="3446265"/>
                <a:ext cx="55475" cy="50161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6" y="9"/>
                  </a:cxn>
                  <a:cxn ang="0">
                    <a:pos x="6" y="7"/>
                  </a:cxn>
                  <a:cxn ang="0">
                    <a:pos x="6" y="5"/>
                  </a:cxn>
                  <a:cxn ang="0">
                    <a:pos x="8" y="7"/>
                  </a:cxn>
                  <a:cxn ang="0">
                    <a:pos x="10" y="5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5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0" y="7"/>
                  </a:cxn>
                </a:cxnLst>
                <a:rect l="0" t="0" r="r" b="b"/>
                <a:pathLst>
                  <a:path w="10" h="9">
                    <a:moveTo>
                      <a:pt x="0" y="7"/>
                    </a:moveTo>
                    <a:lnTo>
                      <a:pt x="6" y="9"/>
                    </a:lnTo>
                    <a:lnTo>
                      <a:pt x="6" y="7"/>
                    </a:lnTo>
                    <a:lnTo>
                      <a:pt x="6" y="5"/>
                    </a:lnTo>
                    <a:lnTo>
                      <a:pt x="8" y="7"/>
                    </a:lnTo>
                    <a:lnTo>
                      <a:pt x="10" y="5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5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11" name="Japan"/>
              <p:cNvSpPr>
                <a:spLocks/>
              </p:cNvSpPr>
              <p:nvPr>
                <p:custDataLst>
                  <p:tags r:id="rId213"/>
                </p:custDataLst>
              </p:nvPr>
            </p:nvSpPr>
            <p:spPr bwMode="auto">
              <a:xfrm>
                <a:off x="7495684" y="3206607"/>
                <a:ext cx="232995" cy="278672"/>
              </a:xfrm>
              <a:custGeom>
                <a:avLst/>
                <a:gdLst/>
                <a:ahLst/>
                <a:cxnLst>
                  <a:cxn ang="0">
                    <a:pos x="0" y="43"/>
                  </a:cxn>
                  <a:cxn ang="0">
                    <a:pos x="2" y="48"/>
                  </a:cxn>
                  <a:cxn ang="0">
                    <a:pos x="7" y="48"/>
                  </a:cxn>
                  <a:cxn ang="0">
                    <a:pos x="9" y="43"/>
                  </a:cxn>
                  <a:cxn ang="0">
                    <a:pos x="17" y="41"/>
                  </a:cxn>
                  <a:cxn ang="0">
                    <a:pos x="19" y="41"/>
                  </a:cxn>
                  <a:cxn ang="0">
                    <a:pos x="19" y="48"/>
                  </a:cxn>
                  <a:cxn ang="0">
                    <a:pos x="25" y="50"/>
                  </a:cxn>
                  <a:cxn ang="0">
                    <a:pos x="28" y="43"/>
                  </a:cxn>
                  <a:cxn ang="0">
                    <a:pos x="25" y="41"/>
                  </a:cxn>
                  <a:cxn ang="0">
                    <a:pos x="28" y="41"/>
                  </a:cxn>
                  <a:cxn ang="0">
                    <a:pos x="32" y="41"/>
                  </a:cxn>
                  <a:cxn ang="0">
                    <a:pos x="34" y="39"/>
                  </a:cxn>
                  <a:cxn ang="0">
                    <a:pos x="38" y="41"/>
                  </a:cxn>
                  <a:cxn ang="0">
                    <a:pos x="38" y="39"/>
                  </a:cxn>
                  <a:cxn ang="0">
                    <a:pos x="40" y="41"/>
                  </a:cxn>
                  <a:cxn ang="0">
                    <a:pos x="42" y="39"/>
                  </a:cxn>
                  <a:cxn ang="0">
                    <a:pos x="42" y="34"/>
                  </a:cxn>
                  <a:cxn ang="0">
                    <a:pos x="38" y="23"/>
                  </a:cxn>
                  <a:cxn ang="0">
                    <a:pos x="38" y="18"/>
                  </a:cxn>
                  <a:cxn ang="0">
                    <a:pos x="40" y="18"/>
                  </a:cxn>
                  <a:cxn ang="0">
                    <a:pos x="38" y="16"/>
                  </a:cxn>
                  <a:cxn ang="0">
                    <a:pos x="28" y="5"/>
                  </a:cxn>
                  <a:cxn ang="0">
                    <a:pos x="25" y="0"/>
                  </a:cxn>
                  <a:cxn ang="0">
                    <a:pos x="28" y="5"/>
                  </a:cxn>
                  <a:cxn ang="0">
                    <a:pos x="25" y="5"/>
                  </a:cxn>
                  <a:cxn ang="0">
                    <a:pos x="28" y="16"/>
                  </a:cxn>
                  <a:cxn ang="0">
                    <a:pos x="28" y="25"/>
                  </a:cxn>
                  <a:cxn ang="0">
                    <a:pos x="23" y="27"/>
                  </a:cxn>
                  <a:cxn ang="0">
                    <a:pos x="23" y="25"/>
                  </a:cxn>
                  <a:cxn ang="0">
                    <a:pos x="19" y="25"/>
                  </a:cxn>
                  <a:cxn ang="0">
                    <a:pos x="19" y="34"/>
                  </a:cxn>
                  <a:cxn ang="0">
                    <a:pos x="19" y="39"/>
                  </a:cxn>
                  <a:cxn ang="0">
                    <a:pos x="17" y="34"/>
                  </a:cxn>
                  <a:cxn ang="0">
                    <a:pos x="7" y="39"/>
                  </a:cxn>
                  <a:cxn ang="0">
                    <a:pos x="2" y="41"/>
                  </a:cxn>
                  <a:cxn ang="0">
                    <a:pos x="0" y="43"/>
                  </a:cxn>
                </a:cxnLst>
                <a:rect l="0" t="0" r="r" b="b"/>
                <a:pathLst>
                  <a:path w="42" h="50">
                    <a:moveTo>
                      <a:pt x="0" y="43"/>
                    </a:moveTo>
                    <a:lnTo>
                      <a:pt x="2" y="48"/>
                    </a:lnTo>
                    <a:lnTo>
                      <a:pt x="7" y="48"/>
                    </a:lnTo>
                    <a:lnTo>
                      <a:pt x="9" y="43"/>
                    </a:lnTo>
                    <a:lnTo>
                      <a:pt x="17" y="41"/>
                    </a:lnTo>
                    <a:lnTo>
                      <a:pt x="19" y="41"/>
                    </a:lnTo>
                    <a:lnTo>
                      <a:pt x="19" y="48"/>
                    </a:lnTo>
                    <a:lnTo>
                      <a:pt x="25" y="50"/>
                    </a:lnTo>
                    <a:lnTo>
                      <a:pt x="28" y="43"/>
                    </a:lnTo>
                    <a:lnTo>
                      <a:pt x="25" y="41"/>
                    </a:lnTo>
                    <a:lnTo>
                      <a:pt x="28" y="41"/>
                    </a:lnTo>
                    <a:lnTo>
                      <a:pt x="32" y="41"/>
                    </a:lnTo>
                    <a:lnTo>
                      <a:pt x="34" y="39"/>
                    </a:lnTo>
                    <a:lnTo>
                      <a:pt x="38" y="41"/>
                    </a:lnTo>
                    <a:lnTo>
                      <a:pt x="38" y="39"/>
                    </a:lnTo>
                    <a:lnTo>
                      <a:pt x="40" y="41"/>
                    </a:lnTo>
                    <a:lnTo>
                      <a:pt x="42" y="39"/>
                    </a:lnTo>
                    <a:lnTo>
                      <a:pt x="42" y="34"/>
                    </a:lnTo>
                    <a:lnTo>
                      <a:pt x="38" y="23"/>
                    </a:lnTo>
                    <a:lnTo>
                      <a:pt x="38" y="18"/>
                    </a:lnTo>
                    <a:lnTo>
                      <a:pt x="40" y="18"/>
                    </a:lnTo>
                    <a:lnTo>
                      <a:pt x="38" y="16"/>
                    </a:lnTo>
                    <a:lnTo>
                      <a:pt x="28" y="5"/>
                    </a:lnTo>
                    <a:lnTo>
                      <a:pt x="25" y="0"/>
                    </a:lnTo>
                    <a:lnTo>
                      <a:pt x="28" y="5"/>
                    </a:lnTo>
                    <a:lnTo>
                      <a:pt x="25" y="5"/>
                    </a:lnTo>
                    <a:lnTo>
                      <a:pt x="28" y="16"/>
                    </a:lnTo>
                    <a:lnTo>
                      <a:pt x="28" y="25"/>
                    </a:lnTo>
                    <a:lnTo>
                      <a:pt x="23" y="27"/>
                    </a:lnTo>
                    <a:lnTo>
                      <a:pt x="23" y="25"/>
                    </a:lnTo>
                    <a:lnTo>
                      <a:pt x="19" y="25"/>
                    </a:lnTo>
                    <a:lnTo>
                      <a:pt x="19" y="34"/>
                    </a:lnTo>
                    <a:lnTo>
                      <a:pt x="19" y="39"/>
                    </a:lnTo>
                    <a:lnTo>
                      <a:pt x="17" y="34"/>
                    </a:lnTo>
                    <a:lnTo>
                      <a:pt x="7" y="39"/>
                    </a:lnTo>
                    <a:lnTo>
                      <a:pt x="2" y="41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12" name="Japan"/>
              <p:cNvSpPr>
                <a:spLocks/>
              </p:cNvSpPr>
              <p:nvPr>
                <p:custDataLst>
                  <p:tags r:id="rId214"/>
                </p:custDataLst>
              </p:nvPr>
            </p:nvSpPr>
            <p:spPr bwMode="auto">
              <a:xfrm>
                <a:off x="7589992" y="3095138"/>
                <a:ext cx="138687" cy="139336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6" y="25"/>
                  </a:cxn>
                  <a:cxn ang="0">
                    <a:pos x="8" y="20"/>
                  </a:cxn>
                  <a:cxn ang="0">
                    <a:pos x="6" y="16"/>
                  </a:cxn>
                  <a:cxn ang="0">
                    <a:pos x="8" y="18"/>
                  </a:cxn>
                  <a:cxn ang="0">
                    <a:pos x="11" y="16"/>
                  </a:cxn>
                  <a:cxn ang="0">
                    <a:pos x="17" y="18"/>
                  </a:cxn>
                  <a:cxn ang="0">
                    <a:pos x="21" y="16"/>
                  </a:cxn>
                  <a:cxn ang="0">
                    <a:pos x="23" y="16"/>
                  </a:cxn>
                  <a:cxn ang="0">
                    <a:pos x="25" y="11"/>
                  </a:cxn>
                  <a:cxn ang="0">
                    <a:pos x="23" y="11"/>
                  </a:cxn>
                  <a:cxn ang="0">
                    <a:pos x="21" y="9"/>
                  </a:cxn>
                  <a:cxn ang="0">
                    <a:pos x="21" y="5"/>
                  </a:cxn>
                  <a:cxn ang="0">
                    <a:pos x="17" y="9"/>
                  </a:cxn>
                  <a:cxn ang="0">
                    <a:pos x="15" y="5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6" y="11"/>
                  </a:cxn>
                  <a:cxn ang="0">
                    <a:pos x="2" y="11"/>
                  </a:cxn>
                  <a:cxn ang="0">
                    <a:pos x="2" y="14"/>
                  </a:cxn>
                  <a:cxn ang="0">
                    <a:pos x="2" y="16"/>
                  </a:cxn>
                </a:cxnLst>
                <a:rect l="0" t="0" r="r" b="b"/>
                <a:pathLst>
                  <a:path w="25" h="25">
                    <a:moveTo>
                      <a:pt x="2" y="16"/>
                    </a:moveTo>
                    <a:lnTo>
                      <a:pt x="6" y="25"/>
                    </a:lnTo>
                    <a:lnTo>
                      <a:pt x="8" y="20"/>
                    </a:lnTo>
                    <a:lnTo>
                      <a:pt x="6" y="16"/>
                    </a:lnTo>
                    <a:lnTo>
                      <a:pt x="8" y="18"/>
                    </a:lnTo>
                    <a:lnTo>
                      <a:pt x="11" y="16"/>
                    </a:lnTo>
                    <a:lnTo>
                      <a:pt x="17" y="18"/>
                    </a:lnTo>
                    <a:lnTo>
                      <a:pt x="21" y="16"/>
                    </a:lnTo>
                    <a:lnTo>
                      <a:pt x="23" y="16"/>
                    </a:lnTo>
                    <a:lnTo>
                      <a:pt x="25" y="11"/>
                    </a:lnTo>
                    <a:lnTo>
                      <a:pt x="23" y="11"/>
                    </a:lnTo>
                    <a:lnTo>
                      <a:pt x="21" y="9"/>
                    </a:lnTo>
                    <a:lnTo>
                      <a:pt x="21" y="5"/>
                    </a:lnTo>
                    <a:lnTo>
                      <a:pt x="17" y="9"/>
                    </a:lnTo>
                    <a:lnTo>
                      <a:pt x="15" y="5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11"/>
                    </a:lnTo>
                    <a:lnTo>
                      <a:pt x="2" y="11"/>
                    </a:lnTo>
                    <a:lnTo>
                      <a:pt x="2" y="14"/>
                    </a:lnTo>
                    <a:lnTo>
                      <a:pt x="2" y="16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13" name="Japan"/>
              <p:cNvSpPr>
                <a:spLocks noChangeShapeType="1"/>
              </p:cNvSpPr>
              <p:nvPr>
                <p:custDataLst>
                  <p:tags r:id="rId215"/>
                </p:custDataLst>
              </p:nvPr>
            </p:nvSpPr>
            <p:spPr bwMode="auto">
              <a:xfrm flipV="1">
                <a:off x="7717584" y="3134153"/>
                <a:ext cx="5548" cy="22294"/>
              </a:xfrm>
              <a:prstGeom prst="line">
                <a:avLst/>
              </a:pr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14" name="Japan"/>
              <p:cNvSpPr>
                <a:spLocks/>
              </p:cNvSpPr>
              <p:nvPr>
                <p:custDataLst>
                  <p:tags r:id="rId216"/>
                </p:custDataLst>
              </p:nvPr>
            </p:nvSpPr>
            <p:spPr bwMode="auto">
              <a:xfrm>
                <a:off x="7728680" y="3095138"/>
                <a:ext cx="33285" cy="27867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5"/>
                  </a:cxn>
                </a:cxnLst>
                <a:rect l="0" t="0" r="r" b="b"/>
                <a:pathLst>
                  <a:path w="6" h="5">
                    <a:moveTo>
                      <a:pt x="0" y="5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15" name="Japan"/>
              <p:cNvSpPr>
                <a:spLocks noChangeShapeType="1"/>
              </p:cNvSpPr>
              <p:nvPr>
                <p:custDataLst>
                  <p:tags r:id="rId217"/>
                </p:custDataLst>
              </p:nvPr>
            </p:nvSpPr>
            <p:spPr bwMode="auto">
              <a:xfrm flipV="1">
                <a:off x="7773059" y="3072845"/>
                <a:ext cx="5548" cy="33441"/>
              </a:xfrm>
              <a:prstGeom prst="line">
                <a:avLst/>
              </a:pr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16" name="Japan"/>
              <p:cNvSpPr>
                <a:spLocks noChangeShapeType="1"/>
              </p:cNvSpPr>
              <p:nvPr>
                <p:custDataLst>
                  <p:tags r:id="rId218"/>
                </p:custDataLst>
              </p:nvPr>
            </p:nvSpPr>
            <p:spPr bwMode="auto">
              <a:xfrm>
                <a:off x="7800798" y="3056125"/>
                <a:ext cx="11095" cy="5574"/>
              </a:xfrm>
              <a:prstGeom prst="line">
                <a:avLst/>
              </a:pr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112" name="Jamaica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2220012" y="3964595"/>
              <a:ext cx="44380" cy="111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8" h="2">
                  <a:moveTo>
                    <a:pt x="0" y="0"/>
                  </a:moveTo>
                  <a:lnTo>
                    <a:pt x="2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13" name="Ivory Coast"/>
            <p:cNvSpPr>
              <a:spLocks/>
            </p:cNvSpPr>
            <p:nvPr/>
          </p:nvSpPr>
          <p:spPr bwMode="auto">
            <a:xfrm>
              <a:off x="3985284" y="4198382"/>
              <a:ext cx="170193" cy="215303"/>
            </a:xfrm>
            <a:custGeom>
              <a:avLst/>
              <a:gdLst>
                <a:gd name="T0" fmla="*/ 37 w 469"/>
                <a:gd name="T1" fmla="*/ 245 h 500"/>
                <a:gd name="T2" fmla="*/ 56 w 469"/>
                <a:gd name="T3" fmla="*/ 205 h 500"/>
                <a:gd name="T4" fmla="*/ 62 w 469"/>
                <a:gd name="T5" fmla="*/ 175 h 500"/>
                <a:gd name="T6" fmla="*/ 80 w 469"/>
                <a:gd name="T7" fmla="*/ 166 h 500"/>
                <a:gd name="T8" fmla="*/ 76 w 469"/>
                <a:gd name="T9" fmla="*/ 125 h 500"/>
                <a:gd name="T10" fmla="*/ 50 w 469"/>
                <a:gd name="T11" fmla="*/ 95 h 500"/>
                <a:gd name="T12" fmla="*/ 52 w 469"/>
                <a:gd name="T13" fmla="*/ 57 h 500"/>
                <a:gd name="T14" fmla="*/ 67 w 469"/>
                <a:gd name="T15" fmla="*/ 44 h 500"/>
                <a:gd name="T16" fmla="*/ 97 w 469"/>
                <a:gd name="T17" fmla="*/ 25 h 500"/>
                <a:gd name="T18" fmla="*/ 136 w 469"/>
                <a:gd name="T19" fmla="*/ 47 h 500"/>
                <a:gd name="T20" fmla="*/ 161 w 469"/>
                <a:gd name="T21" fmla="*/ 21 h 500"/>
                <a:gd name="T22" fmla="*/ 181 w 469"/>
                <a:gd name="T23" fmla="*/ 8 h 500"/>
                <a:gd name="T24" fmla="*/ 194 w 469"/>
                <a:gd name="T25" fmla="*/ 39 h 500"/>
                <a:gd name="T26" fmla="*/ 246 w 469"/>
                <a:gd name="T27" fmla="*/ 27 h 500"/>
                <a:gd name="T28" fmla="*/ 261 w 469"/>
                <a:gd name="T29" fmla="*/ 37 h 500"/>
                <a:gd name="T30" fmla="*/ 285 w 469"/>
                <a:gd name="T31" fmla="*/ 61 h 500"/>
                <a:gd name="T32" fmla="*/ 297 w 469"/>
                <a:gd name="T33" fmla="*/ 81 h 500"/>
                <a:gd name="T34" fmla="*/ 299 w 469"/>
                <a:gd name="T35" fmla="*/ 80 h 500"/>
                <a:gd name="T36" fmla="*/ 321 w 469"/>
                <a:gd name="T37" fmla="*/ 88 h 500"/>
                <a:gd name="T38" fmla="*/ 355 w 469"/>
                <a:gd name="T39" fmla="*/ 76 h 500"/>
                <a:gd name="T40" fmla="*/ 413 w 469"/>
                <a:gd name="T41" fmla="*/ 71 h 500"/>
                <a:gd name="T42" fmla="*/ 450 w 469"/>
                <a:gd name="T43" fmla="*/ 103 h 500"/>
                <a:gd name="T44" fmla="*/ 449 w 469"/>
                <a:gd name="T45" fmla="*/ 115 h 500"/>
                <a:gd name="T46" fmla="*/ 458 w 469"/>
                <a:gd name="T47" fmla="*/ 169 h 500"/>
                <a:gd name="T48" fmla="*/ 439 w 469"/>
                <a:gd name="T49" fmla="*/ 227 h 500"/>
                <a:gd name="T50" fmla="*/ 415 w 469"/>
                <a:gd name="T51" fmla="*/ 288 h 500"/>
                <a:gd name="T52" fmla="*/ 419 w 469"/>
                <a:gd name="T53" fmla="*/ 380 h 500"/>
                <a:gd name="T54" fmla="*/ 438 w 469"/>
                <a:gd name="T55" fmla="*/ 410 h 500"/>
                <a:gd name="T56" fmla="*/ 407 w 469"/>
                <a:gd name="T57" fmla="*/ 445 h 500"/>
                <a:gd name="T58" fmla="*/ 376 w 469"/>
                <a:gd name="T59" fmla="*/ 438 h 500"/>
                <a:gd name="T60" fmla="*/ 301 w 469"/>
                <a:gd name="T61" fmla="*/ 436 h 500"/>
                <a:gd name="T62" fmla="*/ 216 w 469"/>
                <a:gd name="T63" fmla="*/ 448 h 500"/>
                <a:gd name="T64" fmla="*/ 136 w 469"/>
                <a:gd name="T65" fmla="*/ 478 h 500"/>
                <a:gd name="T66" fmla="*/ 83 w 469"/>
                <a:gd name="T67" fmla="*/ 500 h 500"/>
                <a:gd name="T68" fmla="*/ 82 w 469"/>
                <a:gd name="T69" fmla="*/ 495 h 500"/>
                <a:gd name="T70" fmla="*/ 81 w 469"/>
                <a:gd name="T71" fmla="*/ 447 h 500"/>
                <a:gd name="T72" fmla="*/ 94 w 469"/>
                <a:gd name="T73" fmla="*/ 418 h 500"/>
                <a:gd name="T74" fmla="*/ 77 w 469"/>
                <a:gd name="T75" fmla="*/ 372 h 500"/>
                <a:gd name="T76" fmla="*/ 53 w 469"/>
                <a:gd name="T77" fmla="*/ 343 h 500"/>
                <a:gd name="T78" fmla="*/ 15 w 469"/>
                <a:gd name="T79" fmla="*/ 330 h 500"/>
                <a:gd name="T80" fmla="*/ 31 w 469"/>
                <a:gd name="T81" fmla="*/ 278 h 500"/>
                <a:gd name="T82" fmla="*/ 19 w 469"/>
                <a:gd name="T83" fmla="*/ 242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69" h="500">
                  <a:moveTo>
                    <a:pt x="19" y="242"/>
                  </a:moveTo>
                  <a:cubicBezTo>
                    <a:pt x="25" y="242"/>
                    <a:pt x="32" y="240"/>
                    <a:pt x="37" y="245"/>
                  </a:cubicBezTo>
                  <a:cubicBezTo>
                    <a:pt x="46" y="237"/>
                    <a:pt x="46" y="226"/>
                    <a:pt x="49" y="216"/>
                  </a:cubicBezTo>
                  <a:cubicBezTo>
                    <a:pt x="46" y="207"/>
                    <a:pt x="63" y="211"/>
                    <a:pt x="56" y="205"/>
                  </a:cubicBezTo>
                  <a:cubicBezTo>
                    <a:pt x="61" y="191"/>
                    <a:pt x="33" y="202"/>
                    <a:pt x="40" y="187"/>
                  </a:cubicBezTo>
                  <a:cubicBezTo>
                    <a:pt x="35" y="172"/>
                    <a:pt x="52" y="169"/>
                    <a:pt x="62" y="175"/>
                  </a:cubicBezTo>
                  <a:cubicBezTo>
                    <a:pt x="65" y="185"/>
                    <a:pt x="71" y="170"/>
                    <a:pt x="72" y="178"/>
                  </a:cubicBezTo>
                  <a:cubicBezTo>
                    <a:pt x="81" y="191"/>
                    <a:pt x="83" y="173"/>
                    <a:pt x="80" y="166"/>
                  </a:cubicBezTo>
                  <a:cubicBezTo>
                    <a:pt x="81" y="151"/>
                    <a:pt x="58" y="156"/>
                    <a:pt x="62" y="144"/>
                  </a:cubicBezTo>
                  <a:cubicBezTo>
                    <a:pt x="58" y="132"/>
                    <a:pt x="78" y="131"/>
                    <a:pt x="76" y="125"/>
                  </a:cubicBezTo>
                  <a:cubicBezTo>
                    <a:pt x="63" y="122"/>
                    <a:pt x="66" y="113"/>
                    <a:pt x="70" y="103"/>
                  </a:cubicBezTo>
                  <a:cubicBezTo>
                    <a:pt x="73" y="100"/>
                    <a:pt x="56" y="110"/>
                    <a:pt x="50" y="95"/>
                  </a:cubicBezTo>
                  <a:cubicBezTo>
                    <a:pt x="51" y="82"/>
                    <a:pt x="53" y="69"/>
                    <a:pt x="52" y="57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5" y="52"/>
                    <a:pt x="63" y="51"/>
                    <a:pt x="65" y="45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8" y="45"/>
                    <a:pt x="70" y="46"/>
                    <a:pt x="75" y="42"/>
                  </a:cubicBezTo>
                  <a:cubicBezTo>
                    <a:pt x="82" y="37"/>
                    <a:pt x="84" y="20"/>
                    <a:pt x="97" y="25"/>
                  </a:cubicBezTo>
                  <a:cubicBezTo>
                    <a:pt x="106" y="16"/>
                    <a:pt x="109" y="49"/>
                    <a:pt x="110" y="34"/>
                  </a:cubicBezTo>
                  <a:cubicBezTo>
                    <a:pt x="115" y="44"/>
                    <a:pt x="130" y="37"/>
                    <a:pt x="136" y="47"/>
                  </a:cubicBezTo>
                  <a:cubicBezTo>
                    <a:pt x="143" y="43"/>
                    <a:pt x="134" y="29"/>
                    <a:pt x="148" y="31"/>
                  </a:cubicBezTo>
                  <a:cubicBezTo>
                    <a:pt x="156" y="33"/>
                    <a:pt x="168" y="32"/>
                    <a:pt x="161" y="21"/>
                  </a:cubicBezTo>
                  <a:cubicBezTo>
                    <a:pt x="160" y="15"/>
                    <a:pt x="165" y="3"/>
                    <a:pt x="170" y="14"/>
                  </a:cubicBezTo>
                  <a:cubicBezTo>
                    <a:pt x="177" y="20"/>
                    <a:pt x="185" y="15"/>
                    <a:pt x="181" y="8"/>
                  </a:cubicBezTo>
                  <a:cubicBezTo>
                    <a:pt x="190" y="0"/>
                    <a:pt x="202" y="8"/>
                    <a:pt x="194" y="18"/>
                  </a:cubicBezTo>
                  <a:cubicBezTo>
                    <a:pt x="199" y="23"/>
                    <a:pt x="199" y="32"/>
                    <a:pt x="194" y="39"/>
                  </a:cubicBezTo>
                  <a:cubicBezTo>
                    <a:pt x="202" y="53"/>
                    <a:pt x="218" y="41"/>
                    <a:pt x="220" y="31"/>
                  </a:cubicBezTo>
                  <a:cubicBezTo>
                    <a:pt x="227" y="28"/>
                    <a:pt x="238" y="24"/>
                    <a:pt x="246" y="27"/>
                  </a:cubicBezTo>
                  <a:cubicBezTo>
                    <a:pt x="247" y="27"/>
                    <a:pt x="247" y="27"/>
                    <a:pt x="247" y="27"/>
                  </a:cubicBezTo>
                  <a:cubicBezTo>
                    <a:pt x="248" y="34"/>
                    <a:pt x="251" y="39"/>
                    <a:pt x="261" y="37"/>
                  </a:cubicBezTo>
                  <a:cubicBezTo>
                    <a:pt x="271" y="33"/>
                    <a:pt x="276" y="43"/>
                    <a:pt x="277" y="48"/>
                  </a:cubicBezTo>
                  <a:cubicBezTo>
                    <a:pt x="282" y="58"/>
                    <a:pt x="279" y="49"/>
                    <a:pt x="285" y="61"/>
                  </a:cubicBezTo>
                  <a:cubicBezTo>
                    <a:pt x="280" y="73"/>
                    <a:pt x="298" y="69"/>
                    <a:pt x="298" y="79"/>
                  </a:cubicBezTo>
                  <a:cubicBezTo>
                    <a:pt x="294" y="76"/>
                    <a:pt x="292" y="76"/>
                    <a:pt x="297" y="81"/>
                  </a:cubicBezTo>
                  <a:cubicBezTo>
                    <a:pt x="297" y="80"/>
                    <a:pt x="298" y="79"/>
                    <a:pt x="298" y="79"/>
                  </a:cubicBezTo>
                  <a:cubicBezTo>
                    <a:pt x="298" y="79"/>
                    <a:pt x="299" y="80"/>
                    <a:pt x="299" y="80"/>
                  </a:cubicBezTo>
                  <a:cubicBezTo>
                    <a:pt x="306" y="88"/>
                    <a:pt x="304" y="85"/>
                    <a:pt x="312" y="84"/>
                  </a:cubicBezTo>
                  <a:cubicBezTo>
                    <a:pt x="319" y="77"/>
                    <a:pt x="315" y="88"/>
                    <a:pt x="321" y="88"/>
                  </a:cubicBezTo>
                  <a:cubicBezTo>
                    <a:pt x="328" y="92"/>
                    <a:pt x="325" y="93"/>
                    <a:pt x="331" y="91"/>
                  </a:cubicBezTo>
                  <a:cubicBezTo>
                    <a:pt x="334" y="81"/>
                    <a:pt x="345" y="75"/>
                    <a:pt x="355" y="76"/>
                  </a:cubicBezTo>
                  <a:cubicBezTo>
                    <a:pt x="365" y="70"/>
                    <a:pt x="377" y="65"/>
                    <a:pt x="388" y="68"/>
                  </a:cubicBezTo>
                  <a:cubicBezTo>
                    <a:pt x="398" y="64"/>
                    <a:pt x="406" y="77"/>
                    <a:pt x="413" y="71"/>
                  </a:cubicBezTo>
                  <a:cubicBezTo>
                    <a:pt x="415" y="74"/>
                    <a:pt x="425" y="85"/>
                    <a:pt x="431" y="87"/>
                  </a:cubicBezTo>
                  <a:cubicBezTo>
                    <a:pt x="434" y="95"/>
                    <a:pt x="442" y="118"/>
                    <a:pt x="450" y="103"/>
                  </a:cubicBezTo>
                  <a:cubicBezTo>
                    <a:pt x="451" y="104"/>
                    <a:pt x="451" y="104"/>
                    <a:pt x="452" y="104"/>
                  </a:cubicBezTo>
                  <a:cubicBezTo>
                    <a:pt x="453" y="108"/>
                    <a:pt x="452" y="112"/>
                    <a:pt x="449" y="115"/>
                  </a:cubicBezTo>
                  <a:cubicBezTo>
                    <a:pt x="456" y="123"/>
                    <a:pt x="435" y="135"/>
                    <a:pt x="450" y="139"/>
                  </a:cubicBezTo>
                  <a:cubicBezTo>
                    <a:pt x="456" y="149"/>
                    <a:pt x="456" y="158"/>
                    <a:pt x="458" y="169"/>
                  </a:cubicBezTo>
                  <a:cubicBezTo>
                    <a:pt x="457" y="180"/>
                    <a:pt x="469" y="199"/>
                    <a:pt x="456" y="203"/>
                  </a:cubicBezTo>
                  <a:cubicBezTo>
                    <a:pt x="457" y="216"/>
                    <a:pt x="440" y="215"/>
                    <a:pt x="439" y="227"/>
                  </a:cubicBezTo>
                  <a:cubicBezTo>
                    <a:pt x="433" y="236"/>
                    <a:pt x="428" y="247"/>
                    <a:pt x="427" y="257"/>
                  </a:cubicBezTo>
                  <a:cubicBezTo>
                    <a:pt x="423" y="268"/>
                    <a:pt x="427" y="282"/>
                    <a:pt x="415" y="288"/>
                  </a:cubicBezTo>
                  <a:cubicBezTo>
                    <a:pt x="405" y="301"/>
                    <a:pt x="403" y="316"/>
                    <a:pt x="404" y="332"/>
                  </a:cubicBezTo>
                  <a:cubicBezTo>
                    <a:pt x="408" y="349"/>
                    <a:pt x="414" y="364"/>
                    <a:pt x="419" y="380"/>
                  </a:cubicBezTo>
                  <a:cubicBezTo>
                    <a:pt x="415" y="388"/>
                    <a:pt x="422" y="390"/>
                    <a:pt x="422" y="396"/>
                  </a:cubicBezTo>
                  <a:cubicBezTo>
                    <a:pt x="431" y="396"/>
                    <a:pt x="439" y="399"/>
                    <a:pt x="438" y="410"/>
                  </a:cubicBezTo>
                  <a:cubicBezTo>
                    <a:pt x="444" y="418"/>
                    <a:pt x="432" y="418"/>
                    <a:pt x="436" y="427"/>
                  </a:cubicBezTo>
                  <a:cubicBezTo>
                    <a:pt x="443" y="454"/>
                    <a:pt x="413" y="433"/>
                    <a:pt x="407" y="445"/>
                  </a:cubicBezTo>
                  <a:cubicBezTo>
                    <a:pt x="407" y="445"/>
                    <a:pt x="407" y="445"/>
                    <a:pt x="407" y="445"/>
                  </a:cubicBezTo>
                  <a:cubicBezTo>
                    <a:pt x="397" y="442"/>
                    <a:pt x="387" y="439"/>
                    <a:pt x="376" y="438"/>
                  </a:cubicBezTo>
                  <a:cubicBezTo>
                    <a:pt x="367" y="437"/>
                    <a:pt x="360" y="430"/>
                    <a:pt x="351" y="431"/>
                  </a:cubicBezTo>
                  <a:cubicBezTo>
                    <a:pt x="334" y="432"/>
                    <a:pt x="317" y="433"/>
                    <a:pt x="301" y="436"/>
                  </a:cubicBezTo>
                  <a:cubicBezTo>
                    <a:pt x="282" y="438"/>
                    <a:pt x="262" y="439"/>
                    <a:pt x="243" y="444"/>
                  </a:cubicBezTo>
                  <a:cubicBezTo>
                    <a:pt x="234" y="442"/>
                    <a:pt x="225" y="446"/>
                    <a:pt x="216" y="448"/>
                  </a:cubicBezTo>
                  <a:cubicBezTo>
                    <a:pt x="206" y="449"/>
                    <a:pt x="198" y="455"/>
                    <a:pt x="189" y="459"/>
                  </a:cubicBezTo>
                  <a:cubicBezTo>
                    <a:pt x="171" y="464"/>
                    <a:pt x="154" y="471"/>
                    <a:pt x="136" y="478"/>
                  </a:cubicBezTo>
                  <a:cubicBezTo>
                    <a:pt x="126" y="485"/>
                    <a:pt x="113" y="488"/>
                    <a:pt x="103" y="496"/>
                  </a:cubicBezTo>
                  <a:cubicBezTo>
                    <a:pt x="97" y="500"/>
                    <a:pt x="90" y="499"/>
                    <a:pt x="83" y="500"/>
                  </a:cubicBezTo>
                  <a:cubicBezTo>
                    <a:pt x="83" y="500"/>
                    <a:pt x="83" y="500"/>
                    <a:pt x="83" y="500"/>
                  </a:cubicBezTo>
                  <a:cubicBezTo>
                    <a:pt x="82" y="495"/>
                    <a:pt x="82" y="495"/>
                    <a:pt x="82" y="495"/>
                  </a:cubicBezTo>
                  <a:cubicBezTo>
                    <a:pt x="79" y="494"/>
                    <a:pt x="79" y="494"/>
                    <a:pt x="79" y="494"/>
                  </a:cubicBezTo>
                  <a:cubicBezTo>
                    <a:pt x="81" y="479"/>
                    <a:pt x="75" y="459"/>
                    <a:pt x="81" y="447"/>
                  </a:cubicBezTo>
                  <a:cubicBezTo>
                    <a:pt x="77" y="438"/>
                    <a:pt x="84" y="436"/>
                    <a:pt x="87" y="429"/>
                  </a:cubicBezTo>
                  <a:cubicBezTo>
                    <a:pt x="85" y="420"/>
                    <a:pt x="91" y="422"/>
                    <a:pt x="94" y="418"/>
                  </a:cubicBezTo>
                  <a:cubicBezTo>
                    <a:pt x="86" y="410"/>
                    <a:pt x="98" y="398"/>
                    <a:pt x="91" y="388"/>
                  </a:cubicBezTo>
                  <a:cubicBezTo>
                    <a:pt x="96" y="375"/>
                    <a:pt x="84" y="379"/>
                    <a:pt x="77" y="372"/>
                  </a:cubicBezTo>
                  <a:cubicBezTo>
                    <a:pt x="69" y="374"/>
                    <a:pt x="66" y="365"/>
                    <a:pt x="63" y="361"/>
                  </a:cubicBezTo>
                  <a:cubicBezTo>
                    <a:pt x="64" y="359"/>
                    <a:pt x="62" y="343"/>
                    <a:pt x="53" y="343"/>
                  </a:cubicBezTo>
                  <a:cubicBezTo>
                    <a:pt x="41" y="344"/>
                    <a:pt x="29" y="341"/>
                    <a:pt x="21" y="335"/>
                  </a:cubicBezTo>
                  <a:cubicBezTo>
                    <a:pt x="21" y="327"/>
                    <a:pt x="21" y="328"/>
                    <a:pt x="15" y="330"/>
                  </a:cubicBezTo>
                  <a:cubicBezTo>
                    <a:pt x="0" y="326"/>
                    <a:pt x="14" y="319"/>
                    <a:pt x="19" y="313"/>
                  </a:cubicBezTo>
                  <a:cubicBezTo>
                    <a:pt x="31" y="305"/>
                    <a:pt x="29" y="290"/>
                    <a:pt x="31" y="278"/>
                  </a:cubicBezTo>
                  <a:cubicBezTo>
                    <a:pt x="24" y="267"/>
                    <a:pt x="25" y="254"/>
                    <a:pt x="19" y="244"/>
                  </a:cubicBezTo>
                  <a:lnTo>
                    <a:pt x="19" y="24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114" name="Italy"/>
            <p:cNvGrpSpPr/>
            <p:nvPr/>
          </p:nvGrpSpPr>
          <p:grpSpPr>
            <a:xfrm>
              <a:off x="4416821" y="3044978"/>
              <a:ext cx="277375" cy="289819"/>
              <a:chOff x="4416821" y="3044978"/>
              <a:chExt cx="277375" cy="289819"/>
            </a:xfrm>
            <a:grpFill/>
          </p:grpSpPr>
          <p:sp>
            <p:nvSpPr>
              <p:cNvPr id="307" name="Italy"/>
              <p:cNvSpPr>
                <a:spLocks/>
              </p:cNvSpPr>
              <p:nvPr>
                <p:custDataLst>
                  <p:tags r:id="rId209"/>
                </p:custDataLst>
              </p:nvPr>
            </p:nvSpPr>
            <p:spPr bwMode="auto">
              <a:xfrm>
                <a:off x="4567485" y="3259554"/>
                <a:ext cx="83212" cy="50161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0" y="7"/>
                  </a:cxn>
                  <a:cxn ang="0">
                    <a:pos x="13" y="9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5" y="5"/>
                  </a:cxn>
                  <a:cxn ang="0">
                    <a:pos x="2" y="5"/>
                  </a:cxn>
                  <a:cxn ang="0">
                    <a:pos x="0" y="5"/>
                  </a:cxn>
                </a:cxnLst>
                <a:rect l="0" t="0" r="r" b="b"/>
                <a:pathLst>
                  <a:path w="15" h="9">
                    <a:moveTo>
                      <a:pt x="0" y="5"/>
                    </a:moveTo>
                    <a:lnTo>
                      <a:pt x="0" y="7"/>
                    </a:lnTo>
                    <a:lnTo>
                      <a:pt x="13" y="9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5" y="5"/>
                    </a:lnTo>
                    <a:lnTo>
                      <a:pt x="2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08" name="Italy"/>
              <p:cNvSpPr>
                <a:spLocks/>
              </p:cNvSpPr>
              <p:nvPr>
                <p:custDataLst>
                  <p:tags r:id="rId210"/>
                </p:custDataLst>
              </p:nvPr>
            </p:nvSpPr>
            <p:spPr bwMode="auto">
              <a:xfrm>
                <a:off x="4416821" y="3044978"/>
                <a:ext cx="277375" cy="289819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2" y="5"/>
                  </a:cxn>
                  <a:cxn ang="0">
                    <a:pos x="9" y="2"/>
                  </a:cxn>
                  <a:cxn ang="0">
                    <a:pos x="11" y="5"/>
                  </a:cxn>
                  <a:cxn ang="0">
                    <a:pos x="11" y="2"/>
                  </a:cxn>
                  <a:cxn ang="0">
                    <a:pos x="15" y="2"/>
                  </a:cxn>
                  <a:cxn ang="0">
                    <a:pos x="17" y="0"/>
                  </a:cxn>
                  <a:cxn ang="0">
                    <a:pos x="23" y="0"/>
                  </a:cxn>
                  <a:cxn ang="0">
                    <a:pos x="25" y="0"/>
                  </a:cxn>
                  <a:cxn ang="0">
                    <a:pos x="32" y="2"/>
                  </a:cxn>
                  <a:cxn ang="0">
                    <a:pos x="32" y="5"/>
                  </a:cxn>
                  <a:cxn ang="0">
                    <a:pos x="32" y="9"/>
                  </a:cxn>
                  <a:cxn ang="0">
                    <a:pos x="30" y="5"/>
                  </a:cxn>
                  <a:cxn ang="0">
                    <a:pos x="25" y="9"/>
                  </a:cxn>
                  <a:cxn ang="0">
                    <a:pos x="25" y="14"/>
                  </a:cxn>
                  <a:cxn ang="0">
                    <a:pos x="32" y="20"/>
                  </a:cxn>
                  <a:cxn ang="0">
                    <a:pos x="34" y="27"/>
                  </a:cxn>
                  <a:cxn ang="0">
                    <a:pos x="38" y="29"/>
                  </a:cxn>
                  <a:cxn ang="0">
                    <a:pos x="42" y="29"/>
                  </a:cxn>
                  <a:cxn ang="0">
                    <a:pos x="40" y="29"/>
                  </a:cxn>
                  <a:cxn ang="0">
                    <a:pos x="50" y="38"/>
                  </a:cxn>
                  <a:cxn ang="0">
                    <a:pos x="46" y="36"/>
                  </a:cxn>
                  <a:cxn ang="0">
                    <a:pos x="42" y="43"/>
                  </a:cxn>
                  <a:cxn ang="0">
                    <a:pos x="46" y="43"/>
                  </a:cxn>
                  <a:cxn ang="0">
                    <a:pos x="46" y="45"/>
                  </a:cxn>
                  <a:cxn ang="0">
                    <a:pos x="42" y="45"/>
                  </a:cxn>
                  <a:cxn ang="0">
                    <a:pos x="42" y="52"/>
                  </a:cxn>
                  <a:cxn ang="0">
                    <a:pos x="40" y="52"/>
                  </a:cxn>
                  <a:cxn ang="0">
                    <a:pos x="42" y="45"/>
                  </a:cxn>
                  <a:cxn ang="0">
                    <a:pos x="40" y="38"/>
                  </a:cxn>
                  <a:cxn ang="0">
                    <a:pos x="32" y="34"/>
                  </a:cxn>
                  <a:cxn ang="0">
                    <a:pos x="25" y="29"/>
                  </a:cxn>
                  <a:cxn ang="0">
                    <a:pos x="23" y="27"/>
                  </a:cxn>
                  <a:cxn ang="0">
                    <a:pos x="21" y="27"/>
                  </a:cxn>
                  <a:cxn ang="0">
                    <a:pos x="15" y="18"/>
                  </a:cxn>
                  <a:cxn ang="0">
                    <a:pos x="9" y="14"/>
                  </a:cxn>
                  <a:cxn ang="0">
                    <a:pos x="7" y="18"/>
                  </a:cxn>
                  <a:cxn ang="0">
                    <a:pos x="2" y="16"/>
                  </a:cxn>
                  <a:cxn ang="0">
                    <a:pos x="0" y="11"/>
                  </a:cxn>
                </a:cxnLst>
                <a:rect l="0" t="0" r="r" b="b"/>
                <a:pathLst>
                  <a:path w="50" h="52">
                    <a:moveTo>
                      <a:pt x="0" y="11"/>
                    </a:moveTo>
                    <a:lnTo>
                      <a:pt x="2" y="5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1" y="2"/>
                    </a:lnTo>
                    <a:lnTo>
                      <a:pt x="15" y="2"/>
                    </a:lnTo>
                    <a:lnTo>
                      <a:pt x="17" y="0"/>
                    </a:lnTo>
                    <a:lnTo>
                      <a:pt x="23" y="0"/>
                    </a:lnTo>
                    <a:lnTo>
                      <a:pt x="25" y="0"/>
                    </a:lnTo>
                    <a:lnTo>
                      <a:pt x="32" y="2"/>
                    </a:lnTo>
                    <a:lnTo>
                      <a:pt x="32" y="5"/>
                    </a:lnTo>
                    <a:lnTo>
                      <a:pt x="32" y="9"/>
                    </a:lnTo>
                    <a:lnTo>
                      <a:pt x="30" y="5"/>
                    </a:lnTo>
                    <a:lnTo>
                      <a:pt x="25" y="9"/>
                    </a:lnTo>
                    <a:lnTo>
                      <a:pt x="25" y="14"/>
                    </a:lnTo>
                    <a:lnTo>
                      <a:pt x="32" y="20"/>
                    </a:lnTo>
                    <a:lnTo>
                      <a:pt x="34" y="27"/>
                    </a:lnTo>
                    <a:lnTo>
                      <a:pt x="38" y="29"/>
                    </a:lnTo>
                    <a:lnTo>
                      <a:pt x="42" y="29"/>
                    </a:lnTo>
                    <a:lnTo>
                      <a:pt x="40" y="29"/>
                    </a:lnTo>
                    <a:lnTo>
                      <a:pt x="50" y="38"/>
                    </a:lnTo>
                    <a:lnTo>
                      <a:pt x="46" y="36"/>
                    </a:lnTo>
                    <a:lnTo>
                      <a:pt x="42" y="43"/>
                    </a:lnTo>
                    <a:lnTo>
                      <a:pt x="46" y="43"/>
                    </a:lnTo>
                    <a:lnTo>
                      <a:pt x="46" y="45"/>
                    </a:lnTo>
                    <a:lnTo>
                      <a:pt x="42" y="45"/>
                    </a:lnTo>
                    <a:lnTo>
                      <a:pt x="42" y="52"/>
                    </a:lnTo>
                    <a:lnTo>
                      <a:pt x="40" y="52"/>
                    </a:lnTo>
                    <a:lnTo>
                      <a:pt x="42" y="45"/>
                    </a:lnTo>
                    <a:lnTo>
                      <a:pt x="40" y="38"/>
                    </a:lnTo>
                    <a:lnTo>
                      <a:pt x="32" y="34"/>
                    </a:lnTo>
                    <a:lnTo>
                      <a:pt x="25" y="29"/>
                    </a:lnTo>
                    <a:lnTo>
                      <a:pt x="23" y="27"/>
                    </a:lnTo>
                    <a:lnTo>
                      <a:pt x="21" y="27"/>
                    </a:lnTo>
                    <a:lnTo>
                      <a:pt x="15" y="18"/>
                    </a:lnTo>
                    <a:lnTo>
                      <a:pt x="9" y="14"/>
                    </a:lnTo>
                    <a:lnTo>
                      <a:pt x="7" y="18"/>
                    </a:lnTo>
                    <a:lnTo>
                      <a:pt x="2" y="16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115" name="Israel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5115807" y="3485280"/>
              <a:ext cx="22190" cy="111468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2" y="7"/>
                </a:cxn>
                <a:cxn ang="0">
                  <a:pos x="4" y="11"/>
                </a:cxn>
                <a:cxn ang="0">
                  <a:pos x="2" y="20"/>
                </a:cxn>
                <a:cxn ang="0">
                  <a:pos x="0" y="11"/>
                </a:cxn>
                <a:cxn ang="0">
                  <a:pos x="0" y="9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2"/>
                </a:cxn>
              </a:cxnLst>
              <a:rect l="0" t="0" r="r" b="b"/>
              <a:pathLst>
                <a:path w="4" h="20">
                  <a:moveTo>
                    <a:pt x="4" y="2"/>
                  </a:moveTo>
                  <a:lnTo>
                    <a:pt x="2" y="7"/>
                  </a:lnTo>
                  <a:lnTo>
                    <a:pt x="4" y="11"/>
                  </a:lnTo>
                  <a:lnTo>
                    <a:pt x="2" y="20"/>
                  </a:lnTo>
                  <a:lnTo>
                    <a:pt x="0" y="11"/>
                  </a:lnTo>
                  <a:lnTo>
                    <a:pt x="0" y="9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16" name="Ireland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4034045" y="2783026"/>
              <a:ext cx="116498" cy="122616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5" y="7"/>
                </a:cxn>
                <a:cxn ang="0">
                  <a:pos x="21" y="7"/>
                </a:cxn>
                <a:cxn ang="0">
                  <a:pos x="21" y="13"/>
                </a:cxn>
                <a:cxn ang="0">
                  <a:pos x="19" y="20"/>
                </a:cxn>
                <a:cxn ang="0">
                  <a:pos x="5" y="22"/>
                </a:cxn>
                <a:cxn ang="0">
                  <a:pos x="0" y="20"/>
                </a:cxn>
                <a:cxn ang="0">
                  <a:pos x="5" y="20"/>
                </a:cxn>
                <a:cxn ang="0">
                  <a:pos x="11" y="13"/>
                </a:cxn>
                <a:cxn ang="0">
                  <a:pos x="5" y="9"/>
                </a:cxn>
                <a:cxn ang="0">
                  <a:pos x="7" y="9"/>
                </a:cxn>
                <a:cxn ang="0">
                  <a:pos x="5" y="7"/>
                </a:cxn>
                <a:cxn ang="0">
                  <a:pos x="7" y="7"/>
                </a:cxn>
                <a:cxn ang="0">
                  <a:pos x="11" y="7"/>
                </a:cxn>
                <a:cxn ang="0">
                  <a:pos x="13" y="4"/>
                </a:cxn>
                <a:cxn ang="0">
                  <a:pos x="11" y="4"/>
                </a:cxn>
                <a:cxn ang="0">
                  <a:pos x="13" y="0"/>
                </a:cxn>
                <a:cxn ang="0">
                  <a:pos x="15" y="0"/>
                </a:cxn>
                <a:cxn ang="0">
                  <a:pos x="13" y="2"/>
                </a:cxn>
                <a:cxn ang="0">
                  <a:pos x="13" y="4"/>
                </a:cxn>
              </a:cxnLst>
              <a:rect l="0" t="0" r="r" b="b"/>
              <a:pathLst>
                <a:path w="21" h="22">
                  <a:moveTo>
                    <a:pt x="13" y="4"/>
                  </a:moveTo>
                  <a:lnTo>
                    <a:pt x="15" y="7"/>
                  </a:lnTo>
                  <a:lnTo>
                    <a:pt x="21" y="7"/>
                  </a:lnTo>
                  <a:lnTo>
                    <a:pt x="21" y="13"/>
                  </a:lnTo>
                  <a:lnTo>
                    <a:pt x="19" y="20"/>
                  </a:lnTo>
                  <a:lnTo>
                    <a:pt x="5" y="22"/>
                  </a:lnTo>
                  <a:lnTo>
                    <a:pt x="0" y="20"/>
                  </a:lnTo>
                  <a:lnTo>
                    <a:pt x="5" y="20"/>
                  </a:lnTo>
                  <a:lnTo>
                    <a:pt x="11" y="13"/>
                  </a:lnTo>
                  <a:lnTo>
                    <a:pt x="5" y="9"/>
                  </a:lnTo>
                  <a:lnTo>
                    <a:pt x="7" y="9"/>
                  </a:lnTo>
                  <a:lnTo>
                    <a:pt x="5" y="7"/>
                  </a:lnTo>
                  <a:lnTo>
                    <a:pt x="7" y="7"/>
                  </a:lnTo>
                  <a:lnTo>
                    <a:pt x="11" y="7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3" y="2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17" name="Iraq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5215662" y="3345944"/>
              <a:ext cx="255185" cy="278672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32" y="14"/>
                </a:cxn>
                <a:cxn ang="0">
                  <a:pos x="30" y="18"/>
                </a:cxn>
                <a:cxn ang="0">
                  <a:pos x="32" y="25"/>
                </a:cxn>
                <a:cxn ang="0">
                  <a:pos x="40" y="27"/>
                </a:cxn>
                <a:cxn ang="0">
                  <a:pos x="40" y="36"/>
                </a:cxn>
                <a:cxn ang="0">
                  <a:pos x="46" y="43"/>
                </a:cxn>
                <a:cxn ang="0">
                  <a:pos x="40" y="43"/>
                </a:cxn>
                <a:cxn ang="0">
                  <a:pos x="38" y="50"/>
                </a:cxn>
                <a:cxn ang="0">
                  <a:pos x="32" y="45"/>
                </a:cxn>
                <a:cxn ang="0">
                  <a:pos x="30" y="50"/>
                </a:cxn>
                <a:cxn ang="0">
                  <a:pos x="23" y="45"/>
                </a:cxn>
                <a:cxn ang="0">
                  <a:pos x="23" y="41"/>
                </a:cxn>
                <a:cxn ang="0">
                  <a:pos x="21" y="41"/>
                </a:cxn>
                <a:cxn ang="0">
                  <a:pos x="9" y="34"/>
                </a:cxn>
                <a:cxn ang="0">
                  <a:pos x="4" y="32"/>
                </a:cxn>
                <a:cxn ang="0">
                  <a:pos x="0" y="25"/>
                </a:cxn>
                <a:cxn ang="0">
                  <a:pos x="9" y="18"/>
                </a:cxn>
                <a:cxn ang="0">
                  <a:pos x="9" y="7"/>
                </a:cxn>
                <a:cxn ang="0">
                  <a:pos x="15" y="0"/>
                </a:cxn>
                <a:cxn ang="0">
                  <a:pos x="17" y="0"/>
                </a:cxn>
                <a:cxn ang="0">
                  <a:pos x="21" y="0"/>
                </a:cxn>
                <a:cxn ang="0">
                  <a:pos x="25" y="0"/>
                </a:cxn>
              </a:cxnLst>
              <a:rect l="0" t="0" r="r" b="b"/>
              <a:pathLst>
                <a:path w="46" h="50">
                  <a:moveTo>
                    <a:pt x="25" y="0"/>
                  </a:moveTo>
                  <a:lnTo>
                    <a:pt x="32" y="14"/>
                  </a:lnTo>
                  <a:lnTo>
                    <a:pt x="30" y="18"/>
                  </a:lnTo>
                  <a:lnTo>
                    <a:pt x="32" y="25"/>
                  </a:lnTo>
                  <a:lnTo>
                    <a:pt x="40" y="27"/>
                  </a:lnTo>
                  <a:lnTo>
                    <a:pt x="40" y="36"/>
                  </a:lnTo>
                  <a:lnTo>
                    <a:pt x="46" y="43"/>
                  </a:lnTo>
                  <a:lnTo>
                    <a:pt x="40" y="43"/>
                  </a:lnTo>
                  <a:lnTo>
                    <a:pt x="38" y="50"/>
                  </a:lnTo>
                  <a:lnTo>
                    <a:pt x="32" y="45"/>
                  </a:lnTo>
                  <a:lnTo>
                    <a:pt x="30" y="50"/>
                  </a:lnTo>
                  <a:lnTo>
                    <a:pt x="23" y="45"/>
                  </a:lnTo>
                  <a:lnTo>
                    <a:pt x="23" y="41"/>
                  </a:lnTo>
                  <a:lnTo>
                    <a:pt x="21" y="41"/>
                  </a:lnTo>
                  <a:lnTo>
                    <a:pt x="9" y="34"/>
                  </a:lnTo>
                  <a:lnTo>
                    <a:pt x="4" y="32"/>
                  </a:lnTo>
                  <a:lnTo>
                    <a:pt x="0" y="25"/>
                  </a:lnTo>
                  <a:lnTo>
                    <a:pt x="9" y="18"/>
                  </a:lnTo>
                  <a:lnTo>
                    <a:pt x="9" y="7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21" y="0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18" name="Iran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5332159" y="3256768"/>
              <a:ext cx="510370" cy="479316"/>
            </a:xfrm>
            <a:custGeom>
              <a:avLst/>
              <a:gdLst/>
              <a:ahLst/>
              <a:cxnLst>
                <a:cxn ang="0">
                  <a:pos x="67" y="84"/>
                </a:cxn>
                <a:cxn ang="0">
                  <a:pos x="65" y="77"/>
                </a:cxn>
                <a:cxn ang="0">
                  <a:pos x="57" y="82"/>
                </a:cxn>
                <a:cxn ang="0">
                  <a:pos x="50" y="82"/>
                </a:cxn>
                <a:cxn ang="0">
                  <a:pos x="40" y="73"/>
                </a:cxn>
                <a:cxn ang="0">
                  <a:pos x="34" y="59"/>
                </a:cxn>
                <a:cxn ang="0">
                  <a:pos x="27" y="57"/>
                </a:cxn>
                <a:cxn ang="0">
                  <a:pos x="25" y="59"/>
                </a:cxn>
                <a:cxn ang="0">
                  <a:pos x="19" y="52"/>
                </a:cxn>
                <a:cxn ang="0">
                  <a:pos x="19" y="43"/>
                </a:cxn>
                <a:cxn ang="0">
                  <a:pos x="11" y="41"/>
                </a:cxn>
                <a:cxn ang="0">
                  <a:pos x="9" y="34"/>
                </a:cxn>
                <a:cxn ang="0">
                  <a:pos x="11" y="30"/>
                </a:cxn>
                <a:cxn ang="0">
                  <a:pos x="4" y="16"/>
                </a:cxn>
                <a:cxn ang="0">
                  <a:pos x="0" y="5"/>
                </a:cxn>
                <a:cxn ang="0">
                  <a:pos x="2" y="0"/>
                </a:cxn>
                <a:cxn ang="0">
                  <a:pos x="4" y="7"/>
                </a:cxn>
                <a:cxn ang="0">
                  <a:pos x="9" y="7"/>
                </a:cxn>
                <a:cxn ang="0">
                  <a:pos x="11" y="7"/>
                </a:cxn>
                <a:cxn ang="0">
                  <a:pos x="17" y="5"/>
                </a:cxn>
                <a:cxn ang="0">
                  <a:pos x="17" y="7"/>
                </a:cxn>
                <a:cxn ang="0">
                  <a:pos x="23" y="9"/>
                </a:cxn>
                <a:cxn ang="0">
                  <a:pos x="23" y="16"/>
                </a:cxn>
                <a:cxn ang="0">
                  <a:pos x="34" y="23"/>
                </a:cxn>
                <a:cxn ang="0">
                  <a:pos x="44" y="18"/>
                </a:cxn>
                <a:cxn ang="0">
                  <a:pos x="44" y="16"/>
                </a:cxn>
                <a:cxn ang="0">
                  <a:pos x="50" y="14"/>
                </a:cxn>
                <a:cxn ang="0">
                  <a:pos x="57" y="9"/>
                </a:cxn>
                <a:cxn ang="0">
                  <a:pos x="79" y="23"/>
                </a:cxn>
                <a:cxn ang="0">
                  <a:pos x="79" y="25"/>
                </a:cxn>
                <a:cxn ang="0">
                  <a:pos x="79" y="32"/>
                </a:cxn>
                <a:cxn ang="0">
                  <a:pos x="75" y="34"/>
                </a:cxn>
                <a:cxn ang="0">
                  <a:pos x="75" y="39"/>
                </a:cxn>
                <a:cxn ang="0">
                  <a:pos x="79" y="50"/>
                </a:cxn>
                <a:cxn ang="0">
                  <a:pos x="84" y="50"/>
                </a:cxn>
                <a:cxn ang="0">
                  <a:pos x="84" y="52"/>
                </a:cxn>
                <a:cxn ang="0">
                  <a:pos x="82" y="59"/>
                </a:cxn>
                <a:cxn ang="0">
                  <a:pos x="88" y="68"/>
                </a:cxn>
                <a:cxn ang="0">
                  <a:pos x="90" y="68"/>
                </a:cxn>
                <a:cxn ang="0">
                  <a:pos x="92" y="75"/>
                </a:cxn>
                <a:cxn ang="0">
                  <a:pos x="92" y="77"/>
                </a:cxn>
                <a:cxn ang="0">
                  <a:pos x="88" y="82"/>
                </a:cxn>
                <a:cxn ang="0">
                  <a:pos x="88" y="86"/>
                </a:cxn>
                <a:cxn ang="0">
                  <a:pos x="77" y="86"/>
                </a:cxn>
                <a:cxn ang="0">
                  <a:pos x="69" y="84"/>
                </a:cxn>
                <a:cxn ang="0">
                  <a:pos x="67" y="84"/>
                </a:cxn>
              </a:cxnLst>
              <a:rect l="0" t="0" r="r" b="b"/>
              <a:pathLst>
                <a:path w="92" h="86">
                  <a:moveTo>
                    <a:pt x="67" y="84"/>
                  </a:moveTo>
                  <a:lnTo>
                    <a:pt x="65" y="77"/>
                  </a:lnTo>
                  <a:lnTo>
                    <a:pt x="57" y="82"/>
                  </a:lnTo>
                  <a:lnTo>
                    <a:pt x="50" y="82"/>
                  </a:lnTo>
                  <a:lnTo>
                    <a:pt x="40" y="73"/>
                  </a:lnTo>
                  <a:lnTo>
                    <a:pt x="34" y="59"/>
                  </a:lnTo>
                  <a:lnTo>
                    <a:pt x="27" y="57"/>
                  </a:lnTo>
                  <a:lnTo>
                    <a:pt x="25" y="59"/>
                  </a:lnTo>
                  <a:lnTo>
                    <a:pt x="19" y="52"/>
                  </a:lnTo>
                  <a:lnTo>
                    <a:pt x="19" y="43"/>
                  </a:lnTo>
                  <a:lnTo>
                    <a:pt x="11" y="41"/>
                  </a:lnTo>
                  <a:lnTo>
                    <a:pt x="9" y="34"/>
                  </a:lnTo>
                  <a:lnTo>
                    <a:pt x="11" y="30"/>
                  </a:lnTo>
                  <a:lnTo>
                    <a:pt x="4" y="16"/>
                  </a:lnTo>
                  <a:lnTo>
                    <a:pt x="0" y="5"/>
                  </a:lnTo>
                  <a:lnTo>
                    <a:pt x="2" y="0"/>
                  </a:lnTo>
                  <a:lnTo>
                    <a:pt x="4" y="7"/>
                  </a:lnTo>
                  <a:lnTo>
                    <a:pt x="9" y="7"/>
                  </a:lnTo>
                  <a:lnTo>
                    <a:pt x="11" y="7"/>
                  </a:lnTo>
                  <a:lnTo>
                    <a:pt x="17" y="5"/>
                  </a:lnTo>
                  <a:lnTo>
                    <a:pt x="17" y="7"/>
                  </a:lnTo>
                  <a:lnTo>
                    <a:pt x="23" y="9"/>
                  </a:lnTo>
                  <a:lnTo>
                    <a:pt x="23" y="16"/>
                  </a:lnTo>
                  <a:lnTo>
                    <a:pt x="34" y="23"/>
                  </a:lnTo>
                  <a:lnTo>
                    <a:pt x="44" y="18"/>
                  </a:lnTo>
                  <a:lnTo>
                    <a:pt x="44" y="16"/>
                  </a:lnTo>
                  <a:lnTo>
                    <a:pt x="50" y="14"/>
                  </a:lnTo>
                  <a:lnTo>
                    <a:pt x="57" y="9"/>
                  </a:lnTo>
                  <a:lnTo>
                    <a:pt x="79" y="23"/>
                  </a:lnTo>
                  <a:lnTo>
                    <a:pt x="79" y="25"/>
                  </a:lnTo>
                  <a:lnTo>
                    <a:pt x="79" y="32"/>
                  </a:lnTo>
                  <a:lnTo>
                    <a:pt x="75" y="34"/>
                  </a:lnTo>
                  <a:lnTo>
                    <a:pt x="75" y="39"/>
                  </a:lnTo>
                  <a:lnTo>
                    <a:pt x="79" y="50"/>
                  </a:lnTo>
                  <a:lnTo>
                    <a:pt x="84" y="50"/>
                  </a:lnTo>
                  <a:lnTo>
                    <a:pt x="84" y="52"/>
                  </a:lnTo>
                  <a:lnTo>
                    <a:pt x="82" y="59"/>
                  </a:lnTo>
                  <a:lnTo>
                    <a:pt x="88" y="68"/>
                  </a:lnTo>
                  <a:lnTo>
                    <a:pt x="90" y="68"/>
                  </a:lnTo>
                  <a:lnTo>
                    <a:pt x="92" y="75"/>
                  </a:lnTo>
                  <a:lnTo>
                    <a:pt x="92" y="77"/>
                  </a:lnTo>
                  <a:lnTo>
                    <a:pt x="88" y="82"/>
                  </a:lnTo>
                  <a:lnTo>
                    <a:pt x="88" y="86"/>
                  </a:lnTo>
                  <a:lnTo>
                    <a:pt x="77" y="86"/>
                  </a:lnTo>
                  <a:lnTo>
                    <a:pt x="69" y="84"/>
                  </a:lnTo>
                  <a:lnTo>
                    <a:pt x="67" y="8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119" name="Indonesia"/>
            <p:cNvGrpSpPr/>
            <p:nvPr/>
          </p:nvGrpSpPr>
          <p:grpSpPr>
            <a:xfrm>
              <a:off x="6746772" y="4365882"/>
              <a:ext cx="1192712" cy="512757"/>
              <a:chOff x="6746772" y="4365882"/>
              <a:chExt cx="1192712" cy="512757"/>
            </a:xfrm>
            <a:grpFill/>
          </p:grpSpPr>
          <p:sp>
            <p:nvSpPr>
              <p:cNvPr id="284" name="Indonesia"/>
              <p:cNvSpPr>
                <a:spLocks/>
              </p:cNvSpPr>
              <p:nvPr>
                <p:custDataLst>
                  <p:tags r:id="rId186"/>
                </p:custDataLst>
              </p:nvPr>
            </p:nvSpPr>
            <p:spPr bwMode="auto">
              <a:xfrm>
                <a:off x="7057432" y="4638981"/>
                <a:ext cx="11095" cy="27867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2" y="5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2" y="5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85" name="Indonesia"/>
              <p:cNvSpPr>
                <a:spLocks/>
              </p:cNvSpPr>
              <p:nvPr>
                <p:custDataLst>
                  <p:tags r:id="rId187"/>
                </p:custDataLst>
              </p:nvPr>
            </p:nvSpPr>
            <p:spPr bwMode="auto">
              <a:xfrm>
                <a:off x="7673205" y="4778317"/>
                <a:ext cx="11095" cy="39014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7"/>
                  </a:cxn>
                </a:cxnLst>
                <a:rect l="0" t="0" r="r" b="b"/>
                <a:pathLst>
                  <a:path w="2" h="7">
                    <a:moveTo>
                      <a:pt x="0" y="7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86" name="Indonesia"/>
              <p:cNvSpPr>
                <a:spLocks/>
              </p:cNvSpPr>
              <p:nvPr>
                <p:custDataLst>
                  <p:tags r:id="rId188"/>
                </p:custDataLst>
              </p:nvPr>
            </p:nvSpPr>
            <p:spPr bwMode="auto">
              <a:xfrm>
                <a:off x="7750869" y="4728156"/>
                <a:ext cx="11095" cy="50161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9"/>
                  </a:cxn>
                </a:cxnLst>
                <a:rect l="0" t="0" r="r" b="b"/>
                <a:pathLst>
                  <a:path w="2" h="9">
                    <a:moveTo>
                      <a:pt x="0" y="9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87" name="Indonesia"/>
              <p:cNvSpPr>
                <a:spLocks/>
              </p:cNvSpPr>
              <p:nvPr>
                <p:custDataLst>
                  <p:tags r:id="rId189"/>
                </p:custDataLst>
              </p:nvPr>
            </p:nvSpPr>
            <p:spPr bwMode="auto">
              <a:xfrm>
                <a:off x="7800798" y="4577673"/>
                <a:ext cx="11095" cy="1114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88" name="Indonesia"/>
              <p:cNvSpPr>
                <a:spLocks/>
              </p:cNvSpPr>
              <p:nvPr>
                <p:custDataLst>
                  <p:tags r:id="rId190"/>
                </p:custDataLst>
              </p:nvPr>
            </p:nvSpPr>
            <p:spPr bwMode="auto">
              <a:xfrm>
                <a:off x="6990862" y="4599967"/>
                <a:ext cx="55475" cy="6688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5"/>
                  </a:cxn>
                  <a:cxn ang="0">
                    <a:pos x="4" y="7"/>
                  </a:cxn>
                  <a:cxn ang="0">
                    <a:pos x="10" y="12"/>
                  </a:cxn>
                  <a:cxn ang="0">
                    <a:pos x="10" y="7"/>
                  </a:cxn>
                  <a:cxn ang="0">
                    <a:pos x="6" y="5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10" h="12">
                    <a:moveTo>
                      <a:pt x="0" y="0"/>
                    </a:moveTo>
                    <a:lnTo>
                      <a:pt x="4" y="5"/>
                    </a:lnTo>
                    <a:lnTo>
                      <a:pt x="4" y="7"/>
                    </a:lnTo>
                    <a:lnTo>
                      <a:pt x="10" y="12"/>
                    </a:lnTo>
                    <a:lnTo>
                      <a:pt x="10" y="7"/>
                    </a:lnTo>
                    <a:lnTo>
                      <a:pt x="6" y="5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89" name="Indonesia"/>
              <p:cNvSpPr>
                <a:spLocks/>
              </p:cNvSpPr>
              <p:nvPr>
                <p:custDataLst>
                  <p:tags r:id="rId191"/>
                </p:custDataLst>
              </p:nvPr>
            </p:nvSpPr>
            <p:spPr bwMode="auto">
              <a:xfrm>
                <a:off x="7673204" y="4549806"/>
                <a:ext cx="266280" cy="289819"/>
              </a:xfrm>
              <a:custGeom>
                <a:avLst/>
                <a:gdLst/>
                <a:ahLst/>
                <a:cxnLst>
                  <a:cxn ang="0">
                    <a:pos x="48" y="52"/>
                  </a:cxn>
                  <a:cxn ang="0">
                    <a:pos x="41" y="48"/>
                  </a:cxn>
                  <a:cxn ang="0">
                    <a:pos x="31" y="50"/>
                  </a:cxn>
                  <a:cxn ang="0">
                    <a:pos x="33" y="43"/>
                  </a:cxn>
                  <a:cxn ang="0">
                    <a:pos x="35" y="43"/>
                  </a:cxn>
                  <a:cxn ang="0">
                    <a:pos x="33" y="32"/>
                  </a:cxn>
                  <a:cxn ang="0">
                    <a:pos x="31" y="30"/>
                  </a:cxn>
                  <a:cxn ang="0">
                    <a:pos x="18" y="25"/>
                  </a:cxn>
                  <a:cxn ang="0">
                    <a:pos x="14" y="21"/>
                  </a:cxn>
                  <a:cxn ang="0">
                    <a:pos x="10" y="23"/>
                  </a:cxn>
                  <a:cxn ang="0">
                    <a:pos x="8" y="23"/>
                  </a:cxn>
                  <a:cxn ang="0">
                    <a:pos x="8" y="21"/>
                  </a:cxn>
                  <a:cxn ang="0">
                    <a:pos x="6" y="16"/>
                  </a:cxn>
                  <a:cxn ang="0">
                    <a:pos x="14" y="16"/>
                  </a:cxn>
                  <a:cxn ang="0">
                    <a:pos x="14" y="14"/>
                  </a:cxn>
                  <a:cxn ang="0">
                    <a:pos x="6" y="14"/>
                  </a:cxn>
                  <a:cxn ang="0">
                    <a:pos x="6" y="9"/>
                  </a:cxn>
                  <a:cxn ang="0">
                    <a:pos x="0" y="7"/>
                  </a:cxn>
                  <a:cxn ang="0">
                    <a:pos x="6" y="0"/>
                  </a:cxn>
                  <a:cxn ang="0">
                    <a:pos x="10" y="0"/>
                  </a:cxn>
                  <a:cxn ang="0">
                    <a:pos x="10" y="5"/>
                  </a:cxn>
                  <a:cxn ang="0">
                    <a:pos x="14" y="5"/>
                  </a:cxn>
                  <a:cxn ang="0">
                    <a:pos x="16" y="14"/>
                  </a:cxn>
                  <a:cxn ang="0">
                    <a:pos x="18" y="21"/>
                  </a:cxn>
                  <a:cxn ang="0">
                    <a:pos x="23" y="21"/>
                  </a:cxn>
                  <a:cxn ang="0">
                    <a:pos x="27" y="14"/>
                  </a:cxn>
                  <a:cxn ang="0">
                    <a:pos x="33" y="9"/>
                  </a:cxn>
                  <a:cxn ang="0">
                    <a:pos x="48" y="16"/>
                  </a:cxn>
                  <a:cxn ang="0">
                    <a:pos x="48" y="34"/>
                  </a:cxn>
                  <a:cxn ang="0">
                    <a:pos x="48" y="52"/>
                  </a:cxn>
                </a:cxnLst>
                <a:rect l="0" t="0" r="r" b="b"/>
                <a:pathLst>
                  <a:path w="48" h="52">
                    <a:moveTo>
                      <a:pt x="48" y="52"/>
                    </a:moveTo>
                    <a:lnTo>
                      <a:pt x="41" y="48"/>
                    </a:lnTo>
                    <a:lnTo>
                      <a:pt x="31" y="50"/>
                    </a:lnTo>
                    <a:lnTo>
                      <a:pt x="33" y="43"/>
                    </a:lnTo>
                    <a:lnTo>
                      <a:pt x="35" y="43"/>
                    </a:lnTo>
                    <a:lnTo>
                      <a:pt x="33" y="32"/>
                    </a:lnTo>
                    <a:lnTo>
                      <a:pt x="31" y="30"/>
                    </a:lnTo>
                    <a:lnTo>
                      <a:pt x="18" y="25"/>
                    </a:lnTo>
                    <a:lnTo>
                      <a:pt x="14" y="21"/>
                    </a:lnTo>
                    <a:lnTo>
                      <a:pt x="10" y="23"/>
                    </a:lnTo>
                    <a:lnTo>
                      <a:pt x="8" y="23"/>
                    </a:lnTo>
                    <a:lnTo>
                      <a:pt x="8" y="21"/>
                    </a:lnTo>
                    <a:lnTo>
                      <a:pt x="6" y="16"/>
                    </a:lnTo>
                    <a:lnTo>
                      <a:pt x="14" y="16"/>
                    </a:lnTo>
                    <a:lnTo>
                      <a:pt x="14" y="14"/>
                    </a:lnTo>
                    <a:lnTo>
                      <a:pt x="6" y="14"/>
                    </a:lnTo>
                    <a:lnTo>
                      <a:pt x="6" y="9"/>
                    </a:lnTo>
                    <a:lnTo>
                      <a:pt x="0" y="7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5"/>
                    </a:lnTo>
                    <a:lnTo>
                      <a:pt x="14" y="5"/>
                    </a:lnTo>
                    <a:lnTo>
                      <a:pt x="16" y="14"/>
                    </a:lnTo>
                    <a:lnTo>
                      <a:pt x="18" y="21"/>
                    </a:lnTo>
                    <a:lnTo>
                      <a:pt x="23" y="21"/>
                    </a:lnTo>
                    <a:lnTo>
                      <a:pt x="27" y="14"/>
                    </a:lnTo>
                    <a:lnTo>
                      <a:pt x="33" y="9"/>
                    </a:lnTo>
                    <a:lnTo>
                      <a:pt x="48" y="16"/>
                    </a:lnTo>
                    <a:lnTo>
                      <a:pt x="48" y="34"/>
                    </a:lnTo>
                    <a:lnTo>
                      <a:pt x="48" y="5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90" name="Indonesia"/>
              <p:cNvSpPr>
                <a:spLocks/>
              </p:cNvSpPr>
              <p:nvPr>
                <p:custDataLst>
                  <p:tags r:id="rId192"/>
                </p:custDataLst>
              </p:nvPr>
            </p:nvSpPr>
            <p:spPr bwMode="auto">
              <a:xfrm>
                <a:off x="7101811" y="4427191"/>
                <a:ext cx="255185" cy="261952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2" y="0"/>
                  </a:cxn>
                  <a:cxn ang="0">
                    <a:pos x="26" y="13"/>
                  </a:cxn>
                  <a:cxn ang="0">
                    <a:pos x="19" y="18"/>
                  </a:cxn>
                  <a:cxn ang="0">
                    <a:pos x="15" y="13"/>
                  </a:cxn>
                  <a:cxn ang="0">
                    <a:pos x="11" y="18"/>
                  </a:cxn>
                  <a:cxn ang="0">
                    <a:pos x="7" y="18"/>
                  </a:cxn>
                  <a:cxn ang="0">
                    <a:pos x="3" y="11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3" y="29"/>
                  </a:cxn>
                  <a:cxn ang="0">
                    <a:pos x="7" y="38"/>
                  </a:cxn>
                  <a:cxn ang="0">
                    <a:pos x="11" y="38"/>
                  </a:cxn>
                  <a:cxn ang="0">
                    <a:pos x="11" y="43"/>
                  </a:cxn>
                  <a:cxn ang="0">
                    <a:pos x="19" y="43"/>
                  </a:cxn>
                  <a:cxn ang="0">
                    <a:pos x="23" y="43"/>
                  </a:cxn>
                  <a:cxn ang="0">
                    <a:pos x="26" y="47"/>
                  </a:cxn>
                  <a:cxn ang="0">
                    <a:pos x="30" y="45"/>
                  </a:cxn>
                  <a:cxn ang="0">
                    <a:pos x="34" y="43"/>
                  </a:cxn>
                  <a:cxn ang="0">
                    <a:pos x="34" y="36"/>
                  </a:cxn>
                  <a:cxn ang="0">
                    <a:pos x="34" y="31"/>
                  </a:cxn>
                  <a:cxn ang="0">
                    <a:pos x="38" y="29"/>
                  </a:cxn>
                  <a:cxn ang="0">
                    <a:pos x="42" y="18"/>
                  </a:cxn>
                  <a:cxn ang="0">
                    <a:pos x="46" y="18"/>
                  </a:cxn>
                  <a:cxn ang="0">
                    <a:pos x="40" y="11"/>
                  </a:cxn>
                  <a:cxn ang="0">
                    <a:pos x="42" y="9"/>
                  </a:cxn>
                  <a:cxn ang="0">
                    <a:pos x="40" y="4"/>
                  </a:cxn>
                  <a:cxn ang="0">
                    <a:pos x="40" y="0"/>
                  </a:cxn>
                  <a:cxn ang="0">
                    <a:pos x="36" y="0"/>
                  </a:cxn>
                  <a:cxn ang="0">
                    <a:pos x="34" y="0"/>
                  </a:cxn>
                </a:cxnLst>
                <a:rect l="0" t="0" r="r" b="b"/>
                <a:pathLst>
                  <a:path w="46" h="47">
                    <a:moveTo>
                      <a:pt x="34" y="0"/>
                    </a:moveTo>
                    <a:lnTo>
                      <a:pt x="32" y="0"/>
                    </a:lnTo>
                    <a:lnTo>
                      <a:pt x="26" y="13"/>
                    </a:lnTo>
                    <a:lnTo>
                      <a:pt x="19" y="18"/>
                    </a:lnTo>
                    <a:lnTo>
                      <a:pt x="15" y="13"/>
                    </a:lnTo>
                    <a:lnTo>
                      <a:pt x="11" y="18"/>
                    </a:lnTo>
                    <a:lnTo>
                      <a:pt x="7" y="18"/>
                    </a:lnTo>
                    <a:lnTo>
                      <a:pt x="3" y="11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3" y="29"/>
                    </a:lnTo>
                    <a:lnTo>
                      <a:pt x="7" y="38"/>
                    </a:lnTo>
                    <a:lnTo>
                      <a:pt x="11" y="38"/>
                    </a:lnTo>
                    <a:lnTo>
                      <a:pt x="11" y="43"/>
                    </a:lnTo>
                    <a:lnTo>
                      <a:pt x="19" y="43"/>
                    </a:lnTo>
                    <a:lnTo>
                      <a:pt x="23" y="43"/>
                    </a:lnTo>
                    <a:lnTo>
                      <a:pt x="26" y="47"/>
                    </a:lnTo>
                    <a:lnTo>
                      <a:pt x="30" y="45"/>
                    </a:lnTo>
                    <a:lnTo>
                      <a:pt x="34" y="43"/>
                    </a:lnTo>
                    <a:lnTo>
                      <a:pt x="34" y="36"/>
                    </a:lnTo>
                    <a:lnTo>
                      <a:pt x="34" y="31"/>
                    </a:lnTo>
                    <a:lnTo>
                      <a:pt x="38" y="29"/>
                    </a:lnTo>
                    <a:lnTo>
                      <a:pt x="42" y="18"/>
                    </a:lnTo>
                    <a:lnTo>
                      <a:pt x="46" y="18"/>
                    </a:lnTo>
                    <a:lnTo>
                      <a:pt x="40" y="11"/>
                    </a:lnTo>
                    <a:lnTo>
                      <a:pt x="42" y="9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91" name="Indonesia"/>
              <p:cNvSpPr>
                <a:spLocks/>
              </p:cNvSpPr>
              <p:nvPr>
                <p:custDataLst>
                  <p:tags r:id="rId193"/>
                </p:custDataLst>
              </p:nvPr>
            </p:nvSpPr>
            <p:spPr bwMode="auto">
              <a:xfrm>
                <a:off x="6746772" y="4365882"/>
                <a:ext cx="277375" cy="3734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6"/>
                  </a:cxn>
                  <a:cxn ang="0">
                    <a:pos x="4" y="13"/>
                  </a:cxn>
                  <a:cxn ang="0">
                    <a:pos x="10" y="20"/>
                  </a:cxn>
                  <a:cxn ang="0">
                    <a:pos x="16" y="22"/>
                  </a:cxn>
                  <a:cxn ang="0">
                    <a:pos x="16" y="31"/>
                  </a:cxn>
                  <a:cxn ang="0">
                    <a:pos x="23" y="38"/>
                  </a:cxn>
                  <a:cxn ang="0">
                    <a:pos x="25" y="47"/>
                  </a:cxn>
                  <a:cxn ang="0">
                    <a:pos x="27" y="54"/>
                  </a:cxn>
                  <a:cxn ang="0">
                    <a:pos x="42" y="65"/>
                  </a:cxn>
                  <a:cxn ang="0">
                    <a:pos x="42" y="67"/>
                  </a:cxn>
                  <a:cxn ang="0">
                    <a:pos x="44" y="65"/>
                  </a:cxn>
                  <a:cxn ang="0">
                    <a:pos x="48" y="67"/>
                  </a:cxn>
                  <a:cxn ang="0">
                    <a:pos x="50" y="54"/>
                  </a:cxn>
                  <a:cxn ang="0">
                    <a:pos x="48" y="47"/>
                  </a:cxn>
                  <a:cxn ang="0">
                    <a:pos x="44" y="47"/>
                  </a:cxn>
                  <a:cxn ang="0">
                    <a:pos x="42" y="40"/>
                  </a:cxn>
                  <a:cxn ang="0">
                    <a:pos x="39" y="40"/>
                  </a:cxn>
                  <a:cxn ang="0">
                    <a:pos x="35" y="38"/>
                  </a:cxn>
                  <a:cxn ang="0">
                    <a:pos x="39" y="33"/>
                  </a:cxn>
                  <a:cxn ang="0">
                    <a:pos x="35" y="31"/>
                  </a:cxn>
                  <a:cxn ang="0">
                    <a:pos x="35" y="29"/>
                  </a:cxn>
                  <a:cxn ang="0">
                    <a:pos x="27" y="22"/>
                  </a:cxn>
                  <a:cxn ang="0">
                    <a:pos x="25" y="22"/>
                  </a:cxn>
                  <a:cxn ang="0">
                    <a:pos x="8" y="4"/>
                  </a:cxn>
                  <a:cxn ang="0">
                    <a:pos x="4" y="2"/>
                  </a:cxn>
                  <a:cxn ang="0">
                    <a:pos x="0" y="0"/>
                  </a:cxn>
                </a:cxnLst>
                <a:rect l="0" t="0" r="r" b="b"/>
                <a:pathLst>
                  <a:path w="50" h="67">
                    <a:moveTo>
                      <a:pt x="0" y="0"/>
                    </a:moveTo>
                    <a:lnTo>
                      <a:pt x="0" y="6"/>
                    </a:lnTo>
                    <a:lnTo>
                      <a:pt x="4" y="13"/>
                    </a:lnTo>
                    <a:lnTo>
                      <a:pt x="10" y="20"/>
                    </a:lnTo>
                    <a:lnTo>
                      <a:pt x="16" y="22"/>
                    </a:lnTo>
                    <a:lnTo>
                      <a:pt x="16" y="31"/>
                    </a:lnTo>
                    <a:lnTo>
                      <a:pt x="23" y="38"/>
                    </a:lnTo>
                    <a:lnTo>
                      <a:pt x="25" y="47"/>
                    </a:lnTo>
                    <a:lnTo>
                      <a:pt x="27" y="54"/>
                    </a:lnTo>
                    <a:lnTo>
                      <a:pt x="42" y="65"/>
                    </a:lnTo>
                    <a:lnTo>
                      <a:pt x="42" y="67"/>
                    </a:lnTo>
                    <a:lnTo>
                      <a:pt x="44" y="65"/>
                    </a:lnTo>
                    <a:lnTo>
                      <a:pt x="48" y="67"/>
                    </a:lnTo>
                    <a:lnTo>
                      <a:pt x="50" y="54"/>
                    </a:lnTo>
                    <a:lnTo>
                      <a:pt x="48" y="47"/>
                    </a:lnTo>
                    <a:lnTo>
                      <a:pt x="44" y="47"/>
                    </a:lnTo>
                    <a:lnTo>
                      <a:pt x="42" y="40"/>
                    </a:lnTo>
                    <a:lnTo>
                      <a:pt x="39" y="40"/>
                    </a:lnTo>
                    <a:lnTo>
                      <a:pt x="35" y="38"/>
                    </a:lnTo>
                    <a:lnTo>
                      <a:pt x="39" y="33"/>
                    </a:lnTo>
                    <a:lnTo>
                      <a:pt x="35" y="31"/>
                    </a:lnTo>
                    <a:lnTo>
                      <a:pt x="35" y="29"/>
                    </a:lnTo>
                    <a:lnTo>
                      <a:pt x="27" y="22"/>
                    </a:lnTo>
                    <a:lnTo>
                      <a:pt x="25" y="22"/>
                    </a:lnTo>
                    <a:lnTo>
                      <a:pt x="8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92" name="Indonesia"/>
              <p:cNvSpPr>
                <a:spLocks/>
              </p:cNvSpPr>
              <p:nvPr>
                <p:custDataLst>
                  <p:tags r:id="rId194"/>
                </p:custDataLst>
              </p:nvPr>
            </p:nvSpPr>
            <p:spPr bwMode="auto">
              <a:xfrm>
                <a:off x="6990862" y="4739302"/>
                <a:ext cx="238543" cy="89175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14" y="9"/>
                  </a:cxn>
                  <a:cxn ang="0">
                    <a:pos x="20" y="9"/>
                  </a:cxn>
                  <a:cxn ang="0">
                    <a:pos x="35" y="16"/>
                  </a:cxn>
                  <a:cxn ang="0">
                    <a:pos x="37" y="14"/>
                  </a:cxn>
                  <a:cxn ang="0">
                    <a:pos x="43" y="16"/>
                  </a:cxn>
                  <a:cxn ang="0">
                    <a:pos x="43" y="9"/>
                  </a:cxn>
                  <a:cxn ang="0">
                    <a:pos x="37" y="9"/>
                  </a:cxn>
                  <a:cxn ang="0">
                    <a:pos x="35" y="7"/>
                  </a:cxn>
                  <a:cxn ang="0">
                    <a:pos x="27" y="5"/>
                  </a:cxn>
                  <a:cxn ang="0">
                    <a:pos x="27" y="7"/>
                  </a:cxn>
                  <a:cxn ang="0">
                    <a:pos x="18" y="7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5"/>
                  </a:cxn>
                </a:cxnLst>
                <a:rect l="0" t="0" r="r" b="b"/>
                <a:pathLst>
                  <a:path w="43" h="16">
                    <a:moveTo>
                      <a:pt x="0" y="5"/>
                    </a:moveTo>
                    <a:lnTo>
                      <a:pt x="14" y="9"/>
                    </a:lnTo>
                    <a:lnTo>
                      <a:pt x="20" y="9"/>
                    </a:lnTo>
                    <a:lnTo>
                      <a:pt x="35" y="16"/>
                    </a:lnTo>
                    <a:lnTo>
                      <a:pt x="37" y="14"/>
                    </a:lnTo>
                    <a:lnTo>
                      <a:pt x="43" y="16"/>
                    </a:lnTo>
                    <a:lnTo>
                      <a:pt x="43" y="9"/>
                    </a:lnTo>
                    <a:lnTo>
                      <a:pt x="37" y="9"/>
                    </a:lnTo>
                    <a:lnTo>
                      <a:pt x="35" y="7"/>
                    </a:lnTo>
                    <a:lnTo>
                      <a:pt x="27" y="5"/>
                    </a:lnTo>
                    <a:lnTo>
                      <a:pt x="27" y="7"/>
                    </a:lnTo>
                    <a:lnTo>
                      <a:pt x="18" y="7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93" name="Indonesia"/>
              <p:cNvSpPr>
                <a:spLocks/>
              </p:cNvSpPr>
              <p:nvPr>
                <p:custDataLst>
                  <p:tags r:id="rId195"/>
                </p:custDataLst>
              </p:nvPr>
            </p:nvSpPr>
            <p:spPr bwMode="auto">
              <a:xfrm>
                <a:off x="7229405" y="4817331"/>
                <a:ext cx="38833" cy="1114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2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7" h="2">
                    <a:moveTo>
                      <a:pt x="0" y="0"/>
                    </a:moveTo>
                    <a:lnTo>
                      <a:pt x="3" y="2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94" name="Indonesia"/>
              <p:cNvSpPr>
                <a:spLocks/>
              </p:cNvSpPr>
              <p:nvPr>
                <p:custDataLst>
                  <p:tags r:id="rId196"/>
                </p:custDataLst>
              </p:nvPr>
            </p:nvSpPr>
            <p:spPr bwMode="auto">
              <a:xfrm>
                <a:off x="7279332" y="4817331"/>
                <a:ext cx="205258" cy="2229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6" y="4"/>
                  </a:cxn>
                  <a:cxn ang="0">
                    <a:pos x="16" y="2"/>
                  </a:cxn>
                  <a:cxn ang="0">
                    <a:pos x="27" y="4"/>
                  </a:cxn>
                  <a:cxn ang="0">
                    <a:pos x="37" y="2"/>
                  </a:cxn>
                  <a:cxn ang="0">
                    <a:pos x="31" y="0"/>
                  </a:cxn>
                  <a:cxn ang="0">
                    <a:pos x="27" y="2"/>
                  </a:cxn>
                  <a:cxn ang="0">
                    <a:pos x="19" y="0"/>
                  </a:cxn>
                  <a:cxn ang="0">
                    <a:pos x="16" y="2"/>
                  </a:cxn>
                  <a:cxn ang="0">
                    <a:pos x="8" y="0"/>
                  </a:cxn>
                  <a:cxn ang="0">
                    <a:pos x="8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</a:cxnLst>
                <a:rect l="0" t="0" r="r" b="b"/>
                <a:pathLst>
                  <a:path w="37" h="4">
                    <a:moveTo>
                      <a:pt x="0" y="4"/>
                    </a:moveTo>
                    <a:lnTo>
                      <a:pt x="6" y="4"/>
                    </a:lnTo>
                    <a:lnTo>
                      <a:pt x="16" y="2"/>
                    </a:lnTo>
                    <a:lnTo>
                      <a:pt x="27" y="4"/>
                    </a:lnTo>
                    <a:lnTo>
                      <a:pt x="37" y="2"/>
                    </a:lnTo>
                    <a:lnTo>
                      <a:pt x="31" y="0"/>
                    </a:lnTo>
                    <a:lnTo>
                      <a:pt x="27" y="2"/>
                    </a:lnTo>
                    <a:lnTo>
                      <a:pt x="19" y="0"/>
                    </a:lnTo>
                    <a:lnTo>
                      <a:pt x="16" y="2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95" name="Indonesia"/>
              <p:cNvSpPr>
                <a:spLocks/>
              </p:cNvSpPr>
              <p:nvPr>
                <p:custDataLst>
                  <p:tags r:id="rId197"/>
                </p:custDataLst>
              </p:nvPr>
            </p:nvSpPr>
            <p:spPr bwMode="auto">
              <a:xfrm>
                <a:off x="7495684" y="4817331"/>
                <a:ext cx="11095" cy="1114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96" name="Indonesia"/>
              <p:cNvSpPr>
                <a:spLocks/>
              </p:cNvSpPr>
              <p:nvPr>
                <p:custDataLst>
                  <p:tags r:id="rId198"/>
                </p:custDataLst>
              </p:nvPr>
            </p:nvSpPr>
            <p:spPr bwMode="auto">
              <a:xfrm>
                <a:off x="7534517" y="4789464"/>
                <a:ext cx="22190" cy="27867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2" y="5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5"/>
                  </a:cxn>
                </a:cxnLst>
                <a:rect l="0" t="0" r="r" b="b"/>
                <a:pathLst>
                  <a:path w="4" h="5">
                    <a:moveTo>
                      <a:pt x="0" y="5"/>
                    </a:moveTo>
                    <a:lnTo>
                      <a:pt x="2" y="5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97" name="Indonesia"/>
              <p:cNvSpPr>
                <a:spLocks/>
              </p:cNvSpPr>
              <p:nvPr>
                <p:custDataLst>
                  <p:tags r:id="rId199"/>
                </p:custDataLst>
              </p:nvPr>
            </p:nvSpPr>
            <p:spPr bwMode="auto">
              <a:xfrm>
                <a:off x="7356997" y="4867492"/>
                <a:ext cx="49927" cy="1114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" y="2"/>
                  </a:cxn>
                  <a:cxn ang="0">
                    <a:pos x="9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9" h="2">
                    <a:moveTo>
                      <a:pt x="0" y="0"/>
                    </a:moveTo>
                    <a:lnTo>
                      <a:pt x="5" y="2"/>
                    </a:lnTo>
                    <a:lnTo>
                      <a:pt x="9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98" name="Indonesia"/>
              <p:cNvSpPr>
                <a:spLocks noChangeShapeType="1"/>
              </p:cNvSpPr>
              <p:nvPr>
                <p:custDataLst>
                  <p:tags r:id="rId200"/>
                </p:custDataLst>
              </p:nvPr>
            </p:nvSpPr>
            <p:spPr bwMode="auto">
              <a:xfrm>
                <a:off x="7196120" y="4789464"/>
                <a:ext cx="33285" cy="5574"/>
              </a:xfrm>
              <a:prstGeom prst="line">
                <a:avLst/>
              </a:pr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99" name="Indonesia"/>
              <p:cNvSpPr>
                <a:spLocks/>
              </p:cNvSpPr>
              <p:nvPr>
                <p:custDataLst>
                  <p:tags r:id="rId201"/>
                </p:custDataLst>
              </p:nvPr>
            </p:nvSpPr>
            <p:spPr bwMode="auto">
              <a:xfrm>
                <a:off x="7356997" y="4499644"/>
                <a:ext cx="177520" cy="239658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0" y="30"/>
                  </a:cxn>
                  <a:cxn ang="0">
                    <a:pos x="2" y="30"/>
                  </a:cxn>
                  <a:cxn ang="0">
                    <a:pos x="2" y="32"/>
                  </a:cxn>
                  <a:cxn ang="0">
                    <a:pos x="2" y="41"/>
                  </a:cxn>
                  <a:cxn ang="0">
                    <a:pos x="5" y="41"/>
                  </a:cxn>
                  <a:cxn ang="0">
                    <a:pos x="5" y="30"/>
                  </a:cxn>
                  <a:cxn ang="0">
                    <a:pos x="9" y="25"/>
                  </a:cxn>
                  <a:cxn ang="0">
                    <a:pos x="11" y="25"/>
                  </a:cxn>
                  <a:cxn ang="0">
                    <a:pos x="9" y="30"/>
                  </a:cxn>
                  <a:cxn ang="0">
                    <a:pos x="13" y="34"/>
                  </a:cxn>
                  <a:cxn ang="0">
                    <a:pos x="13" y="39"/>
                  </a:cxn>
                  <a:cxn ang="0">
                    <a:pos x="17" y="39"/>
                  </a:cxn>
                  <a:cxn ang="0">
                    <a:pos x="17" y="41"/>
                  </a:cxn>
                  <a:cxn ang="0">
                    <a:pos x="17" y="43"/>
                  </a:cxn>
                  <a:cxn ang="0">
                    <a:pos x="19" y="41"/>
                  </a:cxn>
                  <a:cxn ang="0">
                    <a:pos x="19" y="39"/>
                  </a:cxn>
                  <a:cxn ang="0">
                    <a:pos x="13" y="30"/>
                  </a:cxn>
                  <a:cxn ang="0">
                    <a:pos x="17" y="30"/>
                  </a:cxn>
                  <a:cxn ang="0">
                    <a:pos x="13" y="18"/>
                  </a:cxn>
                  <a:cxn ang="0">
                    <a:pos x="19" y="16"/>
                  </a:cxn>
                  <a:cxn ang="0">
                    <a:pos x="23" y="16"/>
                  </a:cxn>
                  <a:cxn ang="0">
                    <a:pos x="19" y="14"/>
                  </a:cxn>
                  <a:cxn ang="0">
                    <a:pos x="9" y="16"/>
                  </a:cxn>
                  <a:cxn ang="0">
                    <a:pos x="5" y="14"/>
                  </a:cxn>
                  <a:cxn ang="0">
                    <a:pos x="5" y="9"/>
                  </a:cxn>
                  <a:cxn ang="0">
                    <a:pos x="9" y="7"/>
                  </a:cxn>
                  <a:cxn ang="0">
                    <a:pos x="23" y="7"/>
                  </a:cxn>
                  <a:cxn ang="0">
                    <a:pos x="27" y="7"/>
                  </a:cxn>
                  <a:cxn ang="0">
                    <a:pos x="32" y="0"/>
                  </a:cxn>
                  <a:cxn ang="0">
                    <a:pos x="27" y="0"/>
                  </a:cxn>
                  <a:cxn ang="0">
                    <a:pos x="25" y="5"/>
                  </a:cxn>
                  <a:cxn ang="0">
                    <a:pos x="19" y="5"/>
                  </a:cxn>
                  <a:cxn ang="0">
                    <a:pos x="11" y="0"/>
                  </a:cxn>
                  <a:cxn ang="0">
                    <a:pos x="9" y="5"/>
                  </a:cxn>
                  <a:cxn ang="0">
                    <a:pos x="5" y="5"/>
                  </a:cxn>
                  <a:cxn ang="0">
                    <a:pos x="5" y="14"/>
                  </a:cxn>
                  <a:cxn ang="0">
                    <a:pos x="2" y="21"/>
                  </a:cxn>
                  <a:cxn ang="0">
                    <a:pos x="0" y="25"/>
                  </a:cxn>
                </a:cxnLst>
                <a:rect l="0" t="0" r="r" b="b"/>
                <a:pathLst>
                  <a:path w="32" h="43">
                    <a:moveTo>
                      <a:pt x="0" y="25"/>
                    </a:moveTo>
                    <a:lnTo>
                      <a:pt x="0" y="30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2" y="41"/>
                    </a:lnTo>
                    <a:lnTo>
                      <a:pt x="5" y="41"/>
                    </a:lnTo>
                    <a:lnTo>
                      <a:pt x="5" y="30"/>
                    </a:lnTo>
                    <a:lnTo>
                      <a:pt x="9" y="25"/>
                    </a:lnTo>
                    <a:lnTo>
                      <a:pt x="11" y="25"/>
                    </a:lnTo>
                    <a:lnTo>
                      <a:pt x="9" y="30"/>
                    </a:lnTo>
                    <a:lnTo>
                      <a:pt x="13" y="34"/>
                    </a:lnTo>
                    <a:lnTo>
                      <a:pt x="13" y="39"/>
                    </a:lnTo>
                    <a:lnTo>
                      <a:pt x="17" y="39"/>
                    </a:lnTo>
                    <a:lnTo>
                      <a:pt x="17" y="41"/>
                    </a:lnTo>
                    <a:lnTo>
                      <a:pt x="17" y="43"/>
                    </a:lnTo>
                    <a:lnTo>
                      <a:pt x="19" y="41"/>
                    </a:lnTo>
                    <a:lnTo>
                      <a:pt x="19" y="39"/>
                    </a:lnTo>
                    <a:lnTo>
                      <a:pt x="13" y="30"/>
                    </a:lnTo>
                    <a:lnTo>
                      <a:pt x="17" y="30"/>
                    </a:lnTo>
                    <a:lnTo>
                      <a:pt x="13" y="18"/>
                    </a:lnTo>
                    <a:lnTo>
                      <a:pt x="19" y="16"/>
                    </a:lnTo>
                    <a:lnTo>
                      <a:pt x="23" y="16"/>
                    </a:lnTo>
                    <a:lnTo>
                      <a:pt x="19" y="14"/>
                    </a:lnTo>
                    <a:lnTo>
                      <a:pt x="9" y="16"/>
                    </a:lnTo>
                    <a:lnTo>
                      <a:pt x="5" y="14"/>
                    </a:lnTo>
                    <a:lnTo>
                      <a:pt x="5" y="9"/>
                    </a:lnTo>
                    <a:lnTo>
                      <a:pt x="9" y="7"/>
                    </a:lnTo>
                    <a:lnTo>
                      <a:pt x="23" y="7"/>
                    </a:lnTo>
                    <a:lnTo>
                      <a:pt x="27" y="7"/>
                    </a:lnTo>
                    <a:lnTo>
                      <a:pt x="32" y="0"/>
                    </a:lnTo>
                    <a:lnTo>
                      <a:pt x="27" y="0"/>
                    </a:lnTo>
                    <a:lnTo>
                      <a:pt x="25" y="5"/>
                    </a:lnTo>
                    <a:lnTo>
                      <a:pt x="19" y="5"/>
                    </a:lnTo>
                    <a:lnTo>
                      <a:pt x="11" y="0"/>
                    </a:lnTo>
                    <a:lnTo>
                      <a:pt x="9" y="5"/>
                    </a:lnTo>
                    <a:lnTo>
                      <a:pt x="5" y="5"/>
                    </a:lnTo>
                    <a:lnTo>
                      <a:pt x="5" y="14"/>
                    </a:lnTo>
                    <a:lnTo>
                      <a:pt x="2" y="21"/>
                    </a:lnTo>
                    <a:lnTo>
                      <a:pt x="0" y="2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00" name="Indonesia"/>
              <p:cNvSpPr>
                <a:spLocks/>
              </p:cNvSpPr>
              <p:nvPr>
                <p:custDataLst>
                  <p:tags r:id="rId202"/>
                </p:custDataLst>
              </p:nvPr>
            </p:nvSpPr>
            <p:spPr bwMode="auto">
              <a:xfrm>
                <a:off x="7578897" y="4488498"/>
                <a:ext cx="44380" cy="100322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2" y="11"/>
                  </a:cxn>
                  <a:cxn ang="0">
                    <a:pos x="4" y="18"/>
                  </a:cxn>
                  <a:cxn ang="0">
                    <a:pos x="2" y="11"/>
                  </a:cxn>
                  <a:cxn ang="0">
                    <a:pos x="2" y="9"/>
                  </a:cxn>
                  <a:cxn ang="0">
                    <a:pos x="4" y="9"/>
                  </a:cxn>
                  <a:cxn ang="0">
                    <a:pos x="4" y="7"/>
                  </a:cxn>
                  <a:cxn ang="0">
                    <a:pos x="8" y="7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0" y="7"/>
                  </a:cxn>
                </a:cxnLst>
                <a:rect l="0" t="0" r="r" b="b"/>
                <a:pathLst>
                  <a:path w="8" h="18">
                    <a:moveTo>
                      <a:pt x="0" y="7"/>
                    </a:moveTo>
                    <a:lnTo>
                      <a:pt x="2" y="11"/>
                    </a:lnTo>
                    <a:lnTo>
                      <a:pt x="4" y="18"/>
                    </a:lnTo>
                    <a:lnTo>
                      <a:pt x="2" y="11"/>
                    </a:lnTo>
                    <a:lnTo>
                      <a:pt x="2" y="9"/>
                    </a:lnTo>
                    <a:lnTo>
                      <a:pt x="4" y="9"/>
                    </a:lnTo>
                    <a:lnTo>
                      <a:pt x="4" y="7"/>
                    </a:lnTo>
                    <a:lnTo>
                      <a:pt x="8" y="7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01" name="Indonesia"/>
              <p:cNvSpPr>
                <a:spLocks/>
              </p:cNvSpPr>
              <p:nvPr>
                <p:custDataLst>
                  <p:tags r:id="rId203"/>
                </p:custDataLst>
              </p:nvPr>
            </p:nvSpPr>
            <p:spPr bwMode="auto">
              <a:xfrm>
                <a:off x="7545613" y="4666848"/>
                <a:ext cx="33285" cy="1114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6" h="2">
                    <a:moveTo>
                      <a:pt x="0" y="0"/>
                    </a:moveTo>
                    <a:lnTo>
                      <a:pt x="2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02" name="Indonesia"/>
              <p:cNvSpPr>
                <a:spLocks/>
              </p:cNvSpPr>
              <p:nvPr>
                <p:custDataLst>
                  <p:tags r:id="rId204"/>
                </p:custDataLst>
              </p:nvPr>
            </p:nvSpPr>
            <p:spPr bwMode="auto">
              <a:xfrm>
                <a:off x="7589992" y="4638981"/>
                <a:ext cx="83212" cy="39014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15" y="7"/>
                  </a:cxn>
                  <a:cxn ang="0">
                    <a:pos x="11" y="5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5"/>
                  </a:cxn>
                </a:cxnLst>
                <a:rect l="0" t="0" r="r" b="b"/>
                <a:pathLst>
                  <a:path w="15" h="7">
                    <a:moveTo>
                      <a:pt x="0" y="5"/>
                    </a:moveTo>
                    <a:lnTo>
                      <a:pt x="15" y="7"/>
                    </a:lnTo>
                    <a:lnTo>
                      <a:pt x="11" y="5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03" name="Indonesia"/>
              <p:cNvSpPr>
                <a:spLocks noChangeShapeType="1"/>
              </p:cNvSpPr>
              <p:nvPr>
                <p:custDataLst>
                  <p:tags r:id="rId205"/>
                </p:custDataLst>
              </p:nvPr>
            </p:nvSpPr>
            <p:spPr bwMode="auto">
              <a:xfrm>
                <a:off x="7506780" y="4616688"/>
                <a:ext cx="27737" cy="5574"/>
              </a:xfrm>
              <a:prstGeom prst="line">
                <a:avLst/>
              </a:pr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04" name="Indonesia"/>
              <p:cNvSpPr>
                <a:spLocks/>
              </p:cNvSpPr>
              <p:nvPr>
                <p:custDataLst>
                  <p:tags r:id="rId206"/>
                </p:custDataLst>
              </p:nvPr>
            </p:nvSpPr>
            <p:spPr bwMode="auto">
              <a:xfrm>
                <a:off x="7578897" y="4588820"/>
                <a:ext cx="22190" cy="1114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05" name="Indonesia"/>
              <p:cNvSpPr>
                <a:spLocks/>
              </p:cNvSpPr>
              <p:nvPr>
                <p:custDataLst>
                  <p:tags r:id="rId207"/>
                </p:custDataLst>
              </p:nvPr>
            </p:nvSpPr>
            <p:spPr bwMode="auto">
              <a:xfrm>
                <a:off x="7651015" y="4549806"/>
                <a:ext cx="33285" cy="2786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5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6" h="5">
                    <a:moveTo>
                      <a:pt x="0" y="0"/>
                    </a:moveTo>
                    <a:lnTo>
                      <a:pt x="4" y="5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306" name="Indonesia"/>
              <p:cNvSpPr>
                <a:spLocks/>
              </p:cNvSpPr>
              <p:nvPr>
                <p:custDataLst>
                  <p:tags r:id="rId208"/>
                </p:custDataLst>
              </p:nvPr>
            </p:nvSpPr>
            <p:spPr bwMode="auto">
              <a:xfrm>
                <a:off x="7462399" y="4828477"/>
                <a:ext cx="116498" cy="50161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6" y="9"/>
                  </a:cxn>
                  <a:cxn ang="0">
                    <a:pos x="8" y="2"/>
                  </a:cxn>
                  <a:cxn ang="0">
                    <a:pos x="21" y="0"/>
                  </a:cxn>
                  <a:cxn ang="0">
                    <a:pos x="8" y="0"/>
                  </a:cxn>
                  <a:cxn ang="0">
                    <a:pos x="4" y="7"/>
                  </a:cxn>
                  <a:cxn ang="0">
                    <a:pos x="2" y="9"/>
                  </a:cxn>
                  <a:cxn ang="0">
                    <a:pos x="0" y="9"/>
                  </a:cxn>
                </a:cxnLst>
                <a:rect l="0" t="0" r="r" b="b"/>
                <a:pathLst>
                  <a:path w="21" h="9">
                    <a:moveTo>
                      <a:pt x="0" y="9"/>
                    </a:moveTo>
                    <a:lnTo>
                      <a:pt x="6" y="9"/>
                    </a:lnTo>
                    <a:lnTo>
                      <a:pt x="8" y="2"/>
                    </a:lnTo>
                    <a:lnTo>
                      <a:pt x="21" y="0"/>
                    </a:lnTo>
                    <a:lnTo>
                      <a:pt x="8" y="0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120" name="India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5992312" y="3396104"/>
              <a:ext cx="721175" cy="902897"/>
            </a:xfrm>
            <a:custGeom>
              <a:avLst/>
              <a:gdLst/>
              <a:ahLst/>
              <a:cxnLst>
                <a:cxn ang="0">
                  <a:pos x="92" y="50"/>
                </a:cxn>
                <a:cxn ang="0">
                  <a:pos x="96" y="52"/>
                </a:cxn>
                <a:cxn ang="0">
                  <a:pos x="107" y="50"/>
                </a:cxn>
                <a:cxn ang="0">
                  <a:pos x="111" y="43"/>
                </a:cxn>
                <a:cxn ang="0">
                  <a:pos x="121" y="36"/>
                </a:cxn>
                <a:cxn ang="0">
                  <a:pos x="130" y="50"/>
                </a:cxn>
                <a:cxn ang="0">
                  <a:pos x="121" y="57"/>
                </a:cxn>
                <a:cxn ang="0">
                  <a:pos x="115" y="70"/>
                </a:cxn>
                <a:cxn ang="0">
                  <a:pos x="113" y="79"/>
                </a:cxn>
                <a:cxn ang="0">
                  <a:pos x="111" y="75"/>
                </a:cxn>
                <a:cxn ang="0">
                  <a:pos x="104" y="68"/>
                </a:cxn>
                <a:cxn ang="0">
                  <a:pos x="98" y="61"/>
                </a:cxn>
                <a:cxn ang="0">
                  <a:pos x="92" y="57"/>
                </a:cxn>
                <a:cxn ang="0">
                  <a:pos x="90" y="59"/>
                </a:cxn>
                <a:cxn ang="0">
                  <a:pos x="90" y="66"/>
                </a:cxn>
                <a:cxn ang="0">
                  <a:pos x="96" y="84"/>
                </a:cxn>
                <a:cxn ang="0">
                  <a:pos x="92" y="84"/>
                </a:cxn>
                <a:cxn ang="0">
                  <a:pos x="88" y="93"/>
                </a:cxn>
                <a:cxn ang="0">
                  <a:pos x="79" y="102"/>
                </a:cxn>
                <a:cxn ang="0">
                  <a:pos x="67" y="113"/>
                </a:cxn>
                <a:cxn ang="0">
                  <a:pos x="65" y="117"/>
                </a:cxn>
                <a:cxn ang="0">
                  <a:pos x="59" y="120"/>
                </a:cxn>
                <a:cxn ang="0">
                  <a:pos x="59" y="142"/>
                </a:cxn>
                <a:cxn ang="0">
                  <a:pos x="56" y="153"/>
                </a:cxn>
                <a:cxn ang="0">
                  <a:pos x="50" y="162"/>
                </a:cxn>
                <a:cxn ang="0">
                  <a:pos x="34" y="122"/>
                </a:cxn>
                <a:cxn ang="0">
                  <a:pos x="23" y="79"/>
                </a:cxn>
                <a:cxn ang="0">
                  <a:pos x="19" y="86"/>
                </a:cxn>
                <a:cxn ang="0">
                  <a:pos x="13" y="90"/>
                </a:cxn>
                <a:cxn ang="0">
                  <a:pos x="11" y="77"/>
                </a:cxn>
                <a:cxn ang="0">
                  <a:pos x="4" y="77"/>
                </a:cxn>
                <a:cxn ang="0">
                  <a:pos x="2" y="68"/>
                </a:cxn>
                <a:cxn ang="0">
                  <a:pos x="11" y="66"/>
                </a:cxn>
                <a:cxn ang="0">
                  <a:pos x="8" y="59"/>
                </a:cxn>
                <a:cxn ang="0">
                  <a:pos x="4" y="52"/>
                </a:cxn>
                <a:cxn ang="0">
                  <a:pos x="8" y="48"/>
                </a:cxn>
                <a:cxn ang="0">
                  <a:pos x="13" y="48"/>
                </a:cxn>
                <a:cxn ang="0">
                  <a:pos x="23" y="23"/>
                </a:cxn>
                <a:cxn ang="0">
                  <a:pos x="19" y="16"/>
                </a:cxn>
                <a:cxn ang="0">
                  <a:pos x="17" y="7"/>
                </a:cxn>
                <a:cxn ang="0">
                  <a:pos x="31" y="7"/>
                </a:cxn>
                <a:cxn ang="0">
                  <a:pos x="40" y="0"/>
                </a:cxn>
                <a:cxn ang="0">
                  <a:pos x="44" y="7"/>
                </a:cxn>
                <a:cxn ang="0">
                  <a:pos x="44" y="18"/>
                </a:cxn>
                <a:cxn ang="0">
                  <a:pos x="40" y="23"/>
                </a:cxn>
                <a:cxn ang="0">
                  <a:pos x="52" y="34"/>
                </a:cxn>
                <a:cxn ang="0">
                  <a:pos x="65" y="50"/>
                </a:cxn>
                <a:cxn ang="0">
                  <a:pos x="75" y="52"/>
                </a:cxn>
                <a:cxn ang="0">
                  <a:pos x="90" y="57"/>
                </a:cxn>
                <a:cxn ang="0">
                  <a:pos x="88" y="48"/>
                </a:cxn>
              </a:cxnLst>
              <a:rect l="0" t="0" r="r" b="b"/>
              <a:pathLst>
                <a:path w="130" h="162">
                  <a:moveTo>
                    <a:pt x="90" y="48"/>
                  </a:moveTo>
                  <a:lnTo>
                    <a:pt x="92" y="50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107" y="52"/>
                  </a:lnTo>
                  <a:lnTo>
                    <a:pt x="107" y="50"/>
                  </a:lnTo>
                  <a:lnTo>
                    <a:pt x="104" y="48"/>
                  </a:lnTo>
                  <a:lnTo>
                    <a:pt x="111" y="43"/>
                  </a:lnTo>
                  <a:lnTo>
                    <a:pt x="115" y="36"/>
                  </a:lnTo>
                  <a:lnTo>
                    <a:pt x="121" y="36"/>
                  </a:lnTo>
                  <a:lnTo>
                    <a:pt x="130" y="48"/>
                  </a:lnTo>
                  <a:lnTo>
                    <a:pt x="130" y="50"/>
                  </a:lnTo>
                  <a:lnTo>
                    <a:pt x="127" y="50"/>
                  </a:lnTo>
                  <a:lnTo>
                    <a:pt x="121" y="57"/>
                  </a:lnTo>
                  <a:lnTo>
                    <a:pt x="119" y="70"/>
                  </a:lnTo>
                  <a:lnTo>
                    <a:pt x="115" y="70"/>
                  </a:lnTo>
                  <a:lnTo>
                    <a:pt x="115" y="79"/>
                  </a:lnTo>
                  <a:lnTo>
                    <a:pt x="113" y="79"/>
                  </a:lnTo>
                  <a:lnTo>
                    <a:pt x="111" y="70"/>
                  </a:lnTo>
                  <a:lnTo>
                    <a:pt x="111" y="75"/>
                  </a:lnTo>
                  <a:lnTo>
                    <a:pt x="104" y="70"/>
                  </a:lnTo>
                  <a:lnTo>
                    <a:pt x="104" y="68"/>
                  </a:lnTo>
                  <a:lnTo>
                    <a:pt x="111" y="61"/>
                  </a:lnTo>
                  <a:lnTo>
                    <a:pt x="98" y="61"/>
                  </a:lnTo>
                  <a:lnTo>
                    <a:pt x="96" y="57"/>
                  </a:lnTo>
                  <a:lnTo>
                    <a:pt x="92" y="57"/>
                  </a:lnTo>
                  <a:lnTo>
                    <a:pt x="90" y="57"/>
                  </a:lnTo>
                  <a:lnTo>
                    <a:pt x="90" y="59"/>
                  </a:lnTo>
                  <a:lnTo>
                    <a:pt x="92" y="61"/>
                  </a:lnTo>
                  <a:lnTo>
                    <a:pt x="90" y="66"/>
                  </a:lnTo>
                  <a:lnTo>
                    <a:pt x="92" y="68"/>
                  </a:lnTo>
                  <a:lnTo>
                    <a:pt x="96" y="84"/>
                  </a:lnTo>
                  <a:lnTo>
                    <a:pt x="92" y="79"/>
                  </a:lnTo>
                  <a:lnTo>
                    <a:pt x="92" y="84"/>
                  </a:lnTo>
                  <a:lnTo>
                    <a:pt x="88" y="84"/>
                  </a:lnTo>
                  <a:lnTo>
                    <a:pt x="88" y="93"/>
                  </a:lnTo>
                  <a:lnTo>
                    <a:pt x="82" y="95"/>
                  </a:lnTo>
                  <a:lnTo>
                    <a:pt x="79" y="102"/>
                  </a:lnTo>
                  <a:lnTo>
                    <a:pt x="71" y="111"/>
                  </a:lnTo>
                  <a:lnTo>
                    <a:pt x="67" y="113"/>
                  </a:lnTo>
                  <a:lnTo>
                    <a:pt x="65" y="113"/>
                  </a:lnTo>
                  <a:lnTo>
                    <a:pt x="65" y="117"/>
                  </a:lnTo>
                  <a:lnTo>
                    <a:pt x="63" y="117"/>
                  </a:lnTo>
                  <a:lnTo>
                    <a:pt x="59" y="120"/>
                  </a:lnTo>
                  <a:lnTo>
                    <a:pt x="63" y="133"/>
                  </a:lnTo>
                  <a:lnTo>
                    <a:pt x="59" y="142"/>
                  </a:lnTo>
                  <a:lnTo>
                    <a:pt x="59" y="147"/>
                  </a:lnTo>
                  <a:lnTo>
                    <a:pt x="56" y="153"/>
                  </a:lnTo>
                  <a:lnTo>
                    <a:pt x="52" y="156"/>
                  </a:lnTo>
                  <a:lnTo>
                    <a:pt x="50" y="162"/>
                  </a:lnTo>
                  <a:lnTo>
                    <a:pt x="44" y="156"/>
                  </a:lnTo>
                  <a:lnTo>
                    <a:pt x="34" y="122"/>
                  </a:lnTo>
                  <a:lnTo>
                    <a:pt x="27" y="113"/>
                  </a:lnTo>
                  <a:lnTo>
                    <a:pt x="23" y="79"/>
                  </a:lnTo>
                  <a:lnTo>
                    <a:pt x="19" y="79"/>
                  </a:lnTo>
                  <a:lnTo>
                    <a:pt x="19" y="86"/>
                  </a:lnTo>
                  <a:lnTo>
                    <a:pt x="17" y="86"/>
                  </a:lnTo>
                  <a:lnTo>
                    <a:pt x="13" y="90"/>
                  </a:lnTo>
                  <a:lnTo>
                    <a:pt x="4" y="79"/>
                  </a:lnTo>
                  <a:lnTo>
                    <a:pt x="11" y="77"/>
                  </a:lnTo>
                  <a:lnTo>
                    <a:pt x="11" y="75"/>
                  </a:lnTo>
                  <a:lnTo>
                    <a:pt x="4" y="77"/>
                  </a:lnTo>
                  <a:lnTo>
                    <a:pt x="0" y="70"/>
                  </a:lnTo>
                  <a:lnTo>
                    <a:pt x="2" y="68"/>
                  </a:lnTo>
                  <a:lnTo>
                    <a:pt x="11" y="68"/>
                  </a:lnTo>
                  <a:lnTo>
                    <a:pt x="11" y="66"/>
                  </a:lnTo>
                  <a:lnTo>
                    <a:pt x="11" y="59"/>
                  </a:lnTo>
                  <a:lnTo>
                    <a:pt x="8" y="59"/>
                  </a:lnTo>
                  <a:lnTo>
                    <a:pt x="8" y="57"/>
                  </a:lnTo>
                  <a:lnTo>
                    <a:pt x="4" y="52"/>
                  </a:lnTo>
                  <a:lnTo>
                    <a:pt x="4" y="50"/>
                  </a:lnTo>
                  <a:lnTo>
                    <a:pt x="8" y="48"/>
                  </a:lnTo>
                  <a:lnTo>
                    <a:pt x="11" y="48"/>
                  </a:lnTo>
                  <a:lnTo>
                    <a:pt x="13" y="48"/>
                  </a:lnTo>
                  <a:lnTo>
                    <a:pt x="25" y="27"/>
                  </a:lnTo>
                  <a:lnTo>
                    <a:pt x="23" y="23"/>
                  </a:lnTo>
                  <a:lnTo>
                    <a:pt x="25" y="23"/>
                  </a:lnTo>
                  <a:lnTo>
                    <a:pt x="19" y="16"/>
                  </a:lnTo>
                  <a:lnTo>
                    <a:pt x="19" y="9"/>
                  </a:lnTo>
                  <a:lnTo>
                    <a:pt x="17" y="7"/>
                  </a:lnTo>
                  <a:lnTo>
                    <a:pt x="25" y="7"/>
                  </a:lnTo>
                  <a:lnTo>
                    <a:pt x="31" y="7"/>
                  </a:lnTo>
                  <a:lnTo>
                    <a:pt x="34" y="5"/>
                  </a:lnTo>
                  <a:lnTo>
                    <a:pt x="40" y="0"/>
                  </a:lnTo>
                  <a:lnTo>
                    <a:pt x="44" y="5"/>
                  </a:lnTo>
                  <a:lnTo>
                    <a:pt x="44" y="7"/>
                  </a:lnTo>
                  <a:lnTo>
                    <a:pt x="42" y="14"/>
                  </a:lnTo>
                  <a:lnTo>
                    <a:pt x="44" y="18"/>
                  </a:lnTo>
                  <a:lnTo>
                    <a:pt x="40" y="18"/>
                  </a:lnTo>
                  <a:lnTo>
                    <a:pt x="40" y="23"/>
                  </a:lnTo>
                  <a:lnTo>
                    <a:pt x="44" y="27"/>
                  </a:lnTo>
                  <a:lnTo>
                    <a:pt x="52" y="34"/>
                  </a:lnTo>
                  <a:lnTo>
                    <a:pt x="50" y="41"/>
                  </a:lnTo>
                  <a:lnTo>
                    <a:pt x="65" y="50"/>
                  </a:lnTo>
                  <a:lnTo>
                    <a:pt x="71" y="50"/>
                  </a:lnTo>
                  <a:lnTo>
                    <a:pt x="75" y="52"/>
                  </a:lnTo>
                  <a:lnTo>
                    <a:pt x="84" y="57"/>
                  </a:lnTo>
                  <a:lnTo>
                    <a:pt x="90" y="57"/>
                  </a:lnTo>
                  <a:lnTo>
                    <a:pt x="88" y="52"/>
                  </a:lnTo>
                  <a:lnTo>
                    <a:pt x="88" y="48"/>
                  </a:lnTo>
                  <a:lnTo>
                    <a:pt x="90" y="4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21" name="Iceland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3817693" y="2470914"/>
              <a:ext cx="216352" cy="7245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0" y="4"/>
                </a:cxn>
                <a:cxn ang="0">
                  <a:pos x="0" y="9"/>
                </a:cxn>
                <a:cxn ang="0">
                  <a:pos x="10" y="9"/>
                </a:cxn>
                <a:cxn ang="0">
                  <a:pos x="4" y="11"/>
                </a:cxn>
                <a:cxn ang="0">
                  <a:pos x="19" y="13"/>
                </a:cxn>
                <a:cxn ang="0">
                  <a:pos x="35" y="9"/>
                </a:cxn>
                <a:cxn ang="0">
                  <a:pos x="37" y="4"/>
                </a:cxn>
                <a:cxn ang="0">
                  <a:pos x="39" y="2"/>
                </a:cxn>
                <a:cxn ang="0">
                  <a:pos x="37" y="2"/>
                </a:cxn>
                <a:cxn ang="0">
                  <a:pos x="37" y="0"/>
                </a:cxn>
                <a:cxn ang="0">
                  <a:pos x="31" y="0"/>
                </a:cxn>
                <a:cxn ang="0">
                  <a:pos x="27" y="2"/>
                </a:cxn>
                <a:cxn ang="0">
                  <a:pos x="19" y="2"/>
                </a:cxn>
                <a:cxn ang="0">
                  <a:pos x="19" y="0"/>
                </a:cxn>
                <a:cxn ang="0">
                  <a:pos x="12" y="4"/>
                </a:cxn>
                <a:cxn ang="0">
                  <a:pos x="12" y="2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39" h="13">
                  <a:moveTo>
                    <a:pt x="0" y="2"/>
                  </a:moveTo>
                  <a:lnTo>
                    <a:pt x="10" y="4"/>
                  </a:lnTo>
                  <a:lnTo>
                    <a:pt x="0" y="9"/>
                  </a:lnTo>
                  <a:lnTo>
                    <a:pt x="10" y="9"/>
                  </a:lnTo>
                  <a:lnTo>
                    <a:pt x="4" y="11"/>
                  </a:lnTo>
                  <a:lnTo>
                    <a:pt x="19" y="13"/>
                  </a:lnTo>
                  <a:lnTo>
                    <a:pt x="35" y="9"/>
                  </a:lnTo>
                  <a:lnTo>
                    <a:pt x="37" y="4"/>
                  </a:lnTo>
                  <a:lnTo>
                    <a:pt x="39" y="2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1" y="0"/>
                  </a:lnTo>
                  <a:lnTo>
                    <a:pt x="27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2" y="4"/>
                  </a:lnTo>
                  <a:lnTo>
                    <a:pt x="12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22" name="Hungary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4638721" y="2994816"/>
              <a:ext cx="160877" cy="78028"/>
            </a:xfrm>
            <a:custGeom>
              <a:avLst/>
              <a:gdLst/>
              <a:ahLst/>
              <a:cxnLst>
                <a:cxn ang="0">
                  <a:pos x="2" y="11"/>
                </a:cxn>
                <a:cxn ang="0">
                  <a:pos x="8" y="14"/>
                </a:cxn>
                <a:cxn ang="0">
                  <a:pos x="21" y="14"/>
                </a:cxn>
                <a:cxn ang="0">
                  <a:pos x="23" y="11"/>
                </a:cxn>
                <a:cxn ang="0">
                  <a:pos x="25" y="5"/>
                </a:cxn>
                <a:cxn ang="0">
                  <a:pos x="29" y="2"/>
                </a:cxn>
                <a:cxn ang="0">
                  <a:pos x="25" y="2"/>
                </a:cxn>
                <a:cxn ang="0">
                  <a:pos x="25" y="0"/>
                </a:cxn>
                <a:cxn ang="0">
                  <a:pos x="21" y="0"/>
                </a:cxn>
                <a:cxn ang="0">
                  <a:pos x="10" y="5"/>
                </a:cxn>
                <a:cxn ang="0">
                  <a:pos x="6" y="2"/>
                </a:cxn>
                <a:cxn ang="0">
                  <a:pos x="0" y="9"/>
                </a:cxn>
                <a:cxn ang="0">
                  <a:pos x="0" y="11"/>
                </a:cxn>
                <a:cxn ang="0">
                  <a:pos x="2" y="11"/>
                </a:cxn>
              </a:cxnLst>
              <a:rect l="0" t="0" r="r" b="b"/>
              <a:pathLst>
                <a:path w="29" h="14">
                  <a:moveTo>
                    <a:pt x="2" y="11"/>
                  </a:moveTo>
                  <a:lnTo>
                    <a:pt x="8" y="14"/>
                  </a:lnTo>
                  <a:lnTo>
                    <a:pt x="21" y="14"/>
                  </a:lnTo>
                  <a:lnTo>
                    <a:pt x="23" y="11"/>
                  </a:lnTo>
                  <a:lnTo>
                    <a:pt x="25" y="5"/>
                  </a:lnTo>
                  <a:lnTo>
                    <a:pt x="29" y="2"/>
                  </a:lnTo>
                  <a:lnTo>
                    <a:pt x="25" y="2"/>
                  </a:lnTo>
                  <a:lnTo>
                    <a:pt x="25" y="0"/>
                  </a:lnTo>
                  <a:lnTo>
                    <a:pt x="21" y="0"/>
                  </a:lnTo>
                  <a:lnTo>
                    <a:pt x="10" y="5"/>
                  </a:lnTo>
                  <a:lnTo>
                    <a:pt x="6" y="2"/>
                  </a:lnTo>
                  <a:lnTo>
                    <a:pt x="0" y="9"/>
                  </a:lnTo>
                  <a:lnTo>
                    <a:pt x="0" y="11"/>
                  </a:lnTo>
                  <a:lnTo>
                    <a:pt x="2" y="1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23" name="Honduras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1903804" y="4048197"/>
              <a:ext cx="177520" cy="891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3" y="0"/>
                </a:cxn>
                <a:cxn ang="0">
                  <a:pos x="32" y="3"/>
                </a:cxn>
                <a:cxn ang="0">
                  <a:pos x="23" y="5"/>
                </a:cxn>
                <a:cxn ang="0">
                  <a:pos x="11" y="16"/>
                </a:cxn>
                <a:cxn ang="0">
                  <a:pos x="9" y="12"/>
                </a:cxn>
                <a:cxn ang="0">
                  <a:pos x="0" y="5"/>
                </a:cxn>
                <a:cxn ang="0">
                  <a:pos x="5" y="3"/>
                </a:cxn>
                <a:cxn ang="0">
                  <a:pos x="9" y="0"/>
                </a:cxn>
              </a:cxnLst>
              <a:rect l="0" t="0" r="r" b="b"/>
              <a:pathLst>
                <a:path w="32" h="16">
                  <a:moveTo>
                    <a:pt x="9" y="0"/>
                  </a:moveTo>
                  <a:lnTo>
                    <a:pt x="23" y="0"/>
                  </a:lnTo>
                  <a:lnTo>
                    <a:pt x="32" y="3"/>
                  </a:lnTo>
                  <a:lnTo>
                    <a:pt x="23" y="5"/>
                  </a:lnTo>
                  <a:lnTo>
                    <a:pt x="11" y="16"/>
                  </a:lnTo>
                  <a:lnTo>
                    <a:pt x="9" y="12"/>
                  </a:lnTo>
                  <a:lnTo>
                    <a:pt x="0" y="5"/>
                  </a:lnTo>
                  <a:lnTo>
                    <a:pt x="5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24" name="Haiti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2314320" y="3914434"/>
              <a:ext cx="77665" cy="61307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8" y="0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12" y="9"/>
                </a:cxn>
                <a:cxn ang="0">
                  <a:pos x="6" y="9"/>
                </a:cxn>
                <a:cxn ang="0">
                  <a:pos x="4" y="9"/>
                </a:cxn>
                <a:cxn ang="0">
                  <a:pos x="0" y="9"/>
                </a:cxn>
                <a:cxn ang="0">
                  <a:pos x="4" y="11"/>
                </a:cxn>
                <a:cxn ang="0">
                  <a:pos x="12" y="11"/>
                </a:cxn>
                <a:cxn ang="0">
                  <a:pos x="12" y="6"/>
                </a:cxn>
                <a:cxn ang="0">
                  <a:pos x="14" y="0"/>
                </a:cxn>
              </a:cxnLst>
              <a:rect l="0" t="0" r="r" b="b"/>
              <a:pathLst>
                <a:path w="14" h="11">
                  <a:moveTo>
                    <a:pt x="14" y="0"/>
                  </a:moveTo>
                  <a:lnTo>
                    <a:pt x="8" y="0"/>
                  </a:lnTo>
                  <a:lnTo>
                    <a:pt x="6" y="2"/>
                  </a:lnTo>
                  <a:lnTo>
                    <a:pt x="8" y="2"/>
                  </a:lnTo>
                  <a:lnTo>
                    <a:pt x="12" y="9"/>
                  </a:lnTo>
                  <a:lnTo>
                    <a:pt x="6" y="9"/>
                  </a:lnTo>
                  <a:lnTo>
                    <a:pt x="4" y="9"/>
                  </a:lnTo>
                  <a:lnTo>
                    <a:pt x="0" y="9"/>
                  </a:lnTo>
                  <a:lnTo>
                    <a:pt x="4" y="11"/>
                  </a:lnTo>
                  <a:lnTo>
                    <a:pt x="12" y="11"/>
                  </a:lnTo>
                  <a:lnTo>
                    <a:pt x="12" y="6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635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25" name="Guyana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2624980" y="4287855"/>
              <a:ext cx="127592" cy="211791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4" y="2"/>
                </a:cxn>
                <a:cxn ang="0">
                  <a:pos x="4" y="5"/>
                </a:cxn>
                <a:cxn ang="0">
                  <a:pos x="6" y="9"/>
                </a:cxn>
                <a:cxn ang="0">
                  <a:pos x="4" y="9"/>
                </a:cxn>
                <a:cxn ang="0">
                  <a:pos x="0" y="14"/>
                </a:cxn>
                <a:cxn ang="0">
                  <a:pos x="4" y="18"/>
                </a:cxn>
                <a:cxn ang="0">
                  <a:pos x="6" y="18"/>
                </a:cxn>
                <a:cxn ang="0">
                  <a:pos x="8" y="25"/>
                </a:cxn>
                <a:cxn ang="0">
                  <a:pos x="6" y="34"/>
                </a:cxn>
                <a:cxn ang="0">
                  <a:pos x="8" y="38"/>
                </a:cxn>
                <a:cxn ang="0">
                  <a:pos x="12" y="38"/>
                </a:cxn>
                <a:cxn ang="0">
                  <a:pos x="21" y="36"/>
                </a:cxn>
                <a:cxn ang="0">
                  <a:pos x="23" y="36"/>
                </a:cxn>
                <a:cxn ang="0">
                  <a:pos x="19" y="25"/>
                </a:cxn>
                <a:cxn ang="0">
                  <a:pos x="21" y="14"/>
                </a:cxn>
                <a:cxn ang="0">
                  <a:pos x="14" y="9"/>
                </a:cxn>
                <a:cxn ang="0">
                  <a:pos x="14" y="2"/>
                </a:cxn>
                <a:cxn ang="0">
                  <a:pos x="10" y="2"/>
                </a:cxn>
                <a:cxn ang="0">
                  <a:pos x="8" y="0"/>
                </a:cxn>
              </a:cxnLst>
              <a:rect l="0" t="0" r="r" b="b"/>
              <a:pathLst>
                <a:path w="23" h="38">
                  <a:moveTo>
                    <a:pt x="8" y="0"/>
                  </a:moveTo>
                  <a:lnTo>
                    <a:pt x="4" y="2"/>
                  </a:lnTo>
                  <a:lnTo>
                    <a:pt x="4" y="5"/>
                  </a:lnTo>
                  <a:lnTo>
                    <a:pt x="6" y="9"/>
                  </a:lnTo>
                  <a:lnTo>
                    <a:pt x="4" y="9"/>
                  </a:lnTo>
                  <a:lnTo>
                    <a:pt x="0" y="14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8" y="25"/>
                  </a:lnTo>
                  <a:lnTo>
                    <a:pt x="6" y="34"/>
                  </a:lnTo>
                  <a:lnTo>
                    <a:pt x="8" y="38"/>
                  </a:lnTo>
                  <a:lnTo>
                    <a:pt x="12" y="38"/>
                  </a:lnTo>
                  <a:lnTo>
                    <a:pt x="21" y="36"/>
                  </a:lnTo>
                  <a:lnTo>
                    <a:pt x="23" y="36"/>
                  </a:lnTo>
                  <a:lnTo>
                    <a:pt x="19" y="25"/>
                  </a:lnTo>
                  <a:lnTo>
                    <a:pt x="21" y="14"/>
                  </a:lnTo>
                  <a:lnTo>
                    <a:pt x="14" y="9"/>
                  </a:lnTo>
                  <a:lnTo>
                    <a:pt x="14" y="2"/>
                  </a:lnTo>
                  <a:lnTo>
                    <a:pt x="10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126" name="Guinea-Bissau"/>
            <p:cNvGrpSpPr/>
            <p:nvPr/>
          </p:nvGrpSpPr>
          <p:grpSpPr>
            <a:xfrm>
              <a:off x="3784147" y="4127449"/>
              <a:ext cx="80174" cy="60085"/>
              <a:chOff x="571500" y="3703638"/>
              <a:chExt cx="180975" cy="114300"/>
            </a:xfrm>
            <a:grpFill/>
          </p:grpSpPr>
          <p:sp>
            <p:nvSpPr>
              <p:cNvPr id="282" name="Guinea-Bissau"/>
              <p:cNvSpPr>
                <a:spLocks/>
              </p:cNvSpPr>
              <p:nvPr/>
            </p:nvSpPr>
            <p:spPr bwMode="auto">
              <a:xfrm>
                <a:off x="595313" y="3803650"/>
                <a:ext cx="15875" cy="11112"/>
              </a:xfrm>
              <a:custGeom>
                <a:avLst/>
                <a:gdLst>
                  <a:gd name="T0" fmla="*/ 10 w 10"/>
                  <a:gd name="T1" fmla="*/ 1 h 7"/>
                  <a:gd name="T2" fmla="*/ 7 w 10"/>
                  <a:gd name="T3" fmla="*/ 3 h 7"/>
                  <a:gd name="T4" fmla="*/ 2 w 10"/>
                  <a:gd name="T5" fmla="*/ 7 h 7"/>
                  <a:gd name="T6" fmla="*/ 0 w 10"/>
                  <a:gd name="T7" fmla="*/ 2 h 7"/>
                  <a:gd name="T8" fmla="*/ 5 w 10"/>
                  <a:gd name="T9" fmla="*/ 0 h 7"/>
                  <a:gd name="T10" fmla="*/ 10 w 10"/>
                  <a:gd name="T11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7">
                    <a:moveTo>
                      <a:pt x="10" y="1"/>
                    </a:moveTo>
                    <a:lnTo>
                      <a:pt x="7" y="3"/>
                    </a:lnTo>
                    <a:lnTo>
                      <a:pt x="2" y="7"/>
                    </a:lnTo>
                    <a:lnTo>
                      <a:pt x="0" y="2"/>
                    </a:lnTo>
                    <a:lnTo>
                      <a:pt x="5" y="0"/>
                    </a:lnTo>
                    <a:lnTo>
                      <a:pt x="10" y="1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83" name="Guinea-Bissau"/>
              <p:cNvSpPr>
                <a:spLocks/>
              </p:cNvSpPr>
              <p:nvPr/>
            </p:nvSpPr>
            <p:spPr bwMode="auto">
              <a:xfrm>
                <a:off x="571500" y="3703638"/>
                <a:ext cx="180975" cy="114300"/>
              </a:xfrm>
              <a:custGeom>
                <a:avLst/>
                <a:gdLst>
                  <a:gd name="T0" fmla="*/ 28 w 221"/>
                  <a:gd name="T1" fmla="*/ 40 h 139"/>
                  <a:gd name="T2" fmla="*/ 6 w 221"/>
                  <a:gd name="T3" fmla="*/ 32 h 139"/>
                  <a:gd name="T4" fmla="*/ 0 w 221"/>
                  <a:gd name="T5" fmla="*/ 29 h 139"/>
                  <a:gd name="T6" fmla="*/ 0 w 221"/>
                  <a:gd name="T7" fmla="*/ 29 h 139"/>
                  <a:gd name="T8" fmla="*/ 25 w 221"/>
                  <a:gd name="T9" fmla="*/ 19 h 139"/>
                  <a:gd name="T10" fmla="*/ 70 w 221"/>
                  <a:gd name="T11" fmla="*/ 18 h 139"/>
                  <a:gd name="T12" fmla="*/ 107 w 221"/>
                  <a:gd name="T13" fmla="*/ 0 h 139"/>
                  <a:gd name="T14" fmla="*/ 211 w 221"/>
                  <a:gd name="T15" fmla="*/ 4 h 139"/>
                  <a:gd name="T16" fmla="*/ 215 w 221"/>
                  <a:gd name="T17" fmla="*/ 4 h 139"/>
                  <a:gd name="T18" fmla="*/ 216 w 221"/>
                  <a:gd name="T19" fmla="*/ 29 h 139"/>
                  <a:gd name="T20" fmla="*/ 200 w 221"/>
                  <a:gd name="T21" fmla="*/ 36 h 139"/>
                  <a:gd name="T22" fmla="*/ 208 w 221"/>
                  <a:gd name="T23" fmla="*/ 53 h 139"/>
                  <a:gd name="T24" fmla="*/ 199 w 221"/>
                  <a:gd name="T25" fmla="*/ 76 h 139"/>
                  <a:gd name="T26" fmla="*/ 167 w 221"/>
                  <a:gd name="T27" fmla="*/ 82 h 139"/>
                  <a:gd name="T28" fmla="*/ 130 w 221"/>
                  <a:gd name="T29" fmla="*/ 102 h 139"/>
                  <a:gd name="T30" fmla="*/ 105 w 221"/>
                  <a:gd name="T31" fmla="*/ 139 h 139"/>
                  <a:gd name="T32" fmla="*/ 110 w 221"/>
                  <a:gd name="T33" fmla="*/ 124 h 139"/>
                  <a:gd name="T34" fmla="*/ 92 w 221"/>
                  <a:gd name="T35" fmla="*/ 124 h 139"/>
                  <a:gd name="T36" fmla="*/ 86 w 221"/>
                  <a:gd name="T37" fmla="*/ 111 h 139"/>
                  <a:gd name="T38" fmla="*/ 90 w 221"/>
                  <a:gd name="T39" fmla="*/ 92 h 139"/>
                  <a:gd name="T40" fmla="*/ 85 w 221"/>
                  <a:gd name="T41" fmla="*/ 78 h 139"/>
                  <a:gd name="T42" fmla="*/ 94 w 221"/>
                  <a:gd name="T43" fmla="*/ 69 h 139"/>
                  <a:gd name="T44" fmla="*/ 127 w 221"/>
                  <a:gd name="T45" fmla="*/ 66 h 139"/>
                  <a:gd name="T46" fmla="*/ 123 w 221"/>
                  <a:gd name="T47" fmla="*/ 59 h 139"/>
                  <a:gd name="T48" fmla="*/ 92 w 221"/>
                  <a:gd name="T49" fmla="*/ 63 h 139"/>
                  <a:gd name="T50" fmla="*/ 59 w 221"/>
                  <a:gd name="T51" fmla="*/ 74 h 139"/>
                  <a:gd name="T52" fmla="*/ 53 w 221"/>
                  <a:gd name="T53" fmla="*/ 65 h 139"/>
                  <a:gd name="T54" fmla="*/ 43 w 221"/>
                  <a:gd name="T55" fmla="*/ 62 h 139"/>
                  <a:gd name="T56" fmla="*/ 30 w 221"/>
                  <a:gd name="T57" fmla="*/ 58 h 139"/>
                  <a:gd name="T58" fmla="*/ 28 w 221"/>
                  <a:gd name="T59" fmla="*/ 4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1" h="139">
                    <a:moveTo>
                      <a:pt x="28" y="40"/>
                    </a:moveTo>
                    <a:cubicBezTo>
                      <a:pt x="20" y="37"/>
                      <a:pt x="13" y="35"/>
                      <a:pt x="6" y="32"/>
                    </a:cubicBezTo>
                    <a:cubicBezTo>
                      <a:pt x="4" y="32"/>
                      <a:pt x="2" y="31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7" y="22"/>
                      <a:pt x="18" y="27"/>
                      <a:pt x="25" y="19"/>
                    </a:cubicBezTo>
                    <a:cubicBezTo>
                      <a:pt x="39" y="10"/>
                      <a:pt x="55" y="18"/>
                      <a:pt x="70" y="18"/>
                    </a:cubicBezTo>
                    <a:cubicBezTo>
                      <a:pt x="84" y="15"/>
                      <a:pt x="96" y="7"/>
                      <a:pt x="107" y="0"/>
                    </a:cubicBezTo>
                    <a:cubicBezTo>
                      <a:pt x="142" y="1"/>
                      <a:pt x="176" y="3"/>
                      <a:pt x="211" y="4"/>
                    </a:cubicBezTo>
                    <a:cubicBezTo>
                      <a:pt x="212" y="4"/>
                      <a:pt x="213" y="4"/>
                      <a:pt x="215" y="4"/>
                    </a:cubicBezTo>
                    <a:cubicBezTo>
                      <a:pt x="211" y="12"/>
                      <a:pt x="221" y="20"/>
                      <a:pt x="216" y="29"/>
                    </a:cubicBezTo>
                    <a:cubicBezTo>
                      <a:pt x="214" y="40"/>
                      <a:pt x="205" y="32"/>
                      <a:pt x="200" y="36"/>
                    </a:cubicBezTo>
                    <a:cubicBezTo>
                      <a:pt x="186" y="41"/>
                      <a:pt x="202" y="48"/>
                      <a:pt x="208" y="53"/>
                    </a:cubicBezTo>
                    <a:cubicBezTo>
                      <a:pt x="208" y="57"/>
                      <a:pt x="210" y="87"/>
                      <a:pt x="199" y="76"/>
                    </a:cubicBezTo>
                    <a:cubicBezTo>
                      <a:pt x="195" y="90"/>
                      <a:pt x="176" y="79"/>
                      <a:pt x="167" y="82"/>
                    </a:cubicBezTo>
                    <a:cubicBezTo>
                      <a:pt x="157" y="96"/>
                      <a:pt x="136" y="86"/>
                      <a:pt x="130" y="102"/>
                    </a:cubicBezTo>
                    <a:cubicBezTo>
                      <a:pt x="123" y="114"/>
                      <a:pt x="117" y="131"/>
                      <a:pt x="105" y="139"/>
                    </a:cubicBezTo>
                    <a:cubicBezTo>
                      <a:pt x="106" y="134"/>
                      <a:pt x="106" y="128"/>
                      <a:pt x="110" y="124"/>
                    </a:cubicBezTo>
                    <a:cubicBezTo>
                      <a:pt x="104" y="125"/>
                      <a:pt x="98" y="127"/>
                      <a:pt x="92" y="124"/>
                    </a:cubicBezTo>
                    <a:cubicBezTo>
                      <a:pt x="90" y="120"/>
                      <a:pt x="86" y="116"/>
                      <a:pt x="86" y="111"/>
                    </a:cubicBezTo>
                    <a:cubicBezTo>
                      <a:pt x="84" y="104"/>
                      <a:pt x="89" y="99"/>
                      <a:pt x="90" y="92"/>
                    </a:cubicBezTo>
                    <a:cubicBezTo>
                      <a:pt x="89" y="87"/>
                      <a:pt x="86" y="83"/>
                      <a:pt x="85" y="78"/>
                    </a:cubicBezTo>
                    <a:cubicBezTo>
                      <a:pt x="85" y="74"/>
                      <a:pt x="92" y="72"/>
                      <a:pt x="94" y="69"/>
                    </a:cubicBezTo>
                    <a:cubicBezTo>
                      <a:pt x="104" y="65"/>
                      <a:pt x="116" y="67"/>
                      <a:pt x="127" y="66"/>
                    </a:cubicBezTo>
                    <a:cubicBezTo>
                      <a:pt x="129" y="60"/>
                      <a:pt x="129" y="57"/>
                      <a:pt x="123" y="59"/>
                    </a:cubicBezTo>
                    <a:cubicBezTo>
                      <a:pt x="112" y="61"/>
                      <a:pt x="102" y="60"/>
                      <a:pt x="92" y="63"/>
                    </a:cubicBezTo>
                    <a:cubicBezTo>
                      <a:pt x="80" y="66"/>
                      <a:pt x="71" y="74"/>
                      <a:pt x="59" y="74"/>
                    </a:cubicBezTo>
                    <a:cubicBezTo>
                      <a:pt x="53" y="75"/>
                      <a:pt x="52" y="70"/>
                      <a:pt x="53" y="65"/>
                    </a:cubicBezTo>
                    <a:cubicBezTo>
                      <a:pt x="54" y="59"/>
                      <a:pt x="46" y="64"/>
                      <a:pt x="43" y="62"/>
                    </a:cubicBezTo>
                    <a:cubicBezTo>
                      <a:pt x="39" y="60"/>
                      <a:pt x="33" y="61"/>
                      <a:pt x="30" y="58"/>
                    </a:cubicBezTo>
                    <a:cubicBezTo>
                      <a:pt x="26" y="53"/>
                      <a:pt x="27" y="46"/>
                      <a:pt x="28" y="40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127" name="Guinea"/>
            <p:cNvSpPr>
              <a:spLocks noEditPoints="1"/>
            </p:cNvSpPr>
            <p:nvPr/>
          </p:nvSpPr>
          <p:spPr bwMode="auto">
            <a:xfrm>
              <a:off x="3821421" y="4129118"/>
              <a:ext cx="194104" cy="189433"/>
            </a:xfrm>
            <a:custGeom>
              <a:avLst/>
              <a:gdLst>
                <a:gd name="T0" fmla="*/ 269 w 532"/>
                <a:gd name="T1" fmla="*/ 48 h 438"/>
                <a:gd name="T2" fmla="*/ 127 w 532"/>
                <a:gd name="T3" fmla="*/ 281 h 438"/>
                <a:gd name="T4" fmla="*/ 126 w 532"/>
                <a:gd name="T5" fmla="*/ 279 h 438"/>
                <a:gd name="T6" fmla="*/ 105 w 532"/>
                <a:gd name="T7" fmla="*/ 243 h 438"/>
                <a:gd name="T8" fmla="*/ 80 w 532"/>
                <a:gd name="T9" fmla="*/ 212 h 438"/>
                <a:gd name="T10" fmla="*/ 49 w 532"/>
                <a:gd name="T11" fmla="*/ 192 h 438"/>
                <a:gd name="T12" fmla="*/ 38 w 532"/>
                <a:gd name="T13" fmla="*/ 155 h 438"/>
                <a:gd name="T14" fmla="*/ 29 w 532"/>
                <a:gd name="T15" fmla="*/ 131 h 438"/>
                <a:gd name="T16" fmla="*/ 8 w 532"/>
                <a:gd name="T17" fmla="*/ 148 h 438"/>
                <a:gd name="T18" fmla="*/ 1 w 532"/>
                <a:gd name="T19" fmla="*/ 135 h 438"/>
                <a:gd name="T20" fmla="*/ 63 w 532"/>
                <a:gd name="T21" fmla="*/ 78 h 438"/>
                <a:gd name="T22" fmla="*/ 104 w 532"/>
                <a:gd name="T23" fmla="*/ 49 h 438"/>
                <a:gd name="T24" fmla="*/ 104 w 532"/>
                <a:gd name="T25" fmla="*/ 49 h 438"/>
                <a:gd name="T26" fmla="*/ 112 w 532"/>
                <a:gd name="T27" fmla="*/ 25 h 438"/>
                <a:gd name="T28" fmla="*/ 157 w 532"/>
                <a:gd name="T29" fmla="*/ 6 h 438"/>
                <a:gd name="T30" fmla="*/ 191 w 532"/>
                <a:gd name="T31" fmla="*/ 25 h 438"/>
                <a:gd name="T32" fmla="*/ 253 w 532"/>
                <a:gd name="T33" fmla="*/ 26 h 438"/>
                <a:gd name="T34" fmla="*/ 275 w 532"/>
                <a:gd name="T35" fmla="*/ 27 h 438"/>
                <a:gd name="T36" fmla="*/ 269 w 532"/>
                <a:gd name="T37" fmla="*/ 45 h 438"/>
                <a:gd name="T38" fmla="*/ 269 w 532"/>
                <a:gd name="T39" fmla="*/ 45 h 438"/>
                <a:gd name="T40" fmla="*/ 319 w 532"/>
                <a:gd name="T41" fmla="*/ 58 h 438"/>
                <a:gd name="T42" fmla="*/ 384 w 532"/>
                <a:gd name="T43" fmla="*/ 54 h 438"/>
                <a:gd name="T44" fmla="*/ 423 w 532"/>
                <a:gd name="T45" fmla="*/ 28 h 438"/>
                <a:gd name="T46" fmla="*/ 456 w 532"/>
                <a:gd name="T47" fmla="*/ 49 h 438"/>
                <a:gd name="T48" fmla="*/ 467 w 532"/>
                <a:gd name="T49" fmla="*/ 90 h 438"/>
                <a:gd name="T50" fmla="*/ 487 w 532"/>
                <a:gd name="T51" fmla="*/ 117 h 438"/>
                <a:gd name="T52" fmla="*/ 494 w 532"/>
                <a:gd name="T53" fmla="*/ 140 h 438"/>
                <a:gd name="T54" fmla="*/ 514 w 532"/>
                <a:gd name="T55" fmla="*/ 192 h 438"/>
                <a:gd name="T56" fmla="*/ 514 w 532"/>
                <a:gd name="T57" fmla="*/ 204 h 438"/>
                <a:gd name="T58" fmla="*/ 501 w 532"/>
                <a:gd name="T59" fmla="*/ 216 h 438"/>
                <a:gd name="T60" fmla="*/ 519 w 532"/>
                <a:gd name="T61" fmla="*/ 262 h 438"/>
                <a:gd name="T62" fmla="*/ 511 w 532"/>
                <a:gd name="T63" fmla="*/ 303 h 438"/>
                <a:gd name="T64" fmla="*/ 521 w 532"/>
                <a:gd name="T65" fmla="*/ 337 h 438"/>
                <a:gd name="T66" fmla="*/ 489 w 532"/>
                <a:gd name="T67" fmla="*/ 346 h 438"/>
                <a:gd name="T68" fmla="*/ 498 w 532"/>
                <a:gd name="T69" fmla="*/ 375 h 438"/>
                <a:gd name="T70" fmla="*/ 468 w 532"/>
                <a:gd name="T71" fmla="*/ 401 h 438"/>
                <a:gd name="T72" fmla="*/ 442 w 532"/>
                <a:gd name="T73" fmla="*/ 416 h 438"/>
                <a:gd name="T74" fmla="*/ 408 w 532"/>
                <a:gd name="T75" fmla="*/ 416 h 438"/>
                <a:gd name="T76" fmla="*/ 399 w 532"/>
                <a:gd name="T77" fmla="*/ 371 h 438"/>
                <a:gd name="T78" fmla="*/ 394 w 532"/>
                <a:gd name="T79" fmla="*/ 350 h 438"/>
                <a:gd name="T80" fmla="*/ 380 w 532"/>
                <a:gd name="T81" fmla="*/ 334 h 438"/>
                <a:gd name="T82" fmla="*/ 352 w 532"/>
                <a:gd name="T83" fmla="*/ 327 h 438"/>
                <a:gd name="T84" fmla="*/ 324 w 532"/>
                <a:gd name="T85" fmla="*/ 339 h 438"/>
                <a:gd name="T86" fmla="*/ 325 w 532"/>
                <a:gd name="T87" fmla="*/ 315 h 438"/>
                <a:gd name="T88" fmla="*/ 312 w 532"/>
                <a:gd name="T89" fmla="*/ 273 h 438"/>
                <a:gd name="T90" fmla="*/ 275 w 532"/>
                <a:gd name="T91" fmla="*/ 212 h 438"/>
                <a:gd name="T92" fmla="*/ 185 w 532"/>
                <a:gd name="T93" fmla="*/ 219 h 438"/>
                <a:gd name="T94" fmla="*/ 145 w 532"/>
                <a:gd name="T95" fmla="*/ 275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32" h="438">
                  <a:moveTo>
                    <a:pt x="269" y="48"/>
                  </a:moveTo>
                  <a:cubicBezTo>
                    <a:pt x="269" y="51"/>
                    <a:pt x="269" y="52"/>
                    <a:pt x="269" y="48"/>
                  </a:cubicBezTo>
                  <a:close/>
                  <a:moveTo>
                    <a:pt x="145" y="275"/>
                  </a:moveTo>
                  <a:cubicBezTo>
                    <a:pt x="140" y="288"/>
                    <a:pt x="131" y="277"/>
                    <a:pt x="127" y="281"/>
                  </a:cubicBezTo>
                  <a:cubicBezTo>
                    <a:pt x="127" y="281"/>
                    <a:pt x="127" y="281"/>
                    <a:pt x="127" y="281"/>
                  </a:cubicBezTo>
                  <a:cubicBezTo>
                    <a:pt x="127" y="280"/>
                    <a:pt x="127" y="280"/>
                    <a:pt x="126" y="279"/>
                  </a:cubicBezTo>
                  <a:cubicBezTo>
                    <a:pt x="126" y="272"/>
                    <a:pt x="119" y="267"/>
                    <a:pt x="116" y="261"/>
                  </a:cubicBezTo>
                  <a:cubicBezTo>
                    <a:pt x="114" y="254"/>
                    <a:pt x="105" y="251"/>
                    <a:pt x="105" y="243"/>
                  </a:cubicBezTo>
                  <a:cubicBezTo>
                    <a:pt x="106" y="238"/>
                    <a:pt x="101" y="236"/>
                    <a:pt x="98" y="233"/>
                  </a:cubicBezTo>
                  <a:cubicBezTo>
                    <a:pt x="93" y="225"/>
                    <a:pt x="86" y="219"/>
                    <a:pt x="80" y="212"/>
                  </a:cubicBezTo>
                  <a:cubicBezTo>
                    <a:pt x="72" y="211"/>
                    <a:pt x="67" y="206"/>
                    <a:pt x="61" y="201"/>
                  </a:cubicBezTo>
                  <a:cubicBezTo>
                    <a:pt x="57" y="198"/>
                    <a:pt x="51" y="196"/>
                    <a:pt x="49" y="192"/>
                  </a:cubicBezTo>
                  <a:cubicBezTo>
                    <a:pt x="44" y="183"/>
                    <a:pt x="40" y="174"/>
                    <a:pt x="41" y="164"/>
                  </a:cubicBezTo>
                  <a:cubicBezTo>
                    <a:pt x="40" y="160"/>
                    <a:pt x="45" y="154"/>
                    <a:pt x="38" y="155"/>
                  </a:cubicBezTo>
                  <a:cubicBezTo>
                    <a:pt x="34" y="155"/>
                    <a:pt x="28" y="153"/>
                    <a:pt x="30" y="148"/>
                  </a:cubicBezTo>
                  <a:cubicBezTo>
                    <a:pt x="28" y="143"/>
                    <a:pt x="28" y="137"/>
                    <a:pt x="29" y="131"/>
                  </a:cubicBezTo>
                  <a:cubicBezTo>
                    <a:pt x="24" y="131"/>
                    <a:pt x="22" y="137"/>
                    <a:pt x="18" y="141"/>
                  </a:cubicBezTo>
                  <a:cubicBezTo>
                    <a:pt x="17" y="145"/>
                    <a:pt x="13" y="147"/>
                    <a:pt x="8" y="148"/>
                  </a:cubicBezTo>
                  <a:cubicBezTo>
                    <a:pt x="5" y="144"/>
                    <a:pt x="2" y="141"/>
                    <a:pt x="0" y="137"/>
                  </a:cubicBezTo>
                  <a:cubicBezTo>
                    <a:pt x="1" y="137"/>
                    <a:pt x="1" y="136"/>
                    <a:pt x="1" y="135"/>
                  </a:cubicBezTo>
                  <a:cubicBezTo>
                    <a:pt x="13" y="127"/>
                    <a:pt x="19" y="110"/>
                    <a:pt x="26" y="98"/>
                  </a:cubicBezTo>
                  <a:cubicBezTo>
                    <a:pt x="32" y="82"/>
                    <a:pt x="53" y="92"/>
                    <a:pt x="63" y="78"/>
                  </a:cubicBezTo>
                  <a:cubicBezTo>
                    <a:pt x="72" y="75"/>
                    <a:pt x="91" y="86"/>
                    <a:pt x="95" y="72"/>
                  </a:cubicBezTo>
                  <a:cubicBezTo>
                    <a:pt x="106" y="83"/>
                    <a:pt x="104" y="53"/>
                    <a:pt x="104" y="49"/>
                  </a:cubicBezTo>
                  <a:cubicBezTo>
                    <a:pt x="105" y="50"/>
                    <a:pt x="105" y="50"/>
                    <a:pt x="105" y="50"/>
                  </a:cubicBezTo>
                  <a:cubicBezTo>
                    <a:pt x="105" y="49"/>
                    <a:pt x="104" y="49"/>
                    <a:pt x="104" y="49"/>
                  </a:cubicBezTo>
                  <a:cubicBezTo>
                    <a:pt x="98" y="44"/>
                    <a:pt x="82" y="37"/>
                    <a:pt x="96" y="32"/>
                  </a:cubicBezTo>
                  <a:cubicBezTo>
                    <a:pt x="101" y="28"/>
                    <a:pt x="110" y="36"/>
                    <a:pt x="112" y="25"/>
                  </a:cubicBezTo>
                  <a:cubicBezTo>
                    <a:pt x="117" y="16"/>
                    <a:pt x="107" y="8"/>
                    <a:pt x="111" y="0"/>
                  </a:cubicBezTo>
                  <a:cubicBezTo>
                    <a:pt x="126" y="1"/>
                    <a:pt x="144" y="1"/>
                    <a:pt x="157" y="6"/>
                  </a:cubicBezTo>
                  <a:cubicBezTo>
                    <a:pt x="154" y="14"/>
                    <a:pt x="161" y="22"/>
                    <a:pt x="167" y="12"/>
                  </a:cubicBezTo>
                  <a:cubicBezTo>
                    <a:pt x="173" y="18"/>
                    <a:pt x="184" y="20"/>
                    <a:pt x="191" y="25"/>
                  </a:cubicBezTo>
                  <a:cubicBezTo>
                    <a:pt x="202" y="20"/>
                    <a:pt x="205" y="34"/>
                    <a:pt x="215" y="29"/>
                  </a:cubicBezTo>
                  <a:cubicBezTo>
                    <a:pt x="227" y="21"/>
                    <a:pt x="240" y="26"/>
                    <a:pt x="253" y="26"/>
                  </a:cubicBezTo>
                  <a:cubicBezTo>
                    <a:pt x="258" y="21"/>
                    <a:pt x="266" y="24"/>
                    <a:pt x="272" y="24"/>
                  </a:cubicBezTo>
                  <a:cubicBezTo>
                    <a:pt x="275" y="27"/>
                    <a:pt x="275" y="27"/>
                    <a:pt x="275" y="27"/>
                  </a:cubicBezTo>
                  <a:cubicBezTo>
                    <a:pt x="272" y="30"/>
                    <a:pt x="270" y="40"/>
                    <a:pt x="269" y="45"/>
                  </a:cubicBezTo>
                  <a:cubicBezTo>
                    <a:pt x="269" y="45"/>
                    <a:pt x="269" y="45"/>
                    <a:pt x="269" y="45"/>
                  </a:cubicBezTo>
                  <a:cubicBezTo>
                    <a:pt x="269" y="46"/>
                    <a:pt x="269" y="47"/>
                    <a:pt x="269" y="47"/>
                  </a:cubicBezTo>
                  <a:cubicBezTo>
                    <a:pt x="269" y="47"/>
                    <a:pt x="269" y="46"/>
                    <a:pt x="269" y="45"/>
                  </a:cubicBezTo>
                  <a:cubicBezTo>
                    <a:pt x="277" y="52"/>
                    <a:pt x="288" y="64"/>
                    <a:pt x="295" y="49"/>
                  </a:cubicBezTo>
                  <a:cubicBezTo>
                    <a:pt x="302" y="33"/>
                    <a:pt x="320" y="45"/>
                    <a:pt x="319" y="58"/>
                  </a:cubicBezTo>
                  <a:cubicBezTo>
                    <a:pt x="328" y="78"/>
                    <a:pt x="336" y="46"/>
                    <a:pt x="349" y="46"/>
                  </a:cubicBezTo>
                  <a:cubicBezTo>
                    <a:pt x="360" y="38"/>
                    <a:pt x="373" y="50"/>
                    <a:pt x="384" y="54"/>
                  </a:cubicBezTo>
                  <a:cubicBezTo>
                    <a:pt x="398" y="65"/>
                    <a:pt x="399" y="45"/>
                    <a:pt x="410" y="44"/>
                  </a:cubicBezTo>
                  <a:cubicBezTo>
                    <a:pt x="418" y="41"/>
                    <a:pt x="435" y="39"/>
                    <a:pt x="423" y="28"/>
                  </a:cubicBezTo>
                  <a:cubicBezTo>
                    <a:pt x="423" y="17"/>
                    <a:pt x="446" y="25"/>
                    <a:pt x="451" y="32"/>
                  </a:cubicBezTo>
                  <a:cubicBezTo>
                    <a:pt x="453" y="39"/>
                    <a:pt x="448" y="45"/>
                    <a:pt x="456" y="49"/>
                  </a:cubicBezTo>
                  <a:cubicBezTo>
                    <a:pt x="450" y="60"/>
                    <a:pt x="469" y="61"/>
                    <a:pt x="462" y="73"/>
                  </a:cubicBezTo>
                  <a:cubicBezTo>
                    <a:pt x="459" y="80"/>
                    <a:pt x="456" y="90"/>
                    <a:pt x="467" y="90"/>
                  </a:cubicBezTo>
                  <a:cubicBezTo>
                    <a:pt x="469" y="102"/>
                    <a:pt x="483" y="103"/>
                    <a:pt x="489" y="111"/>
                  </a:cubicBezTo>
                  <a:cubicBezTo>
                    <a:pt x="486" y="113"/>
                    <a:pt x="494" y="117"/>
                    <a:pt x="487" y="117"/>
                  </a:cubicBezTo>
                  <a:cubicBezTo>
                    <a:pt x="478" y="118"/>
                    <a:pt x="469" y="132"/>
                    <a:pt x="466" y="141"/>
                  </a:cubicBezTo>
                  <a:cubicBezTo>
                    <a:pt x="476" y="145"/>
                    <a:pt x="487" y="125"/>
                    <a:pt x="494" y="140"/>
                  </a:cubicBezTo>
                  <a:cubicBezTo>
                    <a:pt x="494" y="154"/>
                    <a:pt x="486" y="176"/>
                    <a:pt x="502" y="184"/>
                  </a:cubicBezTo>
                  <a:cubicBezTo>
                    <a:pt x="513" y="191"/>
                    <a:pt x="498" y="187"/>
                    <a:pt x="514" y="192"/>
                  </a:cubicBezTo>
                  <a:cubicBezTo>
                    <a:pt x="516" y="195"/>
                    <a:pt x="515" y="200"/>
                    <a:pt x="516" y="203"/>
                  </a:cubicBezTo>
                  <a:cubicBezTo>
                    <a:pt x="514" y="204"/>
                    <a:pt x="514" y="204"/>
                    <a:pt x="514" y="204"/>
                  </a:cubicBezTo>
                  <a:cubicBezTo>
                    <a:pt x="512" y="210"/>
                    <a:pt x="504" y="211"/>
                    <a:pt x="501" y="216"/>
                  </a:cubicBezTo>
                  <a:cubicBezTo>
                    <a:pt x="501" y="216"/>
                    <a:pt x="501" y="216"/>
                    <a:pt x="501" y="216"/>
                  </a:cubicBezTo>
                  <a:cubicBezTo>
                    <a:pt x="502" y="228"/>
                    <a:pt x="500" y="241"/>
                    <a:pt x="499" y="254"/>
                  </a:cubicBezTo>
                  <a:cubicBezTo>
                    <a:pt x="505" y="269"/>
                    <a:pt x="522" y="259"/>
                    <a:pt x="519" y="262"/>
                  </a:cubicBezTo>
                  <a:cubicBezTo>
                    <a:pt x="515" y="272"/>
                    <a:pt x="512" y="281"/>
                    <a:pt x="525" y="284"/>
                  </a:cubicBezTo>
                  <a:cubicBezTo>
                    <a:pt x="527" y="290"/>
                    <a:pt x="507" y="291"/>
                    <a:pt x="511" y="303"/>
                  </a:cubicBezTo>
                  <a:cubicBezTo>
                    <a:pt x="507" y="315"/>
                    <a:pt x="530" y="310"/>
                    <a:pt x="529" y="325"/>
                  </a:cubicBezTo>
                  <a:cubicBezTo>
                    <a:pt x="532" y="332"/>
                    <a:pt x="530" y="350"/>
                    <a:pt x="521" y="337"/>
                  </a:cubicBezTo>
                  <a:cubicBezTo>
                    <a:pt x="520" y="329"/>
                    <a:pt x="514" y="344"/>
                    <a:pt x="511" y="334"/>
                  </a:cubicBezTo>
                  <a:cubicBezTo>
                    <a:pt x="501" y="328"/>
                    <a:pt x="484" y="331"/>
                    <a:pt x="489" y="346"/>
                  </a:cubicBezTo>
                  <a:cubicBezTo>
                    <a:pt x="482" y="361"/>
                    <a:pt x="510" y="350"/>
                    <a:pt x="505" y="364"/>
                  </a:cubicBezTo>
                  <a:cubicBezTo>
                    <a:pt x="512" y="370"/>
                    <a:pt x="495" y="366"/>
                    <a:pt x="498" y="375"/>
                  </a:cubicBezTo>
                  <a:cubicBezTo>
                    <a:pt x="495" y="385"/>
                    <a:pt x="495" y="396"/>
                    <a:pt x="486" y="404"/>
                  </a:cubicBezTo>
                  <a:cubicBezTo>
                    <a:pt x="481" y="399"/>
                    <a:pt x="474" y="401"/>
                    <a:pt x="468" y="401"/>
                  </a:cubicBezTo>
                  <a:cubicBezTo>
                    <a:pt x="464" y="401"/>
                    <a:pt x="461" y="399"/>
                    <a:pt x="460" y="392"/>
                  </a:cubicBezTo>
                  <a:cubicBezTo>
                    <a:pt x="446" y="391"/>
                    <a:pt x="453" y="411"/>
                    <a:pt x="442" y="416"/>
                  </a:cubicBezTo>
                  <a:cubicBezTo>
                    <a:pt x="440" y="422"/>
                    <a:pt x="438" y="428"/>
                    <a:pt x="430" y="425"/>
                  </a:cubicBezTo>
                  <a:cubicBezTo>
                    <a:pt x="419" y="438"/>
                    <a:pt x="417" y="417"/>
                    <a:pt x="408" y="416"/>
                  </a:cubicBezTo>
                  <a:cubicBezTo>
                    <a:pt x="403" y="409"/>
                    <a:pt x="389" y="421"/>
                    <a:pt x="396" y="411"/>
                  </a:cubicBezTo>
                  <a:cubicBezTo>
                    <a:pt x="407" y="399"/>
                    <a:pt x="401" y="384"/>
                    <a:pt x="399" y="371"/>
                  </a:cubicBezTo>
                  <a:cubicBezTo>
                    <a:pt x="403" y="362"/>
                    <a:pt x="395" y="368"/>
                    <a:pt x="397" y="359"/>
                  </a:cubicBezTo>
                  <a:cubicBezTo>
                    <a:pt x="397" y="351"/>
                    <a:pt x="397" y="352"/>
                    <a:pt x="394" y="350"/>
                  </a:cubicBezTo>
                  <a:cubicBezTo>
                    <a:pt x="398" y="342"/>
                    <a:pt x="392" y="335"/>
                    <a:pt x="384" y="337"/>
                  </a:cubicBezTo>
                  <a:cubicBezTo>
                    <a:pt x="386" y="332"/>
                    <a:pt x="385" y="330"/>
                    <a:pt x="380" y="334"/>
                  </a:cubicBezTo>
                  <a:cubicBezTo>
                    <a:pt x="378" y="328"/>
                    <a:pt x="377" y="322"/>
                    <a:pt x="372" y="329"/>
                  </a:cubicBezTo>
                  <a:cubicBezTo>
                    <a:pt x="363" y="329"/>
                    <a:pt x="355" y="339"/>
                    <a:pt x="352" y="327"/>
                  </a:cubicBezTo>
                  <a:cubicBezTo>
                    <a:pt x="348" y="328"/>
                    <a:pt x="344" y="328"/>
                    <a:pt x="339" y="329"/>
                  </a:cubicBezTo>
                  <a:cubicBezTo>
                    <a:pt x="333" y="330"/>
                    <a:pt x="327" y="331"/>
                    <a:pt x="324" y="339"/>
                  </a:cubicBezTo>
                  <a:cubicBezTo>
                    <a:pt x="321" y="343"/>
                    <a:pt x="312" y="342"/>
                    <a:pt x="307" y="341"/>
                  </a:cubicBezTo>
                  <a:cubicBezTo>
                    <a:pt x="312" y="332"/>
                    <a:pt x="316" y="321"/>
                    <a:pt x="325" y="315"/>
                  </a:cubicBezTo>
                  <a:cubicBezTo>
                    <a:pt x="318" y="307"/>
                    <a:pt x="315" y="296"/>
                    <a:pt x="318" y="286"/>
                  </a:cubicBezTo>
                  <a:cubicBezTo>
                    <a:pt x="311" y="284"/>
                    <a:pt x="302" y="280"/>
                    <a:pt x="312" y="273"/>
                  </a:cubicBezTo>
                  <a:cubicBezTo>
                    <a:pt x="317" y="261"/>
                    <a:pt x="298" y="258"/>
                    <a:pt x="299" y="245"/>
                  </a:cubicBezTo>
                  <a:cubicBezTo>
                    <a:pt x="292" y="232"/>
                    <a:pt x="284" y="221"/>
                    <a:pt x="275" y="212"/>
                  </a:cubicBezTo>
                  <a:cubicBezTo>
                    <a:pt x="259" y="211"/>
                    <a:pt x="243" y="211"/>
                    <a:pt x="227" y="211"/>
                  </a:cubicBezTo>
                  <a:cubicBezTo>
                    <a:pt x="220" y="229"/>
                    <a:pt x="198" y="209"/>
                    <a:pt x="185" y="219"/>
                  </a:cubicBezTo>
                  <a:cubicBezTo>
                    <a:pt x="179" y="233"/>
                    <a:pt x="171" y="247"/>
                    <a:pt x="162" y="259"/>
                  </a:cubicBezTo>
                  <a:cubicBezTo>
                    <a:pt x="156" y="267"/>
                    <a:pt x="144" y="262"/>
                    <a:pt x="145" y="275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28" name="Guatemala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1848329" y="3975742"/>
              <a:ext cx="105402" cy="139336"/>
            </a:xfrm>
            <a:custGeom>
              <a:avLst/>
              <a:gdLst/>
              <a:ahLst/>
              <a:cxnLst>
                <a:cxn ang="0">
                  <a:pos x="10" y="18"/>
                </a:cxn>
                <a:cxn ang="0">
                  <a:pos x="8" y="25"/>
                </a:cxn>
                <a:cxn ang="0">
                  <a:pos x="0" y="22"/>
                </a:cxn>
                <a:cxn ang="0">
                  <a:pos x="0" y="18"/>
                </a:cxn>
                <a:cxn ang="0">
                  <a:pos x="4" y="9"/>
                </a:cxn>
                <a:cxn ang="0">
                  <a:pos x="8" y="9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17" y="0"/>
                </a:cxn>
                <a:cxn ang="0">
                  <a:pos x="13" y="9"/>
                </a:cxn>
                <a:cxn ang="0">
                  <a:pos x="17" y="13"/>
                </a:cxn>
                <a:cxn ang="0">
                  <a:pos x="19" y="13"/>
                </a:cxn>
                <a:cxn ang="0">
                  <a:pos x="15" y="16"/>
                </a:cxn>
                <a:cxn ang="0">
                  <a:pos x="10" y="16"/>
                </a:cxn>
                <a:cxn ang="0">
                  <a:pos x="10" y="18"/>
                </a:cxn>
              </a:cxnLst>
              <a:rect l="0" t="0" r="r" b="b"/>
              <a:pathLst>
                <a:path w="19" h="25">
                  <a:moveTo>
                    <a:pt x="10" y="18"/>
                  </a:moveTo>
                  <a:lnTo>
                    <a:pt x="8" y="25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4" y="9"/>
                  </a:lnTo>
                  <a:lnTo>
                    <a:pt x="8" y="9"/>
                  </a:lnTo>
                  <a:lnTo>
                    <a:pt x="4" y="4"/>
                  </a:lnTo>
                  <a:lnTo>
                    <a:pt x="8" y="0"/>
                  </a:lnTo>
                  <a:lnTo>
                    <a:pt x="17" y="0"/>
                  </a:lnTo>
                  <a:lnTo>
                    <a:pt x="13" y="9"/>
                  </a:lnTo>
                  <a:lnTo>
                    <a:pt x="17" y="13"/>
                  </a:lnTo>
                  <a:lnTo>
                    <a:pt x="19" y="13"/>
                  </a:lnTo>
                  <a:lnTo>
                    <a:pt x="15" y="16"/>
                  </a:lnTo>
                  <a:lnTo>
                    <a:pt x="10" y="16"/>
                  </a:lnTo>
                  <a:lnTo>
                    <a:pt x="10" y="1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29" name="Grenada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 rot="5400000">
              <a:off x="3223235" y="4598380"/>
              <a:ext cx="44380" cy="1114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2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8" h="2">
                  <a:moveTo>
                    <a:pt x="0" y="2"/>
                  </a:moveTo>
                  <a:lnTo>
                    <a:pt x="4" y="2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30" name="Greenland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3113160" y="2041759"/>
              <a:ext cx="1048478" cy="613078"/>
            </a:xfrm>
            <a:custGeom>
              <a:avLst/>
              <a:gdLst/>
              <a:ahLst/>
              <a:cxnLst>
                <a:cxn ang="0">
                  <a:pos x="6" y="20"/>
                </a:cxn>
                <a:cxn ang="0">
                  <a:pos x="0" y="27"/>
                </a:cxn>
                <a:cxn ang="0">
                  <a:pos x="27" y="29"/>
                </a:cxn>
                <a:cxn ang="0">
                  <a:pos x="35" y="34"/>
                </a:cxn>
                <a:cxn ang="0">
                  <a:pos x="37" y="43"/>
                </a:cxn>
                <a:cxn ang="0">
                  <a:pos x="35" y="47"/>
                </a:cxn>
                <a:cxn ang="0">
                  <a:pos x="37" y="52"/>
                </a:cxn>
                <a:cxn ang="0">
                  <a:pos x="39" y="52"/>
                </a:cxn>
                <a:cxn ang="0">
                  <a:pos x="35" y="54"/>
                </a:cxn>
                <a:cxn ang="0">
                  <a:pos x="35" y="61"/>
                </a:cxn>
                <a:cxn ang="0">
                  <a:pos x="43" y="61"/>
                </a:cxn>
                <a:cxn ang="0">
                  <a:pos x="35" y="63"/>
                </a:cxn>
                <a:cxn ang="0">
                  <a:pos x="27" y="79"/>
                </a:cxn>
                <a:cxn ang="0">
                  <a:pos x="27" y="86"/>
                </a:cxn>
                <a:cxn ang="0">
                  <a:pos x="29" y="90"/>
                </a:cxn>
                <a:cxn ang="0">
                  <a:pos x="35" y="104"/>
                </a:cxn>
                <a:cxn ang="0">
                  <a:pos x="48" y="110"/>
                </a:cxn>
                <a:cxn ang="0">
                  <a:pos x="58" y="95"/>
                </a:cxn>
                <a:cxn ang="0">
                  <a:pos x="68" y="86"/>
                </a:cxn>
                <a:cxn ang="0">
                  <a:pos x="70" y="81"/>
                </a:cxn>
                <a:cxn ang="0">
                  <a:pos x="87" y="79"/>
                </a:cxn>
                <a:cxn ang="0">
                  <a:pos x="125" y="63"/>
                </a:cxn>
                <a:cxn ang="0">
                  <a:pos x="141" y="56"/>
                </a:cxn>
                <a:cxn ang="0">
                  <a:pos x="133" y="52"/>
                </a:cxn>
                <a:cxn ang="0">
                  <a:pos x="146" y="54"/>
                </a:cxn>
                <a:cxn ang="0">
                  <a:pos x="146" y="47"/>
                </a:cxn>
                <a:cxn ang="0">
                  <a:pos x="146" y="43"/>
                </a:cxn>
                <a:cxn ang="0">
                  <a:pos x="156" y="38"/>
                </a:cxn>
                <a:cxn ang="0">
                  <a:pos x="156" y="36"/>
                </a:cxn>
                <a:cxn ang="0">
                  <a:pos x="154" y="29"/>
                </a:cxn>
                <a:cxn ang="0">
                  <a:pos x="164" y="27"/>
                </a:cxn>
                <a:cxn ang="0">
                  <a:pos x="162" y="20"/>
                </a:cxn>
                <a:cxn ang="0">
                  <a:pos x="164" y="18"/>
                </a:cxn>
                <a:cxn ang="0">
                  <a:pos x="189" y="9"/>
                </a:cxn>
                <a:cxn ang="0">
                  <a:pos x="162" y="5"/>
                </a:cxn>
                <a:cxn ang="0">
                  <a:pos x="148" y="0"/>
                </a:cxn>
                <a:cxn ang="0">
                  <a:pos x="77" y="5"/>
                </a:cxn>
                <a:cxn ang="0">
                  <a:pos x="48" y="9"/>
                </a:cxn>
                <a:cxn ang="0">
                  <a:pos x="22" y="11"/>
                </a:cxn>
                <a:cxn ang="0">
                  <a:pos x="31" y="14"/>
                </a:cxn>
                <a:cxn ang="0">
                  <a:pos x="4" y="18"/>
                </a:cxn>
                <a:cxn ang="0">
                  <a:pos x="0" y="20"/>
                </a:cxn>
              </a:cxnLst>
              <a:rect l="0" t="0" r="r" b="b"/>
              <a:pathLst>
                <a:path w="189" h="110">
                  <a:moveTo>
                    <a:pt x="0" y="20"/>
                  </a:moveTo>
                  <a:lnTo>
                    <a:pt x="6" y="20"/>
                  </a:lnTo>
                  <a:lnTo>
                    <a:pt x="6" y="25"/>
                  </a:lnTo>
                  <a:lnTo>
                    <a:pt x="0" y="27"/>
                  </a:lnTo>
                  <a:lnTo>
                    <a:pt x="6" y="29"/>
                  </a:lnTo>
                  <a:lnTo>
                    <a:pt x="27" y="29"/>
                  </a:lnTo>
                  <a:lnTo>
                    <a:pt x="37" y="29"/>
                  </a:lnTo>
                  <a:lnTo>
                    <a:pt x="35" y="34"/>
                  </a:lnTo>
                  <a:lnTo>
                    <a:pt x="37" y="36"/>
                  </a:lnTo>
                  <a:lnTo>
                    <a:pt x="37" y="43"/>
                  </a:lnTo>
                  <a:lnTo>
                    <a:pt x="35" y="45"/>
                  </a:lnTo>
                  <a:lnTo>
                    <a:pt x="35" y="47"/>
                  </a:lnTo>
                  <a:lnTo>
                    <a:pt x="31" y="47"/>
                  </a:lnTo>
                  <a:lnTo>
                    <a:pt x="37" y="52"/>
                  </a:lnTo>
                  <a:lnTo>
                    <a:pt x="39" y="47"/>
                  </a:lnTo>
                  <a:lnTo>
                    <a:pt x="39" y="52"/>
                  </a:lnTo>
                  <a:lnTo>
                    <a:pt x="45" y="54"/>
                  </a:lnTo>
                  <a:lnTo>
                    <a:pt x="35" y="54"/>
                  </a:lnTo>
                  <a:lnTo>
                    <a:pt x="29" y="61"/>
                  </a:lnTo>
                  <a:lnTo>
                    <a:pt x="35" y="61"/>
                  </a:lnTo>
                  <a:lnTo>
                    <a:pt x="43" y="56"/>
                  </a:lnTo>
                  <a:lnTo>
                    <a:pt x="43" y="61"/>
                  </a:lnTo>
                  <a:lnTo>
                    <a:pt x="39" y="63"/>
                  </a:lnTo>
                  <a:lnTo>
                    <a:pt x="35" y="63"/>
                  </a:lnTo>
                  <a:lnTo>
                    <a:pt x="31" y="68"/>
                  </a:lnTo>
                  <a:lnTo>
                    <a:pt x="27" y="79"/>
                  </a:lnTo>
                  <a:lnTo>
                    <a:pt x="29" y="79"/>
                  </a:lnTo>
                  <a:lnTo>
                    <a:pt x="27" y="86"/>
                  </a:lnTo>
                  <a:lnTo>
                    <a:pt x="29" y="88"/>
                  </a:lnTo>
                  <a:lnTo>
                    <a:pt x="29" y="90"/>
                  </a:lnTo>
                  <a:lnTo>
                    <a:pt x="31" y="99"/>
                  </a:lnTo>
                  <a:lnTo>
                    <a:pt x="35" y="104"/>
                  </a:lnTo>
                  <a:lnTo>
                    <a:pt x="45" y="110"/>
                  </a:lnTo>
                  <a:lnTo>
                    <a:pt x="48" y="110"/>
                  </a:lnTo>
                  <a:lnTo>
                    <a:pt x="58" y="97"/>
                  </a:lnTo>
                  <a:lnTo>
                    <a:pt x="58" y="95"/>
                  </a:lnTo>
                  <a:lnTo>
                    <a:pt x="66" y="90"/>
                  </a:lnTo>
                  <a:lnTo>
                    <a:pt x="68" y="86"/>
                  </a:lnTo>
                  <a:lnTo>
                    <a:pt x="68" y="81"/>
                  </a:lnTo>
                  <a:lnTo>
                    <a:pt x="70" y="81"/>
                  </a:lnTo>
                  <a:lnTo>
                    <a:pt x="75" y="79"/>
                  </a:lnTo>
                  <a:lnTo>
                    <a:pt x="87" y="79"/>
                  </a:lnTo>
                  <a:lnTo>
                    <a:pt x="106" y="68"/>
                  </a:lnTo>
                  <a:lnTo>
                    <a:pt x="125" y="63"/>
                  </a:lnTo>
                  <a:lnTo>
                    <a:pt x="139" y="56"/>
                  </a:lnTo>
                  <a:lnTo>
                    <a:pt x="141" y="56"/>
                  </a:lnTo>
                  <a:lnTo>
                    <a:pt x="133" y="54"/>
                  </a:lnTo>
                  <a:lnTo>
                    <a:pt x="133" y="52"/>
                  </a:lnTo>
                  <a:lnTo>
                    <a:pt x="137" y="52"/>
                  </a:lnTo>
                  <a:lnTo>
                    <a:pt x="146" y="54"/>
                  </a:lnTo>
                  <a:lnTo>
                    <a:pt x="146" y="52"/>
                  </a:lnTo>
                  <a:lnTo>
                    <a:pt x="146" y="47"/>
                  </a:lnTo>
                  <a:lnTo>
                    <a:pt x="148" y="45"/>
                  </a:lnTo>
                  <a:lnTo>
                    <a:pt x="146" y="43"/>
                  </a:lnTo>
                  <a:lnTo>
                    <a:pt x="154" y="43"/>
                  </a:lnTo>
                  <a:lnTo>
                    <a:pt x="156" y="38"/>
                  </a:lnTo>
                  <a:lnTo>
                    <a:pt x="158" y="36"/>
                  </a:lnTo>
                  <a:lnTo>
                    <a:pt x="156" y="36"/>
                  </a:lnTo>
                  <a:lnTo>
                    <a:pt x="158" y="29"/>
                  </a:lnTo>
                  <a:lnTo>
                    <a:pt x="154" y="29"/>
                  </a:lnTo>
                  <a:lnTo>
                    <a:pt x="154" y="27"/>
                  </a:lnTo>
                  <a:lnTo>
                    <a:pt x="164" y="27"/>
                  </a:lnTo>
                  <a:lnTo>
                    <a:pt x="164" y="25"/>
                  </a:lnTo>
                  <a:lnTo>
                    <a:pt x="162" y="20"/>
                  </a:lnTo>
                  <a:lnTo>
                    <a:pt x="164" y="20"/>
                  </a:lnTo>
                  <a:lnTo>
                    <a:pt x="164" y="18"/>
                  </a:lnTo>
                  <a:lnTo>
                    <a:pt x="177" y="11"/>
                  </a:lnTo>
                  <a:lnTo>
                    <a:pt x="189" y="9"/>
                  </a:lnTo>
                  <a:lnTo>
                    <a:pt x="177" y="5"/>
                  </a:lnTo>
                  <a:lnTo>
                    <a:pt x="162" y="5"/>
                  </a:lnTo>
                  <a:lnTo>
                    <a:pt x="166" y="2"/>
                  </a:lnTo>
                  <a:lnTo>
                    <a:pt x="148" y="0"/>
                  </a:lnTo>
                  <a:lnTo>
                    <a:pt x="102" y="2"/>
                  </a:lnTo>
                  <a:lnTo>
                    <a:pt x="77" y="5"/>
                  </a:lnTo>
                  <a:lnTo>
                    <a:pt x="45" y="5"/>
                  </a:lnTo>
                  <a:lnTo>
                    <a:pt x="48" y="9"/>
                  </a:lnTo>
                  <a:lnTo>
                    <a:pt x="39" y="9"/>
                  </a:lnTo>
                  <a:lnTo>
                    <a:pt x="22" y="11"/>
                  </a:lnTo>
                  <a:lnTo>
                    <a:pt x="31" y="11"/>
                  </a:lnTo>
                  <a:lnTo>
                    <a:pt x="31" y="14"/>
                  </a:lnTo>
                  <a:lnTo>
                    <a:pt x="27" y="18"/>
                  </a:lnTo>
                  <a:lnTo>
                    <a:pt x="4" y="18"/>
                  </a:lnTo>
                  <a:lnTo>
                    <a:pt x="2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31" name="Georgia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5215662" y="3156447"/>
              <a:ext cx="166425" cy="78028"/>
            </a:xfrm>
            <a:custGeom>
              <a:avLst/>
              <a:gdLst/>
              <a:ahLst/>
              <a:cxnLst>
                <a:cxn ang="0">
                  <a:pos x="23" y="14"/>
                </a:cxn>
                <a:cxn ang="0">
                  <a:pos x="23" y="9"/>
                </a:cxn>
                <a:cxn ang="0">
                  <a:pos x="30" y="9"/>
                </a:cxn>
                <a:cxn ang="0">
                  <a:pos x="23" y="5"/>
                </a:cxn>
                <a:cxn ang="0">
                  <a:pos x="17" y="5"/>
                </a:cxn>
                <a:cxn ang="0">
                  <a:pos x="13" y="0"/>
                </a:cxn>
                <a:cxn ang="0">
                  <a:pos x="0" y="0"/>
                </a:cxn>
                <a:cxn ang="0">
                  <a:pos x="4" y="5"/>
                </a:cxn>
                <a:cxn ang="0">
                  <a:pos x="9" y="7"/>
                </a:cxn>
                <a:cxn ang="0">
                  <a:pos x="9" y="9"/>
                </a:cxn>
                <a:cxn ang="0">
                  <a:pos x="15" y="9"/>
                </a:cxn>
                <a:cxn ang="0">
                  <a:pos x="15" y="14"/>
                </a:cxn>
                <a:cxn ang="0">
                  <a:pos x="19" y="14"/>
                </a:cxn>
                <a:cxn ang="0">
                  <a:pos x="23" y="14"/>
                </a:cxn>
              </a:cxnLst>
              <a:rect l="0" t="0" r="r" b="b"/>
              <a:pathLst>
                <a:path w="30" h="14">
                  <a:moveTo>
                    <a:pt x="23" y="14"/>
                  </a:moveTo>
                  <a:lnTo>
                    <a:pt x="23" y="9"/>
                  </a:lnTo>
                  <a:lnTo>
                    <a:pt x="30" y="9"/>
                  </a:lnTo>
                  <a:lnTo>
                    <a:pt x="23" y="5"/>
                  </a:lnTo>
                  <a:lnTo>
                    <a:pt x="17" y="5"/>
                  </a:lnTo>
                  <a:lnTo>
                    <a:pt x="13" y="0"/>
                  </a:lnTo>
                  <a:lnTo>
                    <a:pt x="0" y="0"/>
                  </a:lnTo>
                  <a:lnTo>
                    <a:pt x="4" y="5"/>
                  </a:lnTo>
                  <a:lnTo>
                    <a:pt x="9" y="7"/>
                  </a:lnTo>
                  <a:lnTo>
                    <a:pt x="9" y="9"/>
                  </a:lnTo>
                  <a:lnTo>
                    <a:pt x="15" y="9"/>
                  </a:lnTo>
                  <a:lnTo>
                    <a:pt x="15" y="14"/>
                  </a:lnTo>
                  <a:lnTo>
                    <a:pt x="19" y="14"/>
                  </a:lnTo>
                  <a:lnTo>
                    <a:pt x="23" y="1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132" name="Greece"/>
            <p:cNvGrpSpPr/>
            <p:nvPr/>
          </p:nvGrpSpPr>
          <p:grpSpPr>
            <a:xfrm>
              <a:off x="4755219" y="3206607"/>
              <a:ext cx="194163" cy="228511"/>
              <a:chOff x="4755219" y="3206607"/>
              <a:chExt cx="194163" cy="228511"/>
            </a:xfrm>
            <a:grpFill/>
          </p:grpSpPr>
          <p:sp>
            <p:nvSpPr>
              <p:cNvPr id="278" name="Greece"/>
              <p:cNvSpPr>
                <a:spLocks/>
              </p:cNvSpPr>
              <p:nvPr>
                <p:custDataLst>
                  <p:tags r:id="rId182"/>
                </p:custDataLst>
              </p:nvPr>
            </p:nvSpPr>
            <p:spPr bwMode="auto">
              <a:xfrm>
                <a:off x="4755219" y="3206607"/>
                <a:ext cx="138687" cy="139336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1" y="5"/>
                  </a:cxn>
                  <a:cxn ang="0">
                    <a:pos x="17" y="0"/>
                  </a:cxn>
                  <a:cxn ang="0">
                    <a:pos x="10" y="5"/>
                  </a:cxn>
                  <a:cxn ang="0">
                    <a:pos x="2" y="7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10" y="18"/>
                  </a:cxn>
                  <a:cxn ang="0">
                    <a:pos x="17" y="25"/>
                  </a:cxn>
                  <a:cxn ang="0">
                    <a:pos x="17" y="23"/>
                  </a:cxn>
                  <a:cxn ang="0">
                    <a:pos x="19" y="23"/>
                  </a:cxn>
                  <a:cxn ang="0">
                    <a:pos x="12" y="16"/>
                  </a:cxn>
                  <a:cxn ang="0">
                    <a:pos x="10" y="9"/>
                  </a:cxn>
                  <a:cxn ang="0">
                    <a:pos x="10" y="7"/>
                  </a:cxn>
                  <a:cxn ang="0">
                    <a:pos x="12" y="9"/>
                  </a:cxn>
                  <a:cxn ang="0">
                    <a:pos x="12" y="7"/>
                  </a:cxn>
                  <a:cxn ang="0">
                    <a:pos x="17" y="5"/>
                  </a:cxn>
                  <a:cxn ang="0">
                    <a:pos x="21" y="7"/>
                  </a:cxn>
                  <a:cxn ang="0">
                    <a:pos x="25" y="7"/>
                  </a:cxn>
                  <a:cxn ang="0">
                    <a:pos x="25" y="5"/>
                  </a:cxn>
                  <a:cxn ang="0">
                    <a:pos x="25" y="0"/>
                  </a:cxn>
                </a:cxnLst>
                <a:rect l="0" t="0" r="r" b="b"/>
                <a:pathLst>
                  <a:path w="25" h="25">
                    <a:moveTo>
                      <a:pt x="25" y="0"/>
                    </a:moveTo>
                    <a:lnTo>
                      <a:pt x="21" y="5"/>
                    </a:lnTo>
                    <a:lnTo>
                      <a:pt x="17" y="0"/>
                    </a:lnTo>
                    <a:lnTo>
                      <a:pt x="10" y="5"/>
                    </a:lnTo>
                    <a:lnTo>
                      <a:pt x="2" y="7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10" y="18"/>
                    </a:lnTo>
                    <a:lnTo>
                      <a:pt x="17" y="25"/>
                    </a:lnTo>
                    <a:lnTo>
                      <a:pt x="17" y="23"/>
                    </a:lnTo>
                    <a:lnTo>
                      <a:pt x="19" y="23"/>
                    </a:lnTo>
                    <a:lnTo>
                      <a:pt x="12" y="16"/>
                    </a:lnTo>
                    <a:lnTo>
                      <a:pt x="10" y="9"/>
                    </a:lnTo>
                    <a:lnTo>
                      <a:pt x="10" y="7"/>
                    </a:lnTo>
                    <a:lnTo>
                      <a:pt x="12" y="9"/>
                    </a:lnTo>
                    <a:lnTo>
                      <a:pt x="12" y="7"/>
                    </a:lnTo>
                    <a:lnTo>
                      <a:pt x="17" y="5"/>
                    </a:lnTo>
                    <a:lnTo>
                      <a:pt x="21" y="7"/>
                    </a:lnTo>
                    <a:lnTo>
                      <a:pt x="25" y="7"/>
                    </a:lnTo>
                    <a:lnTo>
                      <a:pt x="25" y="5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79" name="Greece"/>
              <p:cNvSpPr>
                <a:spLocks/>
              </p:cNvSpPr>
              <p:nvPr>
                <p:custDataLst>
                  <p:tags r:id="rId183"/>
                </p:custDataLst>
              </p:nvPr>
            </p:nvSpPr>
            <p:spPr bwMode="auto">
              <a:xfrm>
                <a:off x="4777410" y="3306929"/>
                <a:ext cx="44380" cy="78028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0" y="7"/>
                  </a:cxn>
                  <a:cxn ang="0">
                    <a:pos x="4" y="9"/>
                  </a:cxn>
                  <a:cxn ang="0">
                    <a:pos x="6" y="14"/>
                  </a:cxn>
                  <a:cxn ang="0">
                    <a:pos x="6" y="9"/>
                  </a:cxn>
                  <a:cxn ang="0">
                    <a:pos x="8" y="14"/>
                  </a:cxn>
                  <a:cxn ang="0">
                    <a:pos x="6" y="7"/>
                  </a:cxn>
                  <a:cxn ang="0">
                    <a:pos x="8" y="7"/>
                  </a:cxn>
                  <a:cxn ang="0">
                    <a:pos x="6" y="5"/>
                  </a:cxn>
                  <a:cxn ang="0">
                    <a:pos x="4" y="0"/>
                  </a:cxn>
                  <a:cxn ang="0">
                    <a:pos x="2" y="3"/>
                  </a:cxn>
                  <a:cxn ang="0">
                    <a:pos x="0" y="5"/>
                  </a:cxn>
                </a:cxnLst>
                <a:rect l="0" t="0" r="r" b="b"/>
                <a:pathLst>
                  <a:path w="8" h="14">
                    <a:moveTo>
                      <a:pt x="0" y="5"/>
                    </a:moveTo>
                    <a:lnTo>
                      <a:pt x="0" y="7"/>
                    </a:lnTo>
                    <a:lnTo>
                      <a:pt x="4" y="9"/>
                    </a:lnTo>
                    <a:lnTo>
                      <a:pt x="6" y="14"/>
                    </a:lnTo>
                    <a:lnTo>
                      <a:pt x="6" y="9"/>
                    </a:lnTo>
                    <a:lnTo>
                      <a:pt x="8" y="14"/>
                    </a:lnTo>
                    <a:lnTo>
                      <a:pt x="6" y="7"/>
                    </a:lnTo>
                    <a:lnTo>
                      <a:pt x="8" y="7"/>
                    </a:lnTo>
                    <a:lnTo>
                      <a:pt x="6" y="5"/>
                    </a:lnTo>
                    <a:lnTo>
                      <a:pt x="4" y="0"/>
                    </a:lnTo>
                    <a:lnTo>
                      <a:pt x="2" y="3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80" name="Greece"/>
              <p:cNvSpPr>
                <a:spLocks/>
              </p:cNvSpPr>
              <p:nvPr>
                <p:custDataLst>
                  <p:tags r:id="rId184"/>
                </p:custDataLst>
              </p:nvPr>
            </p:nvSpPr>
            <p:spPr bwMode="auto">
              <a:xfrm>
                <a:off x="4849527" y="3396104"/>
                <a:ext cx="55475" cy="39014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4" y="7"/>
                  </a:cxn>
                  <a:cxn ang="0">
                    <a:pos x="10" y="7"/>
                  </a:cxn>
                  <a:cxn ang="0">
                    <a:pos x="10" y="5"/>
                  </a:cxn>
                  <a:cxn ang="0">
                    <a:pos x="8" y="5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5"/>
                  </a:cxn>
                </a:cxnLst>
                <a:rect l="0" t="0" r="r" b="b"/>
                <a:pathLst>
                  <a:path w="10" h="7">
                    <a:moveTo>
                      <a:pt x="0" y="5"/>
                    </a:moveTo>
                    <a:lnTo>
                      <a:pt x="4" y="7"/>
                    </a:lnTo>
                    <a:lnTo>
                      <a:pt x="10" y="7"/>
                    </a:lnTo>
                    <a:lnTo>
                      <a:pt x="10" y="5"/>
                    </a:lnTo>
                    <a:lnTo>
                      <a:pt x="8" y="5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81" name="Greece"/>
              <p:cNvSpPr>
                <a:spLocks/>
              </p:cNvSpPr>
              <p:nvPr>
                <p:custDataLst>
                  <p:tags r:id="rId185"/>
                </p:custDataLst>
              </p:nvPr>
            </p:nvSpPr>
            <p:spPr bwMode="auto">
              <a:xfrm>
                <a:off x="4938287" y="3384958"/>
                <a:ext cx="11095" cy="1114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grpSp>
          <p:nvGrpSpPr>
            <p:cNvPr id="133" name="Great Britain"/>
            <p:cNvGrpSpPr/>
            <p:nvPr/>
          </p:nvGrpSpPr>
          <p:grpSpPr>
            <a:xfrm>
              <a:off x="4106161" y="2682705"/>
              <a:ext cx="221901" cy="261952"/>
              <a:chOff x="4106161" y="2682705"/>
              <a:chExt cx="221901" cy="261952"/>
            </a:xfrm>
            <a:grpFill/>
          </p:grpSpPr>
          <p:sp>
            <p:nvSpPr>
              <p:cNvPr id="275" name="Freeform 1444"/>
              <p:cNvSpPr>
                <a:spLocks/>
              </p:cNvSpPr>
              <p:nvPr>
                <p:custDataLst>
                  <p:tags r:id="rId179"/>
                </p:custDataLst>
              </p:nvPr>
            </p:nvSpPr>
            <p:spPr bwMode="auto">
              <a:xfrm>
                <a:off x="4139447" y="2682705"/>
                <a:ext cx="22190" cy="39014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2" y="7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</a:cxnLst>
                <a:rect l="0" t="0" r="r" b="b"/>
                <a:pathLst>
                  <a:path w="4" h="7">
                    <a:moveTo>
                      <a:pt x="0" y="7"/>
                    </a:moveTo>
                    <a:lnTo>
                      <a:pt x="2" y="7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76" name="North Ireland"/>
              <p:cNvSpPr>
                <a:spLocks/>
              </p:cNvSpPr>
              <p:nvPr>
                <p:custDataLst>
                  <p:tags r:id="rId180"/>
                </p:custDataLst>
              </p:nvPr>
            </p:nvSpPr>
            <p:spPr bwMode="auto">
              <a:xfrm>
                <a:off x="4106161" y="2783026"/>
                <a:ext cx="44380" cy="3901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4"/>
                  </a:cxn>
                  <a:cxn ang="0">
                    <a:pos x="2" y="7"/>
                  </a:cxn>
                  <a:cxn ang="0">
                    <a:pos x="8" y="7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0"/>
                  </a:cxn>
                </a:cxnLst>
                <a:rect l="0" t="0" r="r" b="b"/>
                <a:pathLst>
                  <a:path w="8" h="7">
                    <a:moveTo>
                      <a:pt x="2" y="0"/>
                    </a:moveTo>
                    <a:lnTo>
                      <a:pt x="0" y="4"/>
                    </a:lnTo>
                    <a:lnTo>
                      <a:pt x="2" y="7"/>
                    </a:lnTo>
                    <a:lnTo>
                      <a:pt x="8" y="7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77" name="UK"/>
              <p:cNvSpPr>
                <a:spLocks/>
              </p:cNvSpPr>
              <p:nvPr>
                <p:custDataLst>
                  <p:tags r:id="rId181"/>
                </p:custDataLst>
              </p:nvPr>
            </p:nvSpPr>
            <p:spPr bwMode="auto">
              <a:xfrm>
                <a:off x="4150542" y="2682705"/>
                <a:ext cx="177520" cy="261952"/>
              </a:xfrm>
              <a:custGeom>
                <a:avLst/>
                <a:gdLst/>
                <a:ahLst/>
                <a:cxnLst>
                  <a:cxn ang="0">
                    <a:pos x="0" y="47"/>
                  </a:cxn>
                  <a:cxn ang="0">
                    <a:pos x="2" y="47"/>
                  </a:cxn>
                  <a:cxn ang="0">
                    <a:pos x="9" y="47"/>
                  </a:cxn>
                  <a:cxn ang="0">
                    <a:pos x="11" y="43"/>
                  </a:cxn>
                  <a:cxn ang="0">
                    <a:pos x="15" y="47"/>
                  </a:cxn>
                  <a:cxn ang="0">
                    <a:pos x="25" y="43"/>
                  </a:cxn>
                  <a:cxn ang="0">
                    <a:pos x="30" y="40"/>
                  </a:cxn>
                  <a:cxn ang="0">
                    <a:pos x="25" y="40"/>
                  </a:cxn>
                  <a:cxn ang="0">
                    <a:pos x="32" y="34"/>
                  </a:cxn>
                  <a:cxn ang="0">
                    <a:pos x="30" y="31"/>
                  </a:cxn>
                  <a:cxn ang="0">
                    <a:pos x="23" y="31"/>
                  </a:cxn>
                  <a:cxn ang="0">
                    <a:pos x="25" y="31"/>
                  </a:cxn>
                  <a:cxn ang="0">
                    <a:pos x="23" y="25"/>
                  </a:cxn>
                  <a:cxn ang="0">
                    <a:pos x="19" y="22"/>
                  </a:cxn>
                  <a:cxn ang="0">
                    <a:pos x="17" y="16"/>
                  </a:cxn>
                  <a:cxn ang="0">
                    <a:pos x="11" y="16"/>
                  </a:cxn>
                  <a:cxn ang="0">
                    <a:pos x="17" y="7"/>
                  </a:cxn>
                  <a:cxn ang="0">
                    <a:pos x="9" y="7"/>
                  </a:cxn>
                  <a:cxn ang="0">
                    <a:pos x="15" y="4"/>
                  </a:cxn>
                  <a:cxn ang="0">
                    <a:pos x="15" y="0"/>
                  </a:cxn>
                  <a:cxn ang="0">
                    <a:pos x="7" y="0"/>
                  </a:cxn>
                  <a:cxn ang="0">
                    <a:pos x="2" y="7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2" y="13"/>
                  </a:cxn>
                  <a:cxn ang="0">
                    <a:pos x="2" y="16"/>
                  </a:cxn>
                  <a:cxn ang="0">
                    <a:pos x="0" y="16"/>
                  </a:cxn>
                  <a:cxn ang="0">
                    <a:pos x="2" y="16"/>
                  </a:cxn>
                  <a:cxn ang="0">
                    <a:pos x="2" y="18"/>
                  </a:cxn>
                  <a:cxn ang="0">
                    <a:pos x="7" y="16"/>
                  </a:cxn>
                  <a:cxn ang="0">
                    <a:pos x="7" y="18"/>
                  </a:cxn>
                  <a:cxn ang="0">
                    <a:pos x="2" y="22"/>
                  </a:cxn>
                  <a:cxn ang="0">
                    <a:pos x="7" y="22"/>
                  </a:cxn>
                  <a:cxn ang="0">
                    <a:pos x="11" y="22"/>
                  </a:cxn>
                  <a:cxn ang="0">
                    <a:pos x="9" y="22"/>
                  </a:cxn>
                  <a:cxn ang="0">
                    <a:pos x="15" y="25"/>
                  </a:cxn>
                  <a:cxn ang="0">
                    <a:pos x="11" y="31"/>
                  </a:cxn>
                  <a:cxn ang="0">
                    <a:pos x="7" y="31"/>
                  </a:cxn>
                  <a:cxn ang="0">
                    <a:pos x="7" y="34"/>
                  </a:cxn>
                  <a:cxn ang="0">
                    <a:pos x="2" y="38"/>
                  </a:cxn>
                  <a:cxn ang="0">
                    <a:pos x="2" y="40"/>
                  </a:cxn>
                  <a:cxn ang="0">
                    <a:pos x="9" y="40"/>
                  </a:cxn>
                  <a:cxn ang="0">
                    <a:pos x="11" y="40"/>
                  </a:cxn>
                  <a:cxn ang="0">
                    <a:pos x="7" y="40"/>
                  </a:cxn>
                  <a:cxn ang="0">
                    <a:pos x="2" y="45"/>
                  </a:cxn>
                  <a:cxn ang="0">
                    <a:pos x="0" y="47"/>
                  </a:cxn>
                </a:cxnLst>
                <a:rect l="0" t="0" r="r" b="b"/>
                <a:pathLst>
                  <a:path w="32" h="47">
                    <a:moveTo>
                      <a:pt x="0" y="47"/>
                    </a:moveTo>
                    <a:lnTo>
                      <a:pt x="2" y="47"/>
                    </a:lnTo>
                    <a:lnTo>
                      <a:pt x="9" y="47"/>
                    </a:lnTo>
                    <a:lnTo>
                      <a:pt x="11" y="43"/>
                    </a:lnTo>
                    <a:lnTo>
                      <a:pt x="15" y="47"/>
                    </a:lnTo>
                    <a:lnTo>
                      <a:pt x="25" y="43"/>
                    </a:lnTo>
                    <a:lnTo>
                      <a:pt x="30" y="40"/>
                    </a:lnTo>
                    <a:lnTo>
                      <a:pt x="25" y="40"/>
                    </a:lnTo>
                    <a:lnTo>
                      <a:pt x="32" y="34"/>
                    </a:lnTo>
                    <a:lnTo>
                      <a:pt x="30" y="31"/>
                    </a:lnTo>
                    <a:lnTo>
                      <a:pt x="23" y="31"/>
                    </a:lnTo>
                    <a:lnTo>
                      <a:pt x="25" y="31"/>
                    </a:lnTo>
                    <a:lnTo>
                      <a:pt x="23" y="25"/>
                    </a:lnTo>
                    <a:lnTo>
                      <a:pt x="19" y="22"/>
                    </a:lnTo>
                    <a:lnTo>
                      <a:pt x="17" y="16"/>
                    </a:lnTo>
                    <a:lnTo>
                      <a:pt x="11" y="16"/>
                    </a:lnTo>
                    <a:lnTo>
                      <a:pt x="17" y="7"/>
                    </a:lnTo>
                    <a:lnTo>
                      <a:pt x="9" y="7"/>
                    </a:lnTo>
                    <a:lnTo>
                      <a:pt x="15" y="4"/>
                    </a:lnTo>
                    <a:lnTo>
                      <a:pt x="15" y="0"/>
                    </a:lnTo>
                    <a:lnTo>
                      <a:pt x="7" y="0"/>
                    </a:lnTo>
                    <a:lnTo>
                      <a:pt x="2" y="7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2" y="16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7" y="16"/>
                    </a:lnTo>
                    <a:lnTo>
                      <a:pt x="7" y="18"/>
                    </a:lnTo>
                    <a:lnTo>
                      <a:pt x="2" y="22"/>
                    </a:lnTo>
                    <a:lnTo>
                      <a:pt x="7" y="22"/>
                    </a:lnTo>
                    <a:lnTo>
                      <a:pt x="11" y="22"/>
                    </a:lnTo>
                    <a:lnTo>
                      <a:pt x="9" y="22"/>
                    </a:lnTo>
                    <a:lnTo>
                      <a:pt x="15" y="25"/>
                    </a:lnTo>
                    <a:lnTo>
                      <a:pt x="11" y="31"/>
                    </a:lnTo>
                    <a:lnTo>
                      <a:pt x="7" y="31"/>
                    </a:lnTo>
                    <a:lnTo>
                      <a:pt x="7" y="34"/>
                    </a:lnTo>
                    <a:lnTo>
                      <a:pt x="2" y="38"/>
                    </a:lnTo>
                    <a:lnTo>
                      <a:pt x="2" y="40"/>
                    </a:lnTo>
                    <a:lnTo>
                      <a:pt x="9" y="40"/>
                    </a:lnTo>
                    <a:lnTo>
                      <a:pt x="11" y="40"/>
                    </a:lnTo>
                    <a:lnTo>
                      <a:pt x="7" y="40"/>
                    </a:lnTo>
                    <a:lnTo>
                      <a:pt x="2" y="45"/>
                    </a:lnTo>
                    <a:lnTo>
                      <a:pt x="0" y="47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134" name="Ghana"/>
            <p:cNvSpPr>
              <a:spLocks/>
            </p:cNvSpPr>
            <p:nvPr/>
          </p:nvSpPr>
          <p:spPr bwMode="auto">
            <a:xfrm>
              <a:off x="4131566" y="4187533"/>
              <a:ext cx="120964" cy="213634"/>
            </a:xfrm>
            <a:custGeom>
              <a:avLst/>
              <a:gdLst>
                <a:gd name="T0" fmla="*/ 4 w 332"/>
                <a:gd name="T1" fmla="*/ 469 h 494"/>
                <a:gd name="T2" fmla="*/ 33 w 332"/>
                <a:gd name="T3" fmla="*/ 451 h 494"/>
                <a:gd name="T4" fmla="*/ 19 w 332"/>
                <a:gd name="T5" fmla="*/ 420 h 494"/>
                <a:gd name="T6" fmla="*/ 1 w 332"/>
                <a:gd name="T7" fmla="*/ 356 h 494"/>
                <a:gd name="T8" fmla="*/ 24 w 332"/>
                <a:gd name="T9" fmla="*/ 281 h 494"/>
                <a:gd name="T10" fmla="*/ 53 w 332"/>
                <a:gd name="T11" fmla="*/ 227 h 494"/>
                <a:gd name="T12" fmla="*/ 47 w 332"/>
                <a:gd name="T13" fmla="*/ 163 h 494"/>
                <a:gd name="T14" fmla="*/ 49 w 332"/>
                <a:gd name="T15" fmla="*/ 128 h 494"/>
                <a:gd name="T16" fmla="*/ 42 w 332"/>
                <a:gd name="T17" fmla="*/ 77 h 494"/>
                <a:gd name="T18" fmla="*/ 36 w 332"/>
                <a:gd name="T19" fmla="*/ 31 h 494"/>
                <a:gd name="T20" fmla="*/ 107 w 332"/>
                <a:gd name="T21" fmla="*/ 12 h 494"/>
                <a:gd name="T22" fmla="*/ 190 w 332"/>
                <a:gd name="T23" fmla="*/ 14 h 494"/>
                <a:gd name="T24" fmla="*/ 228 w 332"/>
                <a:gd name="T25" fmla="*/ 7 h 494"/>
                <a:gd name="T26" fmla="*/ 240 w 332"/>
                <a:gd name="T27" fmla="*/ 4 h 494"/>
                <a:gd name="T28" fmla="*/ 248 w 332"/>
                <a:gd name="T29" fmla="*/ 29 h 494"/>
                <a:gd name="T30" fmla="*/ 275 w 332"/>
                <a:gd name="T31" fmla="*/ 75 h 494"/>
                <a:gd name="T32" fmla="*/ 267 w 332"/>
                <a:gd name="T33" fmla="*/ 119 h 494"/>
                <a:gd name="T34" fmla="*/ 267 w 332"/>
                <a:gd name="T35" fmla="*/ 119 h 494"/>
                <a:gd name="T36" fmla="*/ 264 w 332"/>
                <a:gd name="T37" fmla="*/ 131 h 494"/>
                <a:gd name="T38" fmla="*/ 280 w 332"/>
                <a:gd name="T39" fmla="*/ 162 h 494"/>
                <a:gd name="T40" fmla="*/ 297 w 332"/>
                <a:gd name="T41" fmla="*/ 221 h 494"/>
                <a:gd name="T42" fmla="*/ 283 w 332"/>
                <a:gd name="T43" fmla="*/ 287 h 494"/>
                <a:gd name="T44" fmla="*/ 282 w 332"/>
                <a:gd name="T45" fmla="*/ 331 h 494"/>
                <a:gd name="T46" fmla="*/ 315 w 332"/>
                <a:gd name="T47" fmla="*/ 373 h 494"/>
                <a:gd name="T48" fmla="*/ 332 w 332"/>
                <a:gd name="T49" fmla="*/ 392 h 494"/>
                <a:gd name="T50" fmla="*/ 321 w 332"/>
                <a:gd name="T51" fmla="*/ 405 h 494"/>
                <a:gd name="T52" fmla="*/ 300 w 332"/>
                <a:gd name="T53" fmla="*/ 415 h 494"/>
                <a:gd name="T54" fmla="*/ 288 w 332"/>
                <a:gd name="T55" fmla="*/ 407 h 494"/>
                <a:gd name="T56" fmla="*/ 270 w 332"/>
                <a:gd name="T57" fmla="*/ 389 h 494"/>
                <a:gd name="T58" fmla="*/ 255 w 332"/>
                <a:gd name="T59" fmla="*/ 388 h 494"/>
                <a:gd name="T60" fmla="*/ 272 w 332"/>
                <a:gd name="T61" fmla="*/ 390 h 494"/>
                <a:gd name="T62" fmla="*/ 286 w 332"/>
                <a:gd name="T63" fmla="*/ 401 h 494"/>
                <a:gd name="T64" fmla="*/ 286 w 332"/>
                <a:gd name="T65" fmla="*/ 414 h 494"/>
                <a:gd name="T66" fmla="*/ 190 w 332"/>
                <a:gd name="T67" fmla="*/ 455 h 494"/>
                <a:gd name="T68" fmla="*/ 129 w 332"/>
                <a:gd name="T69" fmla="*/ 473 h 494"/>
                <a:gd name="T70" fmla="*/ 48 w 332"/>
                <a:gd name="T71" fmla="*/ 476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32" h="494">
                  <a:moveTo>
                    <a:pt x="15" y="472"/>
                  </a:moveTo>
                  <a:cubicBezTo>
                    <a:pt x="11" y="471"/>
                    <a:pt x="8" y="470"/>
                    <a:pt x="4" y="469"/>
                  </a:cubicBezTo>
                  <a:cubicBezTo>
                    <a:pt x="4" y="469"/>
                    <a:pt x="4" y="469"/>
                    <a:pt x="4" y="469"/>
                  </a:cubicBezTo>
                  <a:cubicBezTo>
                    <a:pt x="10" y="457"/>
                    <a:pt x="40" y="478"/>
                    <a:pt x="33" y="451"/>
                  </a:cubicBezTo>
                  <a:cubicBezTo>
                    <a:pt x="29" y="442"/>
                    <a:pt x="41" y="442"/>
                    <a:pt x="35" y="434"/>
                  </a:cubicBezTo>
                  <a:cubicBezTo>
                    <a:pt x="36" y="423"/>
                    <a:pt x="28" y="420"/>
                    <a:pt x="19" y="420"/>
                  </a:cubicBezTo>
                  <a:cubicBezTo>
                    <a:pt x="19" y="414"/>
                    <a:pt x="12" y="412"/>
                    <a:pt x="16" y="404"/>
                  </a:cubicBezTo>
                  <a:cubicBezTo>
                    <a:pt x="11" y="388"/>
                    <a:pt x="5" y="373"/>
                    <a:pt x="1" y="356"/>
                  </a:cubicBezTo>
                  <a:cubicBezTo>
                    <a:pt x="0" y="340"/>
                    <a:pt x="2" y="325"/>
                    <a:pt x="12" y="312"/>
                  </a:cubicBezTo>
                  <a:cubicBezTo>
                    <a:pt x="24" y="306"/>
                    <a:pt x="20" y="292"/>
                    <a:pt x="24" y="281"/>
                  </a:cubicBezTo>
                  <a:cubicBezTo>
                    <a:pt x="25" y="271"/>
                    <a:pt x="30" y="260"/>
                    <a:pt x="36" y="251"/>
                  </a:cubicBezTo>
                  <a:cubicBezTo>
                    <a:pt x="37" y="239"/>
                    <a:pt x="54" y="240"/>
                    <a:pt x="53" y="227"/>
                  </a:cubicBezTo>
                  <a:cubicBezTo>
                    <a:pt x="66" y="223"/>
                    <a:pt x="54" y="204"/>
                    <a:pt x="55" y="193"/>
                  </a:cubicBezTo>
                  <a:cubicBezTo>
                    <a:pt x="53" y="182"/>
                    <a:pt x="53" y="173"/>
                    <a:pt x="47" y="163"/>
                  </a:cubicBezTo>
                  <a:cubicBezTo>
                    <a:pt x="32" y="159"/>
                    <a:pt x="53" y="147"/>
                    <a:pt x="46" y="139"/>
                  </a:cubicBezTo>
                  <a:cubicBezTo>
                    <a:pt x="49" y="136"/>
                    <a:pt x="50" y="132"/>
                    <a:pt x="49" y="128"/>
                  </a:cubicBezTo>
                  <a:cubicBezTo>
                    <a:pt x="50" y="128"/>
                    <a:pt x="44" y="114"/>
                    <a:pt x="41" y="109"/>
                  </a:cubicBezTo>
                  <a:cubicBezTo>
                    <a:pt x="47" y="99"/>
                    <a:pt x="43" y="88"/>
                    <a:pt x="42" y="77"/>
                  </a:cubicBezTo>
                  <a:cubicBezTo>
                    <a:pt x="50" y="69"/>
                    <a:pt x="33" y="63"/>
                    <a:pt x="44" y="57"/>
                  </a:cubicBezTo>
                  <a:cubicBezTo>
                    <a:pt x="37" y="51"/>
                    <a:pt x="31" y="40"/>
                    <a:pt x="36" y="31"/>
                  </a:cubicBezTo>
                  <a:cubicBezTo>
                    <a:pt x="42" y="24"/>
                    <a:pt x="39" y="8"/>
                    <a:pt x="51" y="12"/>
                  </a:cubicBezTo>
                  <a:cubicBezTo>
                    <a:pt x="70" y="11"/>
                    <a:pt x="89" y="12"/>
                    <a:pt x="107" y="12"/>
                  </a:cubicBezTo>
                  <a:cubicBezTo>
                    <a:pt x="124" y="14"/>
                    <a:pt x="139" y="8"/>
                    <a:pt x="155" y="13"/>
                  </a:cubicBezTo>
                  <a:cubicBezTo>
                    <a:pt x="167" y="13"/>
                    <a:pt x="179" y="11"/>
                    <a:pt x="190" y="14"/>
                  </a:cubicBezTo>
                  <a:cubicBezTo>
                    <a:pt x="199" y="7"/>
                    <a:pt x="203" y="24"/>
                    <a:pt x="207" y="17"/>
                  </a:cubicBezTo>
                  <a:cubicBezTo>
                    <a:pt x="216" y="16"/>
                    <a:pt x="219" y="4"/>
                    <a:pt x="228" y="7"/>
                  </a:cubicBezTo>
                  <a:cubicBezTo>
                    <a:pt x="230" y="0"/>
                    <a:pt x="235" y="2"/>
                    <a:pt x="240" y="3"/>
                  </a:cubicBezTo>
                  <a:cubicBezTo>
                    <a:pt x="240" y="4"/>
                    <a:pt x="240" y="4"/>
                    <a:pt x="240" y="4"/>
                  </a:cubicBezTo>
                  <a:cubicBezTo>
                    <a:pt x="241" y="5"/>
                    <a:pt x="242" y="7"/>
                    <a:pt x="244" y="7"/>
                  </a:cubicBezTo>
                  <a:cubicBezTo>
                    <a:pt x="260" y="3"/>
                    <a:pt x="250" y="21"/>
                    <a:pt x="248" y="29"/>
                  </a:cubicBezTo>
                  <a:cubicBezTo>
                    <a:pt x="235" y="43"/>
                    <a:pt x="258" y="45"/>
                    <a:pt x="262" y="56"/>
                  </a:cubicBezTo>
                  <a:cubicBezTo>
                    <a:pt x="267" y="60"/>
                    <a:pt x="282" y="65"/>
                    <a:pt x="275" y="75"/>
                  </a:cubicBezTo>
                  <a:cubicBezTo>
                    <a:pt x="279" y="87"/>
                    <a:pt x="273" y="96"/>
                    <a:pt x="272" y="109"/>
                  </a:cubicBezTo>
                  <a:cubicBezTo>
                    <a:pt x="278" y="119"/>
                    <a:pt x="264" y="113"/>
                    <a:pt x="267" y="119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9" y="120"/>
                    <a:pt x="275" y="123"/>
                    <a:pt x="269" y="123"/>
                  </a:cubicBezTo>
                  <a:cubicBezTo>
                    <a:pt x="256" y="123"/>
                    <a:pt x="275" y="130"/>
                    <a:pt x="264" y="131"/>
                  </a:cubicBezTo>
                  <a:cubicBezTo>
                    <a:pt x="265" y="139"/>
                    <a:pt x="273" y="129"/>
                    <a:pt x="277" y="129"/>
                  </a:cubicBezTo>
                  <a:cubicBezTo>
                    <a:pt x="294" y="131"/>
                    <a:pt x="284" y="152"/>
                    <a:pt x="280" y="162"/>
                  </a:cubicBezTo>
                  <a:cubicBezTo>
                    <a:pt x="281" y="170"/>
                    <a:pt x="288" y="182"/>
                    <a:pt x="275" y="184"/>
                  </a:cubicBezTo>
                  <a:cubicBezTo>
                    <a:pt x="273" y="201"/>
                    <a:pt x="300" y="203"/>
                    <a:pt x="297" y="221"/>
                  </a:cubicBezTo>
                  <a:cubicBezTo>
                    <a:pt x="284" y="226"/>
                    <a:pt x="289" y="241"/>
                    <a:pt x="289" y="252"/>
                  </a:cubicBezTo>
                  <a:cubicBezTo>
                    <a:pt x="294" y="266"/>
                    <a:pt x="275" y="275"/>
                    <a:pt x="283" y="287"/>
                  </a:cubicBezTo>
                  <a:cubicBezTo>
                    <a:pt x="299" y="288"/>
                    <a:pt x="285" y="307"/>
                    <a:pt x="287" y="317"/>
                  </a:cubicBezTo>
                  <a:cubicBezTo>
                    <a:pt x="277" y="319"/>
                    <a:pt x="285" y="324"/>
                    <a:pt x="282" y="331"/>
                  </a:cubicBezTo>
                  <a:cubicBezTo>
                    <a:pt x="289" y="336"/>
                    <a:pt x="287" y="346"/>
                    <a:pt x="294" y="350"/>
                  </a:cubicBezTo>
                  <a:cubicBezTo>
                    <a:pt x="294" y="361"/>
                    <a:pt x="305" y="368"/>
                    <a:pt x="315" y="373"/>
                  </a:cubicBezTo>
                  <a:cubicBezTo>
                    <a:pt x="316" y="382"/>
                    <a:pt x="331" y="381"/>
                    <a:pt x="332" y="392"/>
                  </a:cubicBezTo>
                  <a:cubicBezTo>
                    <a:pt x="332" y="392"/>
                    <a:pt x="332" y="392"/>
                    <a:pt x="332" y="392"/>
                  </a:cubicBezTo>
                  <a:cubicBezTo>
                    <a:pt x="332" y="392"/>
                    <a:pt x="332" y="393"/>
                    <a:pt x="331" y="393"/>
                  </a:cubicBezTo>
                  <a:cubicBezTo>
                    <a:pt x="328" y="396"/>
                    <a:pt x="325" y="401"/>
                    <a:pt x="321" y="405"/>
                  </a:cubicBezTo>
                  <a:cubicBezTo>
                    <a:pt x="318" y="408"/>
                    <a:pt x="317" y="415"/>
                    <a:pt x="312" y="415"/>
                  </a:cubicBezTo>
                  <a:cubicBezTo>
                    <a:pt x="308" y="415"/>
                    <a:pt x="303" y="419"/>
                    <a:pt x="300" y="415"/>
                  </a:cubicBezTo>
                  <a:cubicBezTo>
                    <a:pt x="299" y="410"/>
                    <a:pt x="290" y="414"/>
                    <a:pt x="291" y="413"/>
                  </a:cubicBezTo>
                  <a:cubicBezTo>
                    <a:pt x="291" y="412"/>
                    <a:pt x="287" y="409"/>
                    <a:pt x="288" y="407"/>
                  </a:cubicBezTo>
                  <a:cubicBezTo>
                    <a:pt x="290" y="401"/>
                    <a:pt x="285" y="396"/>
                    <a:pt x="280" y="393"/>
                  </a:cubicBezTo>
                  <a:cubicBezTo>
                    <a:pt x="277" y="390"/>
                    <a:pt x="273" y="388"/>
                    <a:pt x="270" y="389"/>
                  </a:cubicBezTo>
                  <a:cubicBezTo>
                    <a:pt x="269" y="392"/>
                    <a:pt x="266" y="391"/>
                    <a:pt x="263" y="391"/>
                  </a:cubicBezTo>
                  <a:cubicBezTo>
                    <a:pt x="261" y="389"/>
                    <a:pt x="258" y="385"/>
                    <a:pt x="255" y="388"/>
                  </a:cubicBezTo>
                  <a:cubicBezTo>
                    <a:pt x="259" y="387"/>
                    <a:pt x="261" y="392"/>
                    <a:pt x="264" y="393"/>
                  </a:cubicBezTo>
                  <a:cubicBezTo>
                    <a:pt x="268" y="396"/>
                    <a:pt x="269" y="390"/>
                    <a:pt x="272" y="390"/>
                  </a:cubicBezTo>
                  <a:cubicBezTo>
                    <a:pt x="274" y="392"/>
                    <a:pt x="277" y="392"/>
                    <a:pt x="279" y="394"/>
                  </a:cubicBezTo>
                  <a:cubicBezTo>
                    <a:pt x="282" y="395"/>
                    <a:pt x="285" y="398"/>
                    <a:pt x="286" y="401"/>
                  </a:cubicBezTo>
                  <a:cubicBezTo>
                    <a:pt x="289" y="404"/>
                    <a:pt x="286" y="407"/>
                    <a:pt x="287" y="410"/>
                  </a:cubicBezTo>
                  <a:cubicBezTo>
                    <a:pt x="288" y="413"/>
                    <a:pt x="290" y="414"/>
                    <a:pt x="286" y="414"/>
                  </a:cubicBezTo>
                  <a:cubicBezTo>
                    <a:pt x="275" y="415"/>
                    <a:pt x="265" y="417"/>
                    <a:pt x="255" y="420"/>
                  </a:cubicBezTo>
                  <a:cubicBezTo>
                    <a:pt x="232" y="430"/>
                    <a:pt x="211" y="442"/>
                    <a:pt x="190" y="455"/>
                  </a:cubicBezTo>
                  <a:cubicBezTo>
                    <a:pt x="176" y="459"/>
                    <a:pt x="161" y="461"/>
                    <a:pt x="147" y="465"/>
                  </a:cubicBezTo>
                  <a:cubicBezTo>
                    <a:pt x="141" y="467"/>
                    <a:pt x="134" y="468"/>
                    <a:pt x="129" y="473"/>
                  </a:cubicBezTo>
                  <a:cubicBezTo>
                    <a:pt x="119" y="483"/>
                    <a:pt x="106" y="488"/>
                    <a:pt x="93" y="494"/>
                  </a:cubicBezTo>
                  <a:cubicBezTo>
                    <a:pt x="78" y="489"/>
                    <a:pt x="64" y="481"/>
                    <a:pt x="48" y="476"/>
                  </a:cubicBezTo>
                  <a:cubicBezTo>
                    <a:pt x="37" y="474"/>
                    <a:pt x="26" y="473"/>
                    <a:pt x="15" y="472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35" name="Germany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4416821" y="2805321"/>
              <a:ext cx="188615" cy="217364"/>
            </a:xfrm>
            <a:custGeom>
              <a:avLst/>
              <a:gdLst/>
              <a:ahLst/>
              <a:cxnLst>
                <a:cxn ang="0">
                  <a:pos x="21" y="3"/>
                </a:cxn>
                <a:cxn ang="0">
                  <a:pos x="15" y="0"/>
                </a:cxn>
                <a:cxn ang="0">
                  <a:pos x="11" y="0"/>
                </a:cxn>
                <a:cxn ang="0">
                  <a:pos x="9" y="5"/>
                </a:cxn>
                <a:cxn ang="0">
                  <a:pos x="7" y="5"/>
                </a:cxn>
                <a:cxn ang="0">
                  <a:pos x="2" y="12"/>
                </a:cxn>
                <a:cxn ang="0">
                  <a:pos x="0" y="16"/>
                </a:cxn>
                <a:cxn ang="0">
                  <a:pos x="0" y="21"/>
                </a:cxn>
                <a:cxn ang="0">
                  <a:pos x="0" y="25"/>
                </a:cxn>
                <a:cxn ang="0">
                  <a:pos x="0" y="27"/>
                </a:cxn>
                <a:cxn ang="0">
                  <a:pos x="7" y="34"/>
                </a:cxn>
                <a:cxn ang="0">
                  <a:pos x="7" y="39"/>
                </a:cxn>
                <a:cxn ang="0">
                  <a:pos x="15" y="39"/>
                </a:cxn>
                <a:cxn ang="0">
                  <a:pos x="30" y="39"/>
                </a:cxn>
                <a:cxn ang="0">
                  <a:pos x="25" y="36"/>
                </a:cxn>
                <a:cxn ang="0">
                  <a:pos x="32" y="34"/>
                </a:cxn>
                <a:cxn ang="0">
                  <a:pos x="25" y="27"/>
                </a:cxn>
                <a:cxn ang="0">
                  <a:pos x="23" y="25"/>
                </a:cxn>
                <a:cxn ang="0">
                  <a:pos x="34" y="18"/>
                </a:cxn>
                <a:cxn ang="0">
                  <a:pos x="34" y="21"/>
                </a:cxn>
                <a:cxn ang="0">
                  <a:pos x="32" y="5"/>
                </a:cxn>
                <a:cxn ang="0">
                  <a:pos x="30" y="3"/>
                </a:cxn>
                <a:cxn ang="0">
                  <a:pos x="32" y="3"/>
                </a:cxn>
                <a:cxn ang="0">
                  <a:pos x="30" y="0"/>
                </a:cxn>
                <a:cxn ang="0">
                  <a:pos x="21" y="5"/>
                </a:cxn>
                <a:cxn ang="0">
                  <a:pos x="21" y="3"/>
                </a:cxn>
              </a:cxnLst>
              <a:rect l="0" t="0" r="r" b="b"/>
              <a:pathLst>
                <a:path w="34" h="39">
                  <a:moveTo>
                    <a:pt x="21" y="3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5"/>
                  </a:lnTo>
                  <a:lnTo>
                    <a:pt x="7" y="5"/>
                  </a:lnTo>
                  <a:lnTo>
                    <a:pt x="2" y="12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7" y="34"/>
                  </a:lnTo>
                  <a:lnTo>
                    <a:pt x="7" y="39"/>
                  </a:lnTo>
                  <a:lnTo>
                    <a:pt x="15" y="39"/>
                  </a:lnTo>
                  <a:lnTo>
                    <a:pt x="30" y="39"/>
                  </a:lnTo>
                  <a:lnTo>
                    <a:pt x="25" y="36"/>
                  </a:lnTo>
                  <a:lnTo>
                    <a:pt x="32" y="34"/>
                  </a:lnTo>
                  <a:lnTo>
                    <a:pt x="25" y="27"/>
                  </a:lnTo>
                  <a:lnTo>
                    <a:pt x="23" y="25"/>
                  </a:lnTo>
                  <a:lnTo>
                    <a:pt x="34" y="18"/>
                  </a:lnTo>
                  <a:lnTo>
                    <a:pt x="34" y="21"/>
                  </a:lnTo>
                  <a:lnTo>
                    <a:pt x="32" y="5"/>
                  </a:lnTo>
                  <a:lnTo>
                    <a:pt x="30" y="3"/>
                  </a:lnTo>
                  <a:lnTo>
                    <a:pt x="32" y="3"/>
                  </a:lnTo>
                  <a:lnTo>
                    <a:pt x="30" y="0"/>
                  </a:lnTo>
                  <a:lnTo>
                    <a:pt x="21" y="5"/>
                  </a:lnTo>
                  <a:lnTo>
                    <a:pt x="21" y="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36" name="Gambia"/>
            <p:cNvSpPr>
              <a:spLocks/>
            </p:cNvSpPr>
            <p:nvPr/>
          </p:nvSpPr>
          <p:spPr bwMode="auto">
            <a:xfrm>
              <a:off x="3792587" y="4087392"/>
              <a:ext cx="71031" cy="24201"/>
            </a:xfrm>
            <a:custGeom>
              <a:avLst/>
              <a:gdLst>
                <a:gd name="T0" fmla="*/ 16 w 196"/>
                <a:gd name="T1" fmla="*/ 34 h 56"/>
                <a:gd name="T2" fmla="*/ 6 w 196"/>
                <a:gd name="T3" fmla="*/ 41 h 56"/>
                <a:gd name="T4" fmla="*/ 3 w 196"/>
                <a:gd name="T5" fmla="*/ 30 h 56"/>
                <a:gd name="T6" fmla="*/ 0 w 196"/>
                <a:gd name="T7" fmla="*/ 19 h 56"/>
                <a:gd name="T8" fmla="*/ 0 w 196"/>
                <a:gd name="T9" fmla="*/ 19 h 56"/>
                <a:gd name="T10" fmla="*/ 70 w 196"/>
                <a:gd name="T11" fmla="*/ 22 h 56"/>
                <a:gd name="T12" fmla="*/ 91 w 196"/>
                <a:gd name="T13" fmla="*/ 9 h 56"/>
                <a:gd name="T14" fmla="*/ 123 w 196"/>
                <a:gd name="T15" fmla="*/ 21 h 56"/>
                <a:gd name="T16" fmla="*/ 144 w 196"/>
                <a:gd name="T17" fmla="*/ 30 h 56"/>
                <a:gd name="T18" fmla="*/ 187 w 196"/>
                <a:gd name="T19" fmla="*/ 33 h 56"/>
                <a:gd name="T20" fmla="*/ 162 w 196"/>
                <a:gd name="T21" fmla="*/ 52 h 56"/>
                <a:gd name="T22" fmla="*/ 131 w 196"/>
                <a:gd name="T23" fmla="*/ 43 h 56"/>
                <a:gd name="T24" fmla="*/ 94 w 196"/>
                <a:gd name="T25" fmla="*/ 23 h 56"/>
                <a:gd name="T26" fmla="*/ 73 w 196"/>
                <a:gd name="T27" fmla="*/ 38 h 56"/>
                <a:gd name="T28" fmla="*/ 75 w 196"/>
                <a:gd name="T29" fmla="*/ 34 h 56"/>
                <a:gd name="T30" fmla="*/ 78 w 196"/>
                <a:gd name="T31" fmla="*/ 34 h 56"/>
                <a:gd name="T32" fmla="*/ 82 w 196"/>
                <a:gd name="T33" fmla="*/ 31 h 56"/>
                <a:gd name="T34" fmla="*/ 72 w 196"/>
                <a:gd name="T35" fmla="*/ 30 h 56"/>
                <a:gd name="T36" fmla="*/ 66 w 196"/>
                <a:gd name="T37" fmla="*/ 28 h 56"/>
                <a:gd name="T38" fmla="*/ 58 w 196"/>
                <a:gd name="T39" fmla="*/ 30 h 56"/>
                <a:gd name="T40" fmla="*/ 48 w 196"/>
                <a:gd name="T41" fmla="*/ 32 h 56"/>
                <a:gd name="T42" fmla="*/ 31 w 196"/>
                <a:gd name="T43" fmla="*/ 33 h 56"/>
                <a:gd name="T44" fmla="*/ 23 w 196"/>
                <a:gd name="T45" fmla="*/ 32 h 56"/>
                <a:gd name="T46" fmla="*/ 16 w 196"/>
                <a:gd name="T47" fmla="*/ 3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56">
                  <a:moveTo>
                    <a:pt x="16" y="34"/>
                  </a:moveTo>
                  <a:cubicBezTo>
                    <a:pt x="14" y="37"/>
                    <a:pt x="10" y="40"/>
                    <a:pt x="6" y="41"/>
                  </a:cubicBezTo>
                  <a:cubicBezTo>
                    <a:pt x="3" y="38"/>
                    <a:pt x="4" y="34"/>
                    <a:pt x="3" y="30"/>
                  </a:cubicBezTo>
                  <a:cubicBezTo>
                    <a:pt x="3" y="26"/>
                    <a:pt x="1" y="23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6" y="20"/>
                    <a:pt x="44" y="21"/>
                    <a:pt x="70" y="22"/>
                  </a:cubicBezTo>
                  <a:cubicBezTo>
                    <a:pt x="70" y="11"/>
                    <a:pt x="82" y="4"/>
                    <a:pt x="91" y="9"/>
                  </a:cubicBezTo>
                  <a:cubicBezTo>
                    <a:pt x="103" y="0"/>
                    <a:pt x="120" y="7"/>
                    <a:pt x="123" y="21"/>
                  </a:cubicBezTo>
                  <a:cubicBezTo>
                    <a:pt x="133" y="17"/>
                    <a:pt x="142" y="17"/>
                    <a:pt x="144" y="30"/>
                  </a:cubicBezTo>
                  <a:cubicBezTo>
                    <a:pt x="155" y="45"/>
                    <a:pt x="176" y="14"/>
                    <a:pt x="187" y="33"/>
                  </a:cubicBezTo>
                  <a:cubicBezTo>
                    <a:pt x="196" y="50"/>
                    <a:pt x="170" y="46"/>
                    <a:pt x="162" y="52"/>
                  </a:cubicBezTo>
                  <a:cubicBezTo>
                    <a:pt x="150" y="56"/>
                    <a:pt x="141" y="45"/>
                    <a:pt x="131" y="43"/>
                  </a:cubicBezTo>
                  <a:cubicBezTo>
                    <a:pt x="118" y="40"/>
                    <a:pt x="106" y="29"/>
                    <a:pt x="94" y="23"/>
                  </a:cubicBezTo>
                  <a:cubicBezTo>
                    <a:pt x="89" y="31"/>
                    <a:pt x="85" y="45"/>
                    <a:pt x="73" y="38"/>
                  </a:cubicBezTo>
                  <a:cubicBezTo>
                    <a:pt x="75" y="34"/>
                    <a:pt x="75" y="34"/>
                    <a:pt x="75" y="34"/>
                  </a:cubicBezTo>
                  <a:cubicBezTo>
                    <a:pt x="76" y="34"/>
                    <a:pt x="77" y="35"/>
                    <a:pt x="78" y="34"/>
                  </a:cubicBezTo>
                  <a:cubicBezTo>
                    <a:pt x="80" y="36"/>
                    <a:pt x="83" y="31"/>
                    <a:pt x="82" y="31"/>
                  </a:cubicBezTo>
                  <a:cubicBezTo>
                    <a:pt x="80" y="36"/>
                    <a:pt x="74" y="33"/>
                    <a:pt x="72" y="30"/>
                  </a:cubicBezTo>
                  <a:cubicBezTo>
                    <a:pt x="71" y="28"/>
                    <a:pt x="67" y="31"/>
                    <a:pt x="66" y="28"/>
                  </a:cubicBezTo>
                  <a:cubicBezTo>
                    <a:pt x="63" y="24"/>
                    <a:pt x="61" y="31"/>
                    <a:pt x="58" y="30"/>
                  </a:cubicBezTo>
                  <a:cubicBezTo>
                    <a:pt x="55" y="26"/>
                    <a:pt x="51" y="32"/>
                    <a:pt x="48" y="32"/>
                  </a:cubicBezTo>
                  <a:cubicBezTo>
                    <a:pt x="42" y="31"/>
                    <a:pt x="37" y="32"/>
                    <a:pt x="31" y="33"/>
                  </a:cubicBezTo>
                  <a:cubicBezTo>
                    <a:pt x="28" y="31"/>
                    <a:pt x="25" y="35"/>
                    <a:pt x="23" y="32"/>
                  </a:cubicBezTo>
                  <a:cubicBezTo>
                    <a:pt x="20" y="31"/>
                    <a:pt x="18" y="33"/>
                    <a:pt x="16" y="34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37" name="Gabon"/>
            <p:cNvSpPr>
              <a:spLocks/>
            </p:cNvSpPr>
            <p:nvPr/>
          </p:nvSpPr>
          <p:spPr bwMode="auto">
            <a:xfrm>
              <a:off x="4455073" y="4477108"/>
              <a:ext cx="160347" cy="207793"/>
            </a:xfrm>
            <a:custGeom>
              <a:avLst/>
              <a:gdLst>
                <a:gd name="T0" fmla="*/ 54 w 441"/>
                <a:gd name="T1" fmla="*/ 169 h 482"/>
                <a:gd name="T2" fmla="*/ 86 w 441"/>
                <a:gd name="T3" fmla="*/ 171 h 482"/>
                <a:gd name="T4" fmla="*/ 47 w 441"/>
                <a:gd name="T5" fmla="*/ 145 h 482"/>
                <a:gd name="T6" fmla="*/ 62 w 441"/>
                <a:gd name="T7" fmla="*/ 129 h 482"/>
                <a:gd name="T8" fmla="*/ 65 w 441"/>
                <a:gd name="T9" fmla="*/ 104 h 482"/>
                <a:gd name="T10" fmla="*/ 200 w 441"/>
                <a:gd name="T11" fmla="*/ 105 h 482"/>
                <a:gd name="T12" fmla="*/ 197 w 441"/>
                <a:gd name="T13" fmla="*/ 16 h 482"/>
                <a:gd name="T14" fmla="*/ 265 w 441"/>
                <a:gd name="T15" fmla="*/ 8 h 482"/>
                <a:gd name="T16" fmla="*/ 347 w 441"/>
                <a:gd name="T17" fmla="*/ 17 h 482"/>
                <a:gd name="T18" fmla="*/ 343 w 441"/>
                <a:gd name="T19" fmla="*/ 78 h 482"/>
                <a:gd name="T20" fmla="*/ 378 w 441"/>
                <a:gd name="T21" fmla="*/ 77 h 482"/>
                <a:gd name="T22" fmla="*/ 435 w 441"/>
                <a:gd name="T23" fmla="*/ 113 h 482"/>
                <a:gd name="T24" fmla="*/ 404 w 441"/>
                <a:gd name="T25" fmla="*/ 149 h 482"/>
                <a:gd name="T26" fmla="*/ 401 w 441"/>
                <a:gd name="T27" fmla="*/ 199 h 482"/>
                <a:gd name="T28" fmla="*/ 435 w 441"/>
                <a:gd name="T29" fmla="*/ 240 h 482"/>
                <a:gd name="T30" fmla="*/ 431 w 441"/>
                <a:gd name="T31" fmla="*/ 301 h 482"/>
                <a:gd name="T32" fmla="*/ 420 w 441"/>
                <a:gd name="T33" fmla="*/ 331 h 482"/>
                <a:gd name="T34" fmla="*/ 396 w 441"/>
                <a:gd name="T35" fmla="*/ 368 h 482"/>
                <a:gd name="T36" fmla="*/ 378 w 441"/>
                <a:gd name="T37" fmla="*/ 347 h 482"/>
                <a:gd name="T38" fmla="*/ 325 w 441"/>
                <a:gd name="T39" fmla="*/ 357 h 482"/>
                <a:gd name="T40" fmla="*/ 286 w 441"/>
                <a:gd name="T41" fmla="*/ 325 h 482"/>
                <a:gd name="T42" fmla="*/ 265 w 441"/>
                <a:gd name="T43" fmla="*/ 361 h 482"/>
                <a:gd name="T44" fmla="*/ 219 w 441"/>
                <a:gd name="T45" fmla="*/ 365 h 482"/>
                <a:gd name="T46" fmla="*/ 226 w 441"/>
                <a:gd name="T47" fmla="*/ 400 h 482"/>
                <a:gd name="T48" fmla="*/ 241 w 441"/>
                <a:gd name="T49" fmla="*/ 439 h 482"/>
                <a:gd name="T50" fmla="*/ 213 w 441"/>
                <a:gd name="T51" fmla="*/ 446 h 482"/>
                <a:gd name="T52" fmla="*/ 181 w 441"/>
                <a:gd name="T53" fmla="*/ 482 h 482"/>
                <a:gd name="T54" fmla="*/ 166 w 441"/>
                <a:gd name="T55" fmla="*/ 459 h 482"/>
                <a:gd name="T56" fmla="*/ 90 w 441"/>
                <a:gd name="T57" fmla="*/ 388 h 482"/>
                <a:gd name="T58" fmla="*/ 41 w 441"/>
                <a:gd name="T59" fmla="*/ 327 h 482"/>
                <a:gd name="T60" fmla="*/ 8 w 441"/>
                <a:gd name="T61" fmla="*/ 246 h 482"/>
                <a:gd name="T62" fmla="*/ 22 w 441"/>
                <a:gd name="T63" fmla="*/ 230 h 482"/>
                <a:gd name="T64" fmla="*/ 41 w 441"/>
                <a:gd name="T65" fmla="*/ 175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1" h="482">
                  <a:moveTo>
                    <a:pt x="42" y="162"/>
                  </a:moveTo>
                  <a:cubicBezTo>
                    <a:pt x="48" y="162"/>
                    <a:pt x="50" y="166"/>
                    <a:pt x="54" y="169"/>
                  </a:cubicBezTo>
                  <a:cubicBezTo>
                    <a:pt x="60" y="173"/>
                    <a:pt x="67" y="175"/>
                    <a:pt x="74" y="175"/>
                  </a:cubicBezTo>
                  <a:cubicBezTo>
                    <a:pt x="79" y="175"/>
                    <a:pt x="84" y="176"/>
                    <a:pt x="86" y="171"/>
                  </a:cubicBezTo>
                  <a:cubicBezTo>
                    <a:pt x="82" y="166"/>
                    <a:pt x="75" y="167"/>
                    <a:pt x="69" y="165"/>
                  </a:cubicBezTo>
                  <a:cubicBezTo>
                    <a:pt x="61" y="159"/>
                    <a:pt x="52" y="154"/>
                    <a:pt x="47" y="145"/>
                  </a:cubicBezTo>
                  <a:cubicBezTo>
                    <a:pt x="45" y="142"/>
                    <a:pt x="47" y="134"/>
                    <a:pt x="52" y="135"/>
                  </a:cubicBezTo>
                  <a:cubicBezTo>
                    <a:pt x="57" y="136"/>
                    <a:pt x="60" y="134"/>
                    <a:pt x="62" y="129"/>
                  </a:cubicBezTo>
                  <a:cubicBezTo>
                    <a:pt x="63" y="122"/>
                    <a:pt x="61" y="115"/>
                    <a:pt x="62" y="109"/>
                  </a:cubicBezTo>
                  <a:cubicBezTo>
                    <a:pt x="61" y="109"/>
                    <a:pt x="64" y="107"/>
                    <a:pt x="65" y="104"/>
                  </a:cubicBezTo>
                  <a:cubicBezTo>
                    <a:pt x="76" y="89"/>
                    <a:pt x="92" y="119"/>
                    <a:pt x="98" y="105"/>
                  </a:cubicBezTo>
                  <a:cubicBezTo>
                    <a:pt x="132" y="105"/>
                    <a:pt x="166" y="105"/>
                    <a:pt x="200" y="105"/>
                  </a:cubicBezTo>
                  <a:cubicBezTo>
                    <a:pt x="199" y="75"/>
                    <a:pt x="200" y="46"/>
                    <a:pt x="199" y="17"/>
                  </a:cubicBezTo>
                  <a:cubicBezTo>
                    <a:pt x="197" y="16"/>
                    <a:pt x="197" y="16"/>
                    <a:pt x="197" y="16"/>
                  </a:cubicBezTo>
                  <a:cubicBezTo>
                    <a:pt x="201" y="3"/>
                    <a:pt x="217" y="5"/>
                    <a:pt x="227" y="7"/>
                  </a:cubicBezTo>
                  <a:cubicBezTo>
                    <a:pt x="240" y="9"/>
                    <a:pt x="253" y="7"/>
                    <a:pt x="265" y="8"/>
                  </a:cubicBezTo>
                  <a:cubicBezTo>
                    <a:pt x="281" y="3"/>
                    <a:pt x="296" y="13"/>
                    <a:pt x="311" y="11"/>
                  </a:cubicBezTo>
                  <a:cubicBezTo>
                    <a:pt x="323" y="14"/>
                    <a:pt x="344" y="0"/>
                    <a:pt x="347" y="17"/>
                  </a:cubicBezTo>
                  <a:cubicBezTo>
                    <a:pt x="346" y="28"/>
                    <a:pt x="336" y="35"/>
                    <a:pt x="337" y="48"/>
                  </a:cubicBezTo>
                  <a:cubicBezTo>
                    <a:pt x="330" y="59"/>
                    <a:pt x="342" y="67"/>
                    <a:pt x="343" y="78"/>
                  </a:cubicBezTo>
                  <a:cubicBezTo>
                    <a:pt x="340" y="84"/>
                    <a:pt x="334" y="90"/>
                    <a:pt x="345" y="88"/>
                  </a:cubicBezTo>
                  <a:cubicBezTo>
                    <a:pt x="356" y="80"/>
                    <a:pt x="368" y="85"/>
                    <a:pt x="378" y="77"/>
                  </a:cubicBezTo>
                  <a:cubicBezTo>
                    <a:pt x="390" y="68"/>
                    <a:pt x="407" y="75"/>
                    <a:pt x="419" y="79"/>
                  </a:cubicBezTo>
                  <a:cubicBezTo>
                    <a:pt x="421" y="92"/>
                    <a:pt x="429" y="102"/>
                    <a:pt x="435" y="113"/>
                  </a:cubicBezTo>
                  <a:cubicBezTo>
                    <a:pt x="435" y="123"/>
                    <a:pt x="425" y="129"/>
                    <a:pt x="421" y="138"/>
                  </a:cubicBezTo>
                  <a:cubicBezTo>
                    <a:pt x="414" y="140"/>
                    <a:pt x="403" y="137"/>
                    <a:pt x="404" y="149"/>
                  </a:cubicBezTo>
                  <a:cubicBezTo>
                    <a:pt x="390" y="155"/>
                    <a:pt x="390" y="171"/>
                    <a:pt x="395" y="182"/>
                  </a:cubicBezTo>
                  <a:cubicBezTo>
                    <a:pt x="387" y="190"/>
                    <a:pt x="387" y="204"/>
                    <a:pt x="401" y="199"/>
                  </a:cubicBezTo>
                  <a:cubicBezTo>
                    <a:pt x="414" y="197"/>
                    <a:pt x="409" y="219"/>
                    <a:pt x="423" y="214"/>
                  </a:cubicBezTo>
                  <a:cubicBezTo>
                    <a:pt x="436" y="215"/>
                    <a:pt x="441" y="229"/>
                    <a:pt x="435" y="240"/>
                  </a:cubicBezTo>
                  <a:cubicBezTo>
                    <a:pt x="431" y="252"/>
                    <a:pt x="432" y="264"/>
                    <a:pt x="436" y="276"/>
                  </a:cubicBezTo>
                  <a:cubicBezTo>
                    <a:pt x="434" y="285"/>
                    <a:pt x="440" y="295"/>
                    <a:pt x="431" y="301"/>
                  </a:cubicBezTo>
                  <a:cubicBezTo>
                    <a:pt x="429" y="307"/>
                    <a:pt x="438" y="308"/>
                    <a:pt x="432" y="312"/>
                  </a:cubicBezTo>
                  <a:cubicBezTo>
                    <a:pt x="435" y="324"/>
                    <a:pt x="427" y="326"/>
                    <a:pt x="420" y="331"/>
                  </a:cubicBezTo>
                  <a:cubicBezTo>
                    <a:pt x="424" y="342"/>
                    <a:pt x="406" y="349"/>
                    <a:pt x="418" y="357"/>
                  </a:cubicBezTo>
                  <a:cubicBezTo>
                    <a:pt x="412" y="361"/>
                    <a:pt x="407" y="374"/>
                    <a:pt x="396" y="368"/>
                  </a:cubicBezTo>
                  <a:cubicBezTo>
                    <a:pt x="382" y="371"/>
                    <a:pt x="399" y="357"/>
                    <a:pt x="390" y="354"/>
                  </a:cubicBezTo>
                  <a:cubicBezTo>
                    <a:pt x="387" y="347"/>
                    <a:pt x="381" y="332"/>
                    <a:pt x="378" y="347"/>
                  </a:cubicBezTo>
                  <a:cubicBezTo>
                    <a:pt x="370" y="355"/>
                    <a:pt x="361" y="369"/>
                    <a:pt x="348" y="362"/>
                  </a:cubicBezTo>
                  <a:cubicBezTo>
                    <a:pt x="341" y="360"/>
                    <a:pt x="327" y="357"/>
                    <a:pt x="325" y="357"/>
                  </a:cubicBezTo>
                  <a:cubicBezTo>
                    <a:pt x="327" y="346"/>
                    <a:pt x="313" y="342"/>
                    <a:pt x="313" y="330"/>
                  </a:cubicBezTo>
                  <a:cubicBezTo>
                    <a:pt x="308" y="319"/>
                    <a:pt x="292" y="315"/>
                    <a:pt x="286" y="325"/>
                  </a:cubicBezTo>
                  <a:cubicBezTo>
                    <a:pt x="275" y="326"/>
                    <a:pt x="291" y="345"/>
                    <a:pt x="287" y="342"/>
                  </a:cubicBezTo>
                  <a:cubicBezTo>
                    <a:pt x="289" y="357"/>
                    <a:pt x="276" y="360"/>
                    <a:pt x="265" y="361"/>
                  </a:cubicBezTo>
                  <a:cubicBezTo>
                    <a:pt x="253" y="368"/>
                    <a:pt x="244" y="351"/>
                    <a:pt x="233" y="361"/>
                  </a:cubicBezTo>
                  <a:cubicBezTo>
                    <a:pt x="228" y="364"/>
                    <a:pt x="214" y="351"/>
                    <a:pt x="219" y="365"/>
                  </a:cubicBezTo>
                  <a:cubicBezTo>
                    <a:pt x="221" y="375"/>
                    <a:pt x="224" y="385"/>
                    <a:pt x="215" y="393"/>
                  </a:cubicBezTo>
                  <a:cubicBezTo>
                    <a:pt x="214" y="400"/>
                    <a:pt x="225" y="390"/>
                    <a:pt x="226" y="400"/>
                  </a:cubicBezTo>
                  <a:cubicBezTo>
                    <a:pt x="233" y="405"/>
                    <a:pt x="235" y="410"/>
                    <a:pt x="227" y="414"/>
                  </a:cubicBezTo>
                  <a:cubicBezTo>
                    <a:pt x="223" y="428"/>
                    <a:pt x="257" y="426"/>
                    <a:pt x="241" y="439"/>
                  </a:cubicBezTo>
                  <a:cubicBezTo>
                    <a:pt x="236" y="445"/>
                    <a:pt x="240" y="456"/>
                    <a:pt x="241" y="459"/>
                  </a:cubicBezTo>
                  <a:cubicBezTo>
                    <a:pt x="229" y="468"/>
                    <a:pt x="222" y="451"/>
                    <a:pt x="213" y="446"/>
                  </a:cubicBezTo>
                  <a:cubicBezTo>
                    <a:pt x="201" y="453"/>
                    <a:pt x="187" y="459"/>
                    <a:pt x="185" y="476"/>
                  </a:cubicBezTo>
                  <a:cubicBezTo>
                    <a:pt x="181" y="482"/>
                    <a:pt x="181" y="482"/>
                    <a:pt x="181" y="482"/>
                  </a:cubicBezTo>
                  <a:cubicBezTo>
                    <a:pt x="181" y="482"/>
                    <a:pt x="181" y="482"/>
                    <a:pt x="180" y="482"/>
                  </a:cubicBezTo>
                  <a:cubicBezTo>
                    <a:pt x="174" y="475"/>
                    <a:pt x="174" y="464"/>
                    <a:pt x="166" y="459"/>
                  </a:cubicBezTo>
                  <a:cubicBezTo>
                    <a:pt x="154" y="448"/>
                    <a:pt x="145" y="435"/>
                    <a:pt x="133" y="424"/>
                  </a:cubicBezTo>
                  <a:cubicBezTo>
                    <a:pt x="120" y="411"/>
                    <a:pt x="104" y="401"/>
                    <a:pt x="90" y="388"/>
                  </a:cubicBezTo>
                  <a:cubicBezTo>
                    <a:pt x="83" y="380"/>
                    <a:pt x="79" y="370"/>
                    <a:pt x="72" y="363"/>
                  </a:cubicBezTo>
                  <a:cubicBezTo>
                    <a:pt x="62" y="351"/>
                    <a:pt x="53" y="337"/>
                    <a:pt x="41" y="327"/>
                  </a:cubicBezTo>
                  <a:cubicBezTo>
                    <a:pt x="34" y="311"/>
                    <a:pt x="27" y="295"/>
                    <a:pt x="22" y="278"/>
                  </a:cubicBezTo>
                  <a:cubicBezTo>
                    <a:pt x="18" y="267"/>
                    <a:pt x="13" y="257"/>
                    <a:pt x="8" y="246"/>
                  </a:cubicBezTo>
                  <a:cubicBezTo>
                    <a:pt x="6" y="243"/>
                    <a:pt x="0" y="237"/>
                    <a:pt x="8" y="238"/>
                  </a:cubicBezTo>
                  <a:cubicBezTo>
                    <a:pt x="13" y="236"/>
                    <a:pt x="19" y="235"/>
                    <a:pt x="22" y="230"/>
                  </a:cubicBezTo>
                  <a:cubicBezTo>
                    <a:pt x="25" y="224"/>
                    <a:pt x="31" y="218"/>
                    <a:pt x="37" y="214"/>
                  </a:cubicBezTo>
                  <a:cubicBezTo>
                    <a:pt x="40" y="201"/>
                    <a:pt x="41" y="188"/>
                    <a:pt x="41" y="175"/>
                  </a:cubicBezTo>
                  <a:cubicBezTo>
                    <a:pt x="42" y="171"/>
                    <a:pt x="40" y="165"/>
                    <a:pt x="42" y="162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38" name="French Guiana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2819142" y="4365882"/>
              <a:ext cx="61023" cy="122616"/>
            </a:xfrm>
            <a:custGeom>
              <a:avLst/>
              <a:gdLst/>
              <a:ahLst/>
              <a:cxnLst>
                <a:cxn ang="0">
                  <a:pos x="11" y="11"/>
                </a:cxn>
                <a:cxn ang="0">
                  <a:pos x="5" y="22"/>
                </a:cxn>
                <a:cxn ang="0">
                  <a:pos x="0" y="22"/>
                </a:cxn>
                <a:cxn ang="0">
                  <a:pos x="0" y="13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5" y="6"/>
                </a:cxn>
                <a:cxn ang="0">
                  <a:pos x="11" y="11"/>
                </a:cxn>
              </a:cxnLst>
              <a:rect l="0" t="0" r="r" b="b"/>
              <a:pathLst>
                <a:path w="11" h="22">
                  <a:moveTo>
                    <a:pt x="11" y="11"/>
                  </a:moveTo>
                  <a:lnTo>
                    <a:pt x="5" y="22"/>
                  </a:lnTo>
                  <a:lnTo>
                    <a:pt x="0" y="22"/>
                  </a:lnTo>
                  <a:lnTo>
                    <a:pt x="0" y="13"/>
                  </a:lnTo>
                  <a:lnTo>
                    <a:pt x="0" y="6"/>
                  </a:lnTo>
                  <a:lnTo>
                    <a:pt x="0" y="0"/>
                  </a:lnTo>
                  <a:lnTo>
                    <a:pt x="5" y="6"/>
                  </a:lnTo>
                  <a:lnTo>
                    <a:pt x="11" y="1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39" name="France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4161636" y="2905642"/>
              <a:ext cx="294018" cy="278672"/>
            </a:xfrm>
            <a:custGeom>
              <a:avLst/>
              <a:gdLst/>
              <a:ahLst/>
              <a:cxnLst>
                <a:cxn ang="0">
                  <a:pos x="53" y="21"/>
                </a:cxn>
                <a:cxn ang="0">
                  <a:pos x="53" y="16"/>
                </a:cxn>
                <a:cxn ang="0">
                  <a:pos x="46" y="9"/>
                </a:cxn>
                <a:cxn ang="0">
                  <a:pos x="44" y="9"/>
                </a:cxn>
                <a:cxn ang="0">
                  <a:pos x="40" y="9"/>
                </a:cxn>
                <a:cxn ang="0">
                  <a:pos x="40" y="7"/>
                </a:cxn>
                <a:cxn ang="0">
                  <a:pos x="38" y="9"/>
                </a:cxn>
                <a:cxn ang="0">
                  <a:pos x="32" y="3"/>
                </a:cxn>
                <a:cxn ang="0">
                  <a:pos x="32" y="0"/>
                </a:cxn>
                <a:cxn ang="0">
                  <a:pos x="30" y="3"/>
                </a:cxn>
                <a:cxn ang="0">
                  <a:pos x="28" y="7"/>
                </a:cxn>
                <a:cxn ang="0">
                  <a:pos x="21" y="9"/>
                </a:cxn>
                <a:cxn ang="0">
                  <a:pos x="21" y="12"/>
                </a:cxn>
                <a:cxn ang="0">
                  <a:pos x="15" y="12"/>
                </a:cxn>
                <a:cxn ang="0">
                  <a:pos x="15" y="9"/>
                </a:cxn>
                <a:cxn ang="0">
                  <a:pos x="13" y="9"/>
                </a:cxn>
                <a:cxn ang="0">
                  <a:pos x="15" y="16"/>
                </a:cxn>
                <a:cxn ang="0">
                  <a:pos x="9" y="16"/>
                </a:cxn>
                <a:cxn ang="0">
                  <a:pos x="7" y="16"/>
                </a:cxn>
                <a:cxn ang="0">
                  <a:pos x="0" y="16"/>
                </a:cxn>
                <a:cxn ang="0">
                  <a:pos x="0" y="18"/>
                </a:cxn>
                <a:cxn ang="0">
                  <a:pos x="9" y="21"/>
                </a:cxn>
                <a:cxn ang="0">
                  <a:pos x="15" y="27"/>
                </a:cxn>
                <a:cxn ang="0">
                  <a:pos x="15" y="30"/>
                </a:cxn>
                <a:cxn ang="0">
                  <a:pos x="13" y="43"/>
                </a:cxn>
                <a:cxn ang="0">
                  <a:pos x="13" y="45"/>
                </a:cxn>
                <a:cxn ang="0">
                  <a:pos x="17" y="50"/>
                </a:cxn>
                <a:cxn ang="0">
                  <a:pos x="32" y="50"/>
                </a:cxn>
                <a:cxn ang="0">
                  <a:pos x="36" y="45"/>
                </a:cxn>
                <a:cxn ang="0">
                  <a:pos x="46" y="45"/>
                </a:cxn>
                <a:cxn ang="0">
                  <a:pos x="53" y="43"/>
                </a:cxn>
                <a:cxn ang="0">
                  <a:pos x="46" y="36"/>
                </a:cxn>
                <a:cxn ang="0">
                  <a:pos x="48" y="30"/>
                </a:cxn>
                <a:cxn ang="0">
                  <a:pos x="46" y="27"/>
                </a:cxn>
                <a:cxn ang="0">
                  <a:pos x="46" y="30"/>
                </a:cxn>
                <a:cxn ang="0">
                  <a:pos x="44" y="27"/>
                </a:cxn>
                <a:cxn ang="0">
                  <a:pos x="48" y="21"/>
                </a:cxn>
                <a:cxn ang="0">
                  <a:pos x="51" y="21"/>
                </a:cxn>
                <a:cxn ang="0">
                  <a:pos x="53" y="21"/>
                </a:cxn>
              </a:cxnLst>
              <a:rect l="0" t="0" r="r" b="b"/>
              <a:pathLst>
                <a:path w="53" h="50">
                  <a:moveTo>
                    <a:pt x="53" y="21"/>
                  </a:moveTo>
                  <a:lnTo>
                    <a:pt x="53" y="16"/>
                  </a:lnTo>
                  <a:lnTo>
                    <a:pt x="46" y="9"/>
                  </a:lnTo>
                  <a:lnTo>
                    <a:pt x="44" y="9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38" y="9"/>
                  </a:lnTo>
                  <a:lnTo>
                    <a:pt x="32" y="3"/>
                  </a:lnTo>
                  <a:lnTo>
                    <a:pt x="32" y="0"/>
                  </a:lnTo>
                  <a:lnTo>
                    <a:pt x="30" y="3"/>
                  </a:lnTo>
                  <a:lnTo>
                    <a:pt x="28" y="7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15" y="12"/>
                  </a:lnTo>
                  <a:lnTo>
                    <a:pt x="15" y="9"/>
                  </a:lnTo>
                  <a:lnTo>
                    <a:pt x="13" y="9"/>
                  </a:lnTo>
                  <a:lnTo>
                    <a:pt x="15" y="16"/>
                  </a:lnTo>
                  <a:lnTo>
                    <a:pt x="9" y="16"/>
                  </a:lnTo>
                  <a:lnTo>
                    <a:pt x="7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9" y="21"/>
                  </a:lnTo>
                  <a:lnTo>
                    <a:pt x="15" y="27"/>
                  </a:lnTo>
                  <a:lnTo>
                    <a:pt x="15" y="30"/>
                  </a:lnTo>
                  <a:lnTo>
                    <a:pt x="13" y="43"/>
                  </a:lnTo>
                  <a:lnTo>
                    <a:pt x="13" y="45"/>
                  </a:lnTo>
                  <a:lnTo>
                    <a:pt x="17" y="50"/>
                  </a:lnTo>
                  <a:lnTo>
                    <a:pt x="32" y="50"/>
                  </a:lnTo>
                  <a:lnTo>
                    <a:pt x="36" y="45"/>
                  </a:lnTo>
                  <a:lnTo>
                    <a:pt x="46" y="45"/>
                  </a:lnTo>
                  <a:lnTo>
                    <a:pt x="53" y="43"/>
                  </a:lnTo>
                  <a:lnTo>
                    <a:pt x="46" y="36"/>
                  </a:lnTo>
                  <a:lnTo>
                    <a:pt x="48" y="30"/>
                  </a:lnTo>
                  <a:lnTo>
                    <a:pt x="46" y="27"/>
                  </a:lnTo>
                  <a:lnTo>
                    <a:pt x="46" y="30"/>
                  </a:lnTo>
                  <a:lnTo>
                    <a:pt x="44" y="27"/>
                  </a:lnTo>
                  <a:lnTo>
                    <a:pt x="48" y="21"/>
                  </a:lnTo>
                  <a:lnTo>
                    <a:pt x="51" y="21"/>
                  </a:lnTo>
                  <a:lnTo>
                    <a:pt x="53" y="2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40" name="Finland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4694197" y="2353872"/>
              <a:ext cx="244090" cy="300965"/>
            </a:xfrm>
            <a:custGeom>
              <a:avLst/>
              <a:gdLst/>
              <a:ahLst/>
              <a:cxnLst>
                <a:cxn ang="0">
                  <a:pos x="32" y="7"/>
                </a:cxn>
                <a:cxn ang="0">
                  <a:pos x="30" y="7"/>
                </a:cxn>
                <a:cxn ang="0">
                  <a:pos x="30" y="12"/>
                </a:cxn>
                <a:cxn ang="0">
                  <a:pos x="36" y="14"/>
                </a:cxn>
                <a:cxn ang="0">
                  <a:pos x="36" y="16"/>
                </a:cxn>
                <a:cxn ang="0">
                  <a:pos x="38" y="23"/>
                </a:cxn>
                <a:cxn ang="0">
                  <a:pos x="38" y="25"/>
                </a:cxn>
                <a:cxn ang="0">
                  <a:pos x="40" y="30"/>
                </a:cxn>
                <a:cxn ang="0">
                  <a:pos x="40" y="32"/>
                </a:cxn>
                <a:cxn ang="0">
                  <a:pos x="44" y="39"/>
                </a:cxn>
                <a:cxn ang="0">
                  <a:pos x="32" y="50"/>
                </a:cxn>
                <a:cxn ang="0">
                  <a:pos x="19" y="54"/>
                </a:cxn>
                <a:cxn ang="0">
                  <a:pos x="11" y="50"/>
                </a:cxn>
                <a:cxn ang="0">
                  <a:pos x="11" y="43"/>
                </a:cxn>
                <a:cxn ang="0">
                  <a:pos x="7" y="39"/>
                </a:cxn>
                <a:cxn ang="0">
                  <a:pos x="11" y="39"/>
                </a:cxn>
                <a:cxn ang="0">
                  <a:pos x="21" y="25"/>
                </a:cxn>
                <a:cxn ang="0">
                  <a:pos x="21" y="23"/>
                </a:cxn>
                <a:cxn ang="0">
                  <a:pos x="19" y="23"/>
                </a:cxn>
                <a:cxn ang="0">
                  <a:pos x="15" y="23"/>
                </a:cxn>
                <a:cxn ang="0">
                  <a:pos x="13" y="12"/>
                </a:cxn>
                <a:cxn ang="0">
                  <a:pos x="0" y="7"/>
                </a:cxn>
                <a:cxn ang="0">
                  <a:pos x="5" y="5"/>
                </a:cxn>
                <a:cxn ang="0">
                  <a:pos x="11" y="7"/>
                </a:cxn>
                <a:cxn ang="0">
                  <a:pos x="19" y="7"/>
                </a:cxn>
                <a:cxn ang="0">
                  <a:pos x="21" y="7"/>
                </a:cxn>
                <a:cxn ang="0">
                  <a:pos x="21" y="0"/>
                </a:cxn>
                <a:cxn ang="0">
                  <a:pos x="28" y="0"/>
                </a:cxn>
                <a:cxn ang="0">
                  <a:pos x="32" y="5"/>
                </a:cxn>
                <a:cxn ang="0">
                  <a:pos x="32" y="7"/>
                </a:cxn>
              </a:cxnLst>
              <a:rect l="0" t="0" r="r" b="b"/>
              <a:pathLst>
                <a:path w="44" h="54">
                  <a:moveTo>
                    <a:pt x="32" y="7"/>
                  </a:moveTo>
                  <a:lnTo>
                    <a:pt x="30" y="7"/>
                  </a:lnTo>
                  <a:lnTo>
                    <a:pt x="30" y="12"/>
                  </a:lnTo>
                  <a:lnTo>
                    <a:pt x="36" y="14"/>
                  </a:lnTo>
                  <a:lnTo>
                    <a:pt x="36" y="16"/>
                  </a:lnTo>
                  <a:lnTo>
                    <a:pt x="38" y="23"/>
                  </a:lnTo>
                  <a:lnTo>
                    <a:pt x="38" y="25"/>
                  </a:lnTo>
                  <a:lnTo>
                    <a:pt x="40" y="30"/>
                  </a:lnTo>
                  <a:lnTo>
                    <a:pt x="40" y="32"/>
                  </a:lnTo>
                  <a:lnTo>
                    <a:pt x="44" y="39"/>
                  </a:lnTo>
                  <a:lnTo>
                    <a:pt x="32" y="50"/>
                  </a:lnTo>
                  <a:lnTo>
                    <a:pt x="19" y="54"/>
                  </a:lnTo>
                  <a:lnTo>
                    <a:pt x="11" y="50"/>
                  </a:lnTo>
                  <a:lnTo>
                    <a:pt x="11" y="43"/>
                  </a:lnTo>
                  <a:lnTo>
                    <a:pt x="7" y="39"/>
                  </a:lnTo>
                  <a:lnTo>
                    <a:pt x="11" y="39"/>
                  </a:lnTo>
                  <a:lnTo>
                    <a:pt x="21" y="25"/>
                  </a:lnTo>
                  <a:lnTo>
                    <a:pt x="21" y="23"/>
                  </a:lnTo>
                  <a:lnTo>
                    <a:pt x="19" y="23"/>
                  </a:lnTo>
                  <a:lnTo>
                    <a:pt x="15" y="23"/>
                  </a:lnTo>
                  <a:lnTo>
                    <a:pt x="13" y="12"/>
                  </a:lnTo>
                  <a:lnTo>
                    <a:pt x="0" y="7"/>
                  </a:lnTo>
                  <a:lnTo>
                    <a:pt x="5" y="5"/>
                  </a:lnTo>
                  <a:lnTo>
                    <a:pt x="11" y="7"/>
                  </a:lnTo>
                  <a:lnTo>
                    <a:pt x="19" y="7"/>
                  </a:lnTo>
                  <a:lnTo>
                    <a:pt x="21" y="7"/>
                  </a:lnTo>
                  <a:lnTo>
                    <a:pt x="21" y="0"/>
                  </a:lnTo>
                  <a:lnTo>
                    <a:pt x="28" y="0"/>
                  </a:lnTo>
                  <a:lnTo>
                    <a:pt x="32" y="5"/>
                  </a:lnTo>
                  <a:lnTo>
                    <a:pt x="32" y="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41" name="Ethiopia"/>
            <p:cNvSpPr>
              <a:spLocks/>
            </p:cNvSpPr>
            <p:nvPr/>
          </p:nvSpPr>
          <p:spPr bwMode="auto">
            <a:xfrm>
              <a:off x="5114746" y="4061522"/>
              <a:ext cx="400165" cy="378867"/>
            </a:xfrm>
            <a:custGeom>
              <a:avLst/>
              <a:gdLst>
                <a:gd name="T0" fmla="*/ 676 w 1102"/>
                <a:gd name="T1" fmla="*/ 174 h 879"/>
                <a:gd name="T2" fmla="*/ 658 w 1102"/>
                <a:gd name="T3" fmla="*/ 209 h 879"/>
                <a:gd name="T4" fmla="*/ 640 w 1102"/>
                <a:gd name="T5" fmla="*/ 268 h 879"/>
                <a:gd name="T6" fmla="*/ 688 w 1102"/>
                <a:gd name="T7" fmla="*/ 287 h 879"/>
                <a:gd name="T8" fmla="*/ 722 w 1102"/>
                <a:gd name="T9" fmla="*/ 288 h 879"/>
                <a:gd name="T10" fmla="*/ 717 w 1102"/>
                <a:gd name="T11" fmla="*/ 300 h 879"/>
                <a:gd name="T12" fmla="*/ 732 w 1102"/>
                <a:gd name="T13" fmla="*/ 359 h 879"/>
                <a:gd name="T14" fmla="*/ 775 w 1102"/>
                <a:gd name="T15" fmla="*/ 416 h 879"/>
                <a:gd name="T16" fmla="*/ 1032 w 1102"/>
                <a:gd name="T17" fmla="*/ 516 h 879"/>
                <a:gd name="T18" fmla="*/ 1006 w 1102"/>
                <a:gd name="T19" fmla="*/ 624 h 879"/>
                <a:gd name="T20" fmla="*/ 848 w 1102"/>
                <a:gd name="T21" fmla="*/ 759 h 879"/>
                <a:gd name="T22" fmla="*/ 764 w 1102"/>
                <a:gd name="T23" fmla="*/ 781 h 879"/>
                <a:gd name="T24" fmla="*/ 705 w 1102"/>
                <a:gd name="T25" fmla="*/ 818 h 879"/>
                <a:gd name="T26" fmla="*/ 673 w 1102"/>
                <a:gd name="T27" fmla="*/ 835 h 879"/>
                <a:gd name="T28" fmla="*/ 609 w 1102"/>
                <a:gd name="T29" fmla="*/ 829 h 879"/>
                <a:gd name="T30" fmla="*/ 553 w 1102"/>
                <a:gd name="T31" fmla="*/ 830 h 879"/>
                <a:gd name="T32" fmla="*/ 502 w 1102"/>
                <a:gd name="T33" fmla="*/ 879 h 879"/>
                <a:gd name="T34" fmla="*/ 425 w 1102"/>
                <a:gd name="T35" fmla="*/ 864 h 879"/>
                <a:gd name="T36" fmla="*/ 323 w 1102"/>
                <a:gd name="T37" fmla="*/ 816 h 879"/>
                <a:gd name="T38" fmla="*/ 232 w 1102"/>
                <a:gd name="T39" fmla="*/ 789 h 879"/>
                <a:gd name="T40" fmla="*/ 219 w 1102"/>
                <a:gd name="T41" fmla="*/ 769 h 879"/>
                <a:gd name="T42" fmla="*/ 186 w 1102"/>
                <a:gd name="T43" fmla="*/ 733 h 879"/>
                <a:gd name="T44" fmla="*/ 158 w 1102"/>
                <a:gd name="T45" fmla="*/ 685 h 879"/>
                <a:gd name="T46" fmla="*/ 120 w 1102"/>
                <a:gd name="T47" fmla="*/ 617 h 879"/>
                <a:gd name="T48" fmla="*/ 72 w 1102"/>
                <a:gd name="T49" fmla="*/ 568 h 879"/>
                <a:gd name="T50" fmla="*/ 9 w 1102"/>
                <a:gd name="T51" fmla="*/ 534 h 879"/>
                <a:gd name="T52" fmla="*/ 54 w 1102"/>
                <a:gd name="T53" fmla="*/ 498 h 879"/>
                <a:gd name="T54" fmla="*/ 88 w 1102"/>
                <a:gd name="T55" fmla="*/ 456 h 879"/>
                <a:gd name="T56" fmla="*/ 94 w 1102"/>
                <a:gd name="T57" fmla="*/ 375 h 879"/>
                <a:gd name="T58" fmla="*/ 120 w 1102"/>
                <a:gd name="T59" fmla="*/ 313 h 879"/>
                <a:gd name="T60" fmla="*/ 144 w 1102"/>
                <a:gd name="T61" fmla="*/ 293 h 879"/>
                <a:gd name="T62" fmla="*/ 168 w 1102"/>
                <a:gd name="T63" fmla="*/ 214 h 879"/>
                <a:gd name="T64" fmla="*/ 222 w 1102"/>
                <a:gd name="T65" fmla="*/ 167 h 879"/>
                <a:gd name="T66" fmla="*/ 240 w 1102"/>
                <a:gd name="T67" fmla="*/ 83 h 879"/>
                <a:gd name="T68" fmla="*/ 242 w 1102"/>
                <a:gd name="T69" fmla="*/ 50 h 879"/>
                <a:gd name="T70" fmla="*/ 304 w 1102"/>
                <a:gd name="T71" fmla="*/ 44 h 879"/>
                <a:gd name="T72" fmla="*/ 338 w 1102"/>
                <a:gd name="T73" fmla="*/ 0 h 879"/>
                <a:gd name="T74" fmla="*/ 398 w 1102"/>
                <a:gd name="T75" fmla="*/ 31 h 879"/>
                <a:gd name="T76" fmla="*/ 444 w 1102"/>
                <a:gd name="T77" fmla="*/ 27 h 879"/>
                <a:gd name="T78" fmla="*/ 499 w 1102"/>
                <a:gd name="T79" fmla="*/ 28 h 879"/>
                <a:gd name="T80" fmla="*/ 564 w 1102"/>
                <a:gd name="T81" fmla="*/ 63 h 879"/>
                <a:gd name="T82" fmla="*/ 628 w 1102"/>
                <a:gd name="T83" fmla="*/ 123 h 879"/>
                <a:gd name="T84" fmla="*/ 672 w 1102"/>
                <a:gd name="T85" fmla="*/ 173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02" h="879">
                  <a:moveTo>
                    <a:pt x="672" y="173"/>
                  </a:moveTo>
                  <a:cubicBezTo>
                    <a:pt x="673" y="174"/>
                    <a:pt x="674" y="174"/>
                    <a:pt x="676" y="174"/>
                  </a:cubicBezTo>
                  <a:cubicBezTo>
                    <a:pt x="676" y="177"/>
                    <a:pt x="676" y="177"/>
                    <a:pt x="676" y="177"/>
                  </a:cubicBezTo>
                  <a:cubicBezTo>
                    <a:pt x="670" y="187"/>
                    <a:pt x="664" y="198"/>
                    <a:pt x="658" y="209"/>
                  </a:cubicBezTo>
                  <a:cubicBezTo>
                    <a:pt x="653" y="219"/>
                    <a:pt x="647" y="228"/>
                    <a:pt x="638" y="236"/>
                  </a:cubicBezTo>
                  <a:cubicBezTo>
                    <a:pt x="635" y="247"/>
                    <a:pt x="635" y="257"/>
                    <a:pt x="640" y="268"/>
                  </a:cubicBezTo>
                  <a:cubicBezTo>
                    <a:pt x="643" y="278"/>
                    <a:pt x="634" y="296"/>
                    <a:pt x="651" y="295"/>
                  </a:cubicBezTo>
                  <a:cubicBezTo>
                    <a:pt x="663" y="293"/>
                    <a:pt x="676" y="291"/>
                    <a:pt x="688" y="287"/>
                  </a:cubicBezTo>
                  <a:cubicBezTo>
                    <a:pt x="699" y="278"/>
                    <a:pt x="710" y="287"/>
                    <a:pt x="719" y="291"/>
                  </a:cubicBezTo>
                  <a:cubicBezTo>
                    <a:pt x="720" y="290"/>
                    <a:pt x="721" y="289"/>
                    <a:pt x="722" y="288"/>
                  </a:cubicBezTo>
                  <a:cubicBezTo>
                    <a:pt x="723" y="289"/>
                    <a:pt x="723" y="289"/>
                    <a:pt x="723" y="289"/>
                  </a:cubicBezTo>
                  <a:cubicBezTo>
                    <a:pt x="722" y="294"/>
                    <a:pt x="721" y="296"/>
                    <a:pt x="717" y="300"/>
                  </a:cubicBezTo>
                  <a:cubicBezTo>
                    <a:pt x="711" y="310"/>
                    <a:pt x="700" y="323"/>
                    <a:pt x="714" y="332"/>
                  </a:cubicBezTo>
                  <a:cubicBezTo>
                    <a:pt x="717" y="343"/>
                    <a:pt x="721" y="354"/>
                    <a:pt x="732" y="359"/>
                  </a:cubicBezTo>
                  <a:cubicBezTo>
                    <a:pt x="734" y="374"/>
                    <a:pt x="754" y="372"/>
                    <a:pt x="752" y="389"/>
                  </a:cubicBezTo>
                  <a:cubicBezTo>
                    <a:pt x="761" y="397"/>
                    <a:pt x="765" y="410"/>
                    <a:pt x="775" y="416"/>
                  </a:cubicBezTo>
                  <a:cubicBezTo>
                    <a:pt x="790" y="417"/>
                    <a:pt x="798" y="434"/>
                    <a:pt x="810" y="442"/>
                  </a:cubicBezTo>
                  <a:cubicBezTo>
                    <a:pt x="885" y="466"/>
                    <a:pt x="958" y="491"/>
                    <a:pt x="1032" y="516"/>
                  </a:cubicBezTo>
                  <a:cubicBezTo>
                    <a:pt x="1055" y="516"/>
                    <a:pt x="1079" y="515"/>
                    <a:pt x="1102" y="515"/>
                  </a:cubicBezTo>
                  <a:cubicBezTo>
                    <a:pt x="1070" y="551"/>
                    <a:pt x="1037" y="586"/>
                    <a:pt x="1006" y="624"/>
                  </a:cubicBezTo>
                  <a:cubicBezTo>
                    <a:pt x="967" y="668"/>
                    <a:pt x="931" y="715"/>
                    <a:pt x="893" y="761"/>
                  </a:cubicBezTo>
                  <a:cubicBezTo>
                    <a:pt x="878" y="760"/>
                    <a:pt x="863" y="759"/>
                    <a:pt x="848" y="759"/>
                  </a:cubicBezTo>
                  <a:cubicBezTo>
                    <a:pt x="836" y="758"/>
                    <a:pt x="824" y="756"/>
                    <a:pt x="813" y="761"/>
                  </a:cubicBezTo>
                  <a:cubicBezTo>
                    <a:pt x="796" y="763"/>
                    <a:pt x="779" y="772"/>
                    <a:pt x="764" y="781"/>
                  </a:cubicBezTo>
                  <a:cubicBezTo>
                    <a:pt x="749" y="786"/>
                    <a:pt x="751" y="804"/>
                    <a:pt x="739" y="811"/>
                  </a:cubicBezTo>
                  <a:cubicBezTo>
                    <a:pt x="728" y="812"/>
                    <a:pt x="716" y="816"/>
                    <a:pt x="705" y="818"/>
                  </a:cubicBezTo>
                  <a:cubicBezTo>
                    <a:pt x="694" y="816"/>
                    <a:pt x="683" y="819"/>
                    <a:pt x="677" y="828"/>
                  </a:cubicBezTo>
                  <a:cubicBezTo>
                    <a:pt x="676" y="832"/>
                    <a:pt x="675" y="834"/>
                    <a:pt x="673" y="835"/>
                  </a:cubicBezTo>
                  <a:cubicBezTo>
                    <a:pt x="668" y="839"/>
                    <a:pt x="659" y="833"/>
                    <a:pt x="652" y="835"/>
                  </a:cubicBezTo>
                  <a:cubicBezTo>
                    <a:pt x="638" y="837"/>
                    <a:pt x="617" y="845"/>
                    <a:pt x="609" y="829"/>
                  </a:cubicBezTo>
                  <a:cubicBezTo>
                    <a:pt x="601" y="826"/>
                    <a:pt x="594" y="808"/>
                    <a:pt x="584" y="816"/>
                  </a:cubicBezTo>
                  <a:cubicBezTo>
                    <a:pt x="573" y="820"/>
                    <a:pt x="563" y="825"/>
                    <a:pt x="553" y="830"/>
                  </a:cubicBezTo>
                  <a:cubicBezTo>
                    <a:pt x="542" y="836"/>
                    <a:pt x="528" y="840"/>
                    <a:pt x="521" y="851"/>
                  </a:cubicBezTo>
                  <a:cubicBezTo>
                    <a:pt x="520" y="863"/>
                    <a:pt x="505" y="868"/>
                    <a:pt x="502" y="879"/>
                  </a:cubicBezTo>
                  <a:cubicBezTo>
                    <a:pt x="491" y="876"/>
                    <a:pt x="478" y="876"/>
                    <a:pt x="465" y="872"/>
                  </a:cubicBezTo>
                  <a:cubicBezTo>
                    <a:pt x="450" y="875"/>
                    <a:pt x="439" y="866"/>
                    <a:pt x="425" y="864"/>
                  </a:cubicBezTo>
                  <a:cubicBezTo>
                    <a:pt x="412" y="868"/>
                    <a:pt x="394" y="869"/>
                    <a:pt x="385" y="857"/>
                  </a:cubicBezTo>
                  <a:cubicBezTo>
                    <a:pt x="364" y="843"/>
                    <a:pt x="344" y="829"/>
                    <a:pt x="323" y="816"/>
                  </a:cubicBezTo>
                  <a:cubicBezTo>
                    <a:pt x="310" y="801"/>
                    <a:pt x="291" y="803"/>
                    <a:pt x="274" y="803"/>
                  </a:cubicBezTo>
                  <a:cubicBezTo>
                    <a:pt x="260" y="801"/>
                    <a:pt x="234" y="810"/>
                    <a:pt x="232" y="789"/>
                  </a:cubicBezTo>
                  <a:cubicBezTo>
                    <a:pt x="227" y="789"/>
                    <a:pt x="227" y="789"/>
                    <a:pt x="227" y="789"/>
                  </a:cubicBezTo>
                  <a:cubicBezTo>
                    <a:pt x="235" y="786"/>
                    <a:pt x="215" y="778"/>
                    <a:pt x="219" y="769"/>
                  </a:cubicBezTo>
                  <a:cubicBezTo>
                    <a:pt x="216" y="757"/>
                    <a:pt x="229" y="740"/>
                    <a:pt x="216" y="733"/>
                  </a:cubicBezTo>
                  <a:cubicBezTo>
                    <a:pt x="206" y="731"/>
                    <a:pt x="195" y="724"/>
                    <a:pt x="186" y="733"/>
                  </a:cubicBezTo>
                  <a:cubicBezTo>
                    <a:pt x="179" y="729"/>
                    <a:pt x="183" y="717"/>
                    <a:pt x="172" y="715"/>
                  </a:cubicBezTo>
                  <a:cubicBezTo>
                    <a:pt x="166" y="706"/>
                    <a:pt x="159" y="697"/>
                    <a:pt x="158" y="685"/>
                  </a:cubicBezTo>
                  <a:cubicBezTo>
                    <a:pt x="154" y="671"/>
                    <a:pt x="146" y="658"/>
                    <a:pt x="142" y="644"/>
                  </a:cubicBezTo>
                  <a:cubicBezTo>
                    <a:pt x="142" y="628"/>
                    <a:pt x="120" y="632"/>
                    <a:pt x="120" y="617"/>
                  </a:cubicBezTo>
                  <a:cubicBezTo>
                    <a:pt x="111" y="611"/>
                    <a:pt x="98" y="610"/>
                    <a:pt x="95" y="596"/>
                  </a:cubicBezTo>
                  <a:cubicBezTo>
                    <a:pt x="81" y="593"/>
                    <a:pt x="87" y="573"/>
                    <a:pt x="72" y="568"/>
                  </a:cubicBezTo>
                  <a:cubicBezTo>
                    <a:pt x="60" y="558"/>
                    <a:pt x="46" y="551"/>
                    <a:pt x="29" y="553"/>
                  </a:cubicBezTo>
                  <a:cubicBezTo>
                    <a:pt x="22" y="547"/>
                    <a:pt x="0" y="550"/>
                    <a:pt x="9" y="534"/>
                  </a:cubicBezTo>
                  <a:cubicBezTo>
                    <a:pt x="16" y="526"/>
                    <a:pt x="24" y="517"/>
                    <a:pt x="18" y="507"/>
                  </a:cubicBezTo>
                  <a:cubicBezTo>
                    <a:pt x="21" y="492"/>
                    <a:pt x="42" y="499"/>
                    <a:pt x="54" y="498"/>
                  </a:cubicBezTo>
                  <a:cubicBezTo>
                    <a:pt x="60" y="510"/>
                    <a:pt x="74" y="498"/>
                    <a:pt x="83" y="494"/>
                  </a:cubicBezTo>
                  <a:cubicBezTo>
                    <a:pt x="93" y="484"/>
                    <a:pt x="87" y="468"/>
                    <a:pt x="88" y="456"/>
                  </a:cubicBezTo>
                  <a:cubicBezTo>
                    <a:pt x="87" y="441"/>
                    <a:pt x="83" y="426"/>
                    <a:pt x="83" y="411"/>
                  </a:cubicBezTo>
                  <a:cubicBezTo>
                    <a:pt x="86" y="399"/>
                    <a:pt x="89" y="386"/>
                    <a:pt x="94" y="375"/>
                  </a:cubicBezTo>
                  <a:cubicBezTo>
                    <a:pt x="104" y="364"/>
                    <a:pt x="97" y="350"/>
                    <a:pt x="94" y="338"/>
                  </a:cubicBezTo>
                  <a:cubicBezTo>
                    <a:pt x="101" y="328"/>
                    <a:pt x="106" y="308"/>
                    <a:pt x="120" y="313"/>
                  </a:cubicBezTo>
                  <a:cubicBezTo>
                    <a:pt x="128" y="318"/>
                    <a:pt x="131" y="331"/>
                    <a:pt x="138" y="318"/>
                  </a:cubicBezTo>
                  <a:cubicBezTo>
                    <a:pt x="148" y="311"/>
                    <a:pt x="137" y="301"/>
                    <a:pt x="144" y="293"/>
                  </a:cubicBezTo>
                  <a:cubicBezTo>
                    <a:pt x="137" y="276"/>
                    <a:pt x="155" y="262"/>
                    <a:pt x="146" y="246"/>
                  </a:cubicBezTo>
                  <a:cubicBezTo>
                    <a:pt x="148" y="232"/>
                    <a:pt x="168" y="230"/>
                    <a:pt x="168" y="214"/>
                  </a:cubicBezTo>
                  <a:cubicBezTo>
                    <a:pt x="175" y="203"/>
                    <a:pt x="178" y="189"/>
                    <a:pt x="187" y="179"/>
                  </a:cubicBezTo>
                  <a:cubicBezTo>
                    <a:pt x="193" y="166"/>
                    <a:pt x="213" y="173"/>
                    <a:pt x="222" y="167"/>
                  </a:cubicBezTo>
                  <a:cubicBezTo>
                    <a:pt x="219" y="150"/>
                    <a:pt x="222" y="134"/>
                    <a:pt x="226" y="118"/>
                  </a:cubicBezTo>
                  <a:cubicBezTo>
                    <a:pt x="235" y="108"/>
                    <a:pt x="237" y="96"/>
                    <a:pt x="240" y="83"/>
                  </a:cubicBezTo>
                  <a:cubicBezTo>
                    <a:pt x="235" y="72"/>
                    <a:pt x="241" y="61"/>
                    <a:pt x="242" y="50"/>
                  </a:cubicBezTo>
                  <a:cubicBezTo>
                    <a:pt x="242" y="50"/>
                    <a:pt x="242" y="50"/>
                    <a:pt x="242" y="50"/>
                  </a:cubicBezTo>
                  <a:cubicBezTo>
                    <a:pt x="253" y="40"/>
                    <a:pt x="269" y="49"/>
                    <a:pt x="280" y="47"/>
                  </a:cubicBezTo>
                  <a:cubicBezTo>
                    <a:pt x="280" y="31"/>
                    <a:pt x="300" y="30"/>
                    <a:pt x="304" y="44"/>
                  </a:cubicBezTo>
                  <a:cubicBezTo>
                    <a:pt x="309" y="51"/>
                    <a:pt x="319" y="69"/>
                    <a:pt x="321" y="51"/>
                  </a:cubicBezTo>
                  <a:cubicBezTo>
                    <a:pt x="327" y="34"/>
                    <a:pt x="332" y="17"/>
                    <a:pt x="338" y="0"/>
                  </a:cubicBezTo>
                  <a:cubicBezTo>
                    <a:pt x="343" y="12"/>
                    <a:pt x="355" y="14"/>
                    <a:pt x="365" y="17"/>
                  </a:cubicBezTo>
                  <a:cubicBezTo>
                    <a:pt x="370" y="31"/>
                    <a:pt x="384" y="40"/>
                    <a:pt x="398" y="31"/>
                  </a:cubicBezTo>
                  <a:cubicBezTo>
                    <a:pt x="410" y="33"/>
                    <a:pt x="416" y="18"/>
                    <a:pt x="425" y="16"/>
                  </a:cubicBezTo>
                  <a:cubicBezTo>
                    <a:pt x="434" y="20"/>
                    <a:pt x="432" y="36"/>
                    <a:pt x="444" y="27"/>
                  </a:cubicBezTo>
                  <a:cubicBezTo>
                    <a:pt x="453" y="28"/>
                    <a:pt x="458" y="17"/>
                    <a:pt x="466" y="25"/>
                  </a:cubicBezTo>
                  <a:cubicBezTo>
                    <a:pt x="477" y="24"/>
                    <a:pt x="487" y="34"/>
                    <a:pt x="499" y="28"/>
                  </a:cubicBezTo>
                  <a:cubicBezTo>
                    <a:pt x="514" y="27"/>
                    <a:pt x="520" y="43"/>
                    <a:pt x="534" y="46"/>
                  </a:cubicBezTo>
                  <a:cubicBezTo>
                    <a:pt x="546" y="47"/>
                    <a:pt x="556" y="53"/>
                    <a:pt x="564" y="63"/>
                  </a:cubicBezTo>
                  <a:cubicBezTo>
                    <a:pt x="574" y="71"/>
                    <a:pt x="577" y="84"/>
                    <a:pt x="586" y="93"/>
                  </a:cubicBezTo>
                  <a:cubicBezTo>
                    <a:pt x="601" y="102"/>
                    <a:pt x="616" y="110"/>
                    <a:pt x="628" y="123"/>
                  </a:cubicBezTo>
                  <a:cubicBezTo>
                    <a:pt x="635" y="132"/>
                    <a:pt x="637" y="147"/>
                    <a:pt x="650" y="150"/>
                  </a:cubicBezTo>
                  <a:cubicBezTo>
                    <a:pt x="661" y="153"/>
                    <a:pt x="665" y="164"/>
                    <a:pt x="672" y="173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42" name="Estonia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799599" y="2654837"/>
              <a:ext cx="94308" cy="66881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0" y="9"/>
                </a:cxn>
                <a:cxn ang="0">
                  <a:pos x="0" y="3"/>
                </a:cxn>
                <a:cxn ang="0">
                  <a:pos x="9" y="0"/>
                </a:cxn>
                <a:cxn ang="0">
                  <a:pos x="17" y="3"/>
                </a:cxn>
                <a:cxn ang="0">
                  <a:pos x="13" y="3"/>
                </a:cxn>
                <a:cxn ang="0">
                  <a:pos x="11" y="5"/>
                </a:cxn>
                <a:cxn ang="0">
                  <a:pos x="13" y="9"/>
                </a:cxn>
                <a:cxn ang="0">
                  <a:pos x="13" y="12"/>
                </a:cxn>
                <a:cxn ang="0">
                  <a:pos x="4" y="9"/>
                </a:cxn>
                <a:cxn ang="0">
                  <a:pos x="2" y="9"/>
                </a:cxn>
              </a:cxnLst>
              <a:rect l="0" t="0" r="r" b="b"/>
              <a:pathLst>
                <a:path w="17" h="12">
                  <a:moveTo>
                    <a:pt x="2" y="9"/>
                  </a:moveTo>
                  <a:lnTo>
                    <a:pt x="0" y="9"/>
                  </a:lnTo>
                  <a:lnTo>
                    <a:pt x="0" y="3"/>
                  </a:lnTo>
                  <a:lnTo>
                    <a:pt x="9" y="0"/>
                  </a:lnTo>
                  <a:lnTo>
                    <a:pt x="17" y="3"/>
                  </a:lnTo>
                  <a:lnTo>
                    <a:pt x="13" y="3"/>
                  </a:lnTo>
                  <a:lnTo>
                    <a:pt x="11" y="5"/>
                  </a:lnTo>
                  <a:lnTo>
                    <a:pt x="13" y="9"/>
                  </a:lnTo>
                  <a:lnTo>
                    <a:pt x="13" y="12"/>
                  </a:lnTo>
                  <a:lnTo>
                    <a:pt x="4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43" name="Eritrea"/>
            <p:cNvSpPr>
              <a:spLocks/>
            </p:cNvSpPr>
            <p:nvPr/>
          </p:nvSpPr>
          <p:spPr bwMode="auto">
            <a:xfrm>
              <a:off x="5197733" y="3958043"/>
              <a:ext cx="180742" cy="184426"/>
            </a:xfrm>
            <a:custGeom>
              <a:avLst/>
              <a:gdLst>
                <a:gd name="T0" fmla="*/ 12 w 497"/>
                <a:gd name="T1" fmla="*/ 289 h 428"/>
                <a:gd name="T2" fmla="*/ 10 w 497"/>
                <a:gd name="T3" fmla="*/ 279 h 428"/>
                <a:gd name="T4" fmla="*/ 0 w 497"/>
                <a:gd name="T5" fmla="*/ 222 h 428"/>
                <a:gd name="T6" fmla="*/ 13 w 497"/>
                <a:gd name="T7" fmla="*/ 185 h 428"/>
                <a:gd name="T8" fmla="*/ 28 w 497"/>
                <a:gd name="T9" fmla="*/ 142 h 428"/>
                <a:gd name="T10" fmla="*/ 31 w 497"/>
                <a:gd name="T11" fmla="*/ 98 h 428"/>
                <a:gd name="T12" fmla="*/ 39 w 497"/>
                <a:gd name="T13" fmla="*/ 77 h 428"/>
                <a:gd name="T14" fmla="*/ 65 w 497"/>
                <a:gd name="T15" fmla="*/ 57 h 428"/>
                <a:gd name="T16" fmla="*/ 83 w 497"/>
                <a:gd name="T17" fmla="*/ 42 h 428"/>
                <a:gd name="T18" fmla="*/ 106 w 497"/>
                <a:gd name="T19" fmla="*/ 40 h 428"/>
                <a:gd name="T20" fmla="*/ 118 w 497"/>
                <a:gd name="T21" fmla="*/ 30 h 428"/>
                <a:gd name="T22" fmla="*/ 136 w 497"/>
                <a:gd name="T23" fmla="*/ 0 h 428"/>
                <a:gd name="T24" fmla="*/ 158 w 497"/>
                <a:gd name="T25" fmla="*/ 34 h 428"/>
                <a:gd name="T26" fmla="*/ 171 w 497"/>
                <a:gd name="T27" fmla="*/ 65 h 428"/>
                <a:gd name="T28" fmla="*/ 184 w 497"/>
                <a:gd name="T29" fmla="*/ 95 h 428"/>
                <a:gd name="T30" fmla="*/ 202 w 497"/>
                <a:gd name="T31" fmla="*/ 160 h 428"/>
                <a:gd name="T32" fmla="*/ 217 w 497"/>
                <a:gd name="T33" fmla="*/ 185 h 428"/>
                <a:gd name="T34" fmla="*/ 242 w 497"/>
                <a:gd name="T35" fmla="*/ 219 h 428"/>
                <a:gd name="T36" fmla="*/ 243 w 497"/>
                <a:gd name="T37" fmla="*/ 202 h 428"/>
                <a:gd name="T38" fmla="*/ 247 w 497"/>
                <a:gd name="T39" fmla="*/ 187 h 428"/>
                <a:gd name="T40" fmla="*/ 261 w 497"/>
                <a:gd name="T41" fmla="*/ 212 h 428"/>
                <a:gd name="T42" fmla="*/ 271 w 497"/>
                <a:gd name="T43" fmla="*/ 223 h 428"/>
                <a:gd name="T44" fmla="*/ 285 w 497"/>
                <a:gd name="T45" fmla="*/ 226 h 428"/>
                <a:gd name="T46" fmla="*/ 303 w 497"/>
                <a:gd name="T47" fmla="*/ 232 h 428"/>
                <a:gd name="T48" fmla="*/ 310 w 497"/>
                <a:gd name="T49" fmla="*/ 243 h 428"/>
                <a:gd name="T50" fmla="*/ 330 w 497"/>
                <a:gd name="T51" fmla="*/ 248 h 428"/>
                <a:gd name="T52" fmla="*/ 352 w 497"/>
                <a:gd name="T53" fmla="*/ 258 h 428"/>
                <a:gd name="T54" fmla="*/ 384 w 497"/>
                <a:gd name="T55" fmla="*/ 299 h 428"/>
                <a:gd name="T56" fmla="*/ 405 w 497"/>
                <a:gd name="T57" fmla="*/ 315 h 428"/>
                <a:gd name="T58" fmla="*/ 435 w 497"/>
                <a:gd name="T59" fmla="*/ 342 h 428"/>
                <a:gd name="T60" fmla="*/ 458 w 497"/>
                <a:gd name="T61" fmla="*/ 364 h 428"/>
                <a:gd name="T62" fmla="*/ 474 w 497"/>
                <a:gd name="T63" fmla="*/ 386 h 428"/>
                <a:gd name="T64" fmla="*/ 493 w 497"/>
                <a:gd name="T65" fmla="*/ 389 h 428"/>
                <a:gd name="T66" fmla="*/ 497 w 497"/>
                <a:gd name="T67" fmla="*/ 395 h 428"/>
                <a:gd name="T68" fmla="*/ 496 w 497"/>
                <a:gd name="T69" fmla="*/ 396 h 428"/>
                <a:gd name="T70" fmla="*/ 476 w 497"/>
                <a:gd name="T71" fmla="*/ 408 h 428"/>
                <a:gd name="T72" fmla="*/ 461 w 497"/>
                <a:gd name="T73" fmla="*/ 417 h 428"/>
                <a:gd name="T74" fmla="*/ 446 w 497"/>
                <a:gd name="T75" fmla="*/ 413 h 428"/>
                <a:gd name="T76" fmla="*/ 442 w 497"/>
                <a:gd name="T77" fmla="*/ 412 h 428"/>
                <a:gd name="T78" fmla="*/ 420 w 497"/>
                <a:gd name="T79" fmla="*/ 389 h 428"/>
                <a:gd name="T80" fmla="*/ 398 w 497"/>
                <a:gd name="T81" fmla="*/ 362 h 428"/>
                <a:gd name="T82" fmla="*/ 356 w 497"/>
                <a:gd name="T83" fmla="*/ 332 h 428"/>
                <a:gd name="T84" fmla="*/ 334 w 497"/>
                <a:gd name="T85" fmla="*/ 302 h 428"/>
                <a:gd name="T86" fmla="*/ 304 w 497"/>
                <a:gd name="T87" fmla="*/ 285 h 428"/>
                <a:gd name="T88" fmla="*/ 269 w 497"/>
                <a:gd name="T89" fmla="*/ 267 h 428"/>
                <a:gd name="T90" fmla="*/ 236 w 497"/>
                <a:gd name="T91" fmla="*/ 264 h 428"/>
                <a:gd name="T92" fmla="*/ 214 w 497"/>
                <a:gd name="T93" fmla="*/ 266 h 428"/>
                <a:gd name="T94" fmla="*/ 195 w 497"/>
                <a:gd name="T95" fmla="*/ 255 h 428"/>
                <a:gd name="T96" fmla="*/ 168 w 497"/>
                <a:gd name="T97" fmla="*/ 270 h 428"/>
                <a:gd name="T98" fmla="*/ 135 w 497"/>
                <a:gd name="T99" fmla="*/ 256 h 428"/>
                <a:gd name="T100" fmla="*/ 108 w 497"/>
                <a:gd name="T101" fmla="*/ 239 h 428"/>
                <a:gd name="T102" fmla="*/ 91 w 497"/>
                <a:gd name="T103" fmla="*/ 290 h 428"/>
                <a:gd name="T104" fmla="*/ 74 w 497"/>
                <a:gd name="T105" fmla="*/ 283 h 428"/>
                <a:gd name="T106" fmla="*/ 50 w 497"/>
                <a:gd name="T107" fmla="*/ 286 h 428"/>
                <a:gd name="T108" fmla="*/ 12 w 497"/>
                <a:gd name="T109" fmla="*/ 289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97" h="428">
                  <a:moveTo>
                    <a:pt x="12" y="289"/>
                  </a:moveTo>
                  <a:cubicBezTo>
                    <a:pt x="12" y="286"/>
                    <a:pt x="12" y="282"/>
                    <a:pt x="10" y="279"/>
                  </a:cubicBezTo>
                  <a:cubicBezTo>
                    <a:pt x="6" y="260"/>
                    <a:pt x="4" y="241"/>
                    <a:pt x="0" y="222"/>
                  </a:cubicBezTo>
                  <a:cubicBezTo>
                    <a:pt x="11" y="213"/>
                    <a:pt x="12" y="198"/>
                    <a:pt x="13" y="185"/>
                  </a:cubicBezTo>
                  <a:cubicBezTo>
                    <a:pt x="17" y="171"/>
                    <a:pt x="25" y="157"/>
                    <a:pt x="28" y="142"/>
                  </a:cubicBezTo>
                  <a:cubicBezTo>
                    <a:pt x="39" y="128"/>
                    <a:pt x="15" y="111"/>
                    <a:pt x="31" y="98"/>
                  </a:cubicBezTo>
                  <a:cubicBezTo>
                    <a:pt x="33" y="90"/>
                    <a:pt x="22" y="67"/>
                    <a:pt x="39" y="77"/>
                  </a:cubicBezTo>
                  <a:cubicBezTo>
                    <a:pt x="51" y="78"/>
                    <a:pt x="69" y="75"/>
                    <a:pt x="65" y="57"/>
                  </a:cubicBezTo>
                  <a:cubicBezTo>
                    <a:pt x="65" y="47"/>
                    <a:pt x="82" y="54"/>
                    <a:pt x="83" y="42"/>
                  </a:cubicBezTo>
                  <a:cubicBezTo>
                    <a:pt x="93" y="50"/>
                    <a:pt x="99" y="28"/>
                    <a:pt x="106" y="40"/>
                  </a:cubicBezTo>
                  <a:cubicBezTo>
                    <a:pt x="106" y="30"/>
                    <a:pt x="117" y="41"/>
                    <a:pt x="118" y="30"/>
                  </a:cubicBezTo>
                  <a:cubicBezTo>
                    <a:pt x="127" y="22"/>
                    <a:pt x="125" y="7"/>
                    <a:pt x="136" y="0"/>
                  </a:cubicBezTo>
                  <a:cubicBezTo>
                    <a:pt x="144" y="11"/>
                    <a:pt x="150" y="23"/>
                    <a:pt x="158" y="34"/>
                  </a:cubicBezTo>
                  <a:cubicBezTo>
                    <a:pt x="163" y="44"/>
                    <a:pt x="168" y="54"/>
                    <a:pt x="171" y="65"/>
                  </a:cubicBezTo>
                  <a:cubicBezTo>
                    <a:pt x="173" y="76"/>
                    <a:pt x="179" y="85"/>
                    <a:pt x="184" y="95"/>
                  </a:cubicBezTo>
                  <a:cubicBezTo>
                    <a:pt x="189" y="117"/>
                    <a:pt x="194" y="139"/>
                    <a:pt x="202" y="160"/>
                  </a:cubicBezTo>
                  <a:cubicBezTo>
                    <a:pt x="207" y="168"/>
                    <a:pt x="213" y="176"/>
                    <a:pt x="217" y="185"/>
                  </a:cubicBezTo>
                  <a:cubicBezTo>
                    <a:pt x="225" y="196"/>
                    <a:pt x="234" y="207"/>
                    <a:pt x="242" y="219"/>
                  </a:cubicBezTo>
                  <a:cubicBezTo>
                    <a:pt x="243" y="213"/>
                    <a:pt x="244" y="207"/>
                    <a:pt x="243" y="202"/>
                  </a:cubicBezTo>
                  <a:cubicBezTo>
                    <a:pt x="241" y="196"/>
                    <a:pt x="245" y="192"/>
                    <a:pt x="247" y="187"/>
                  </a:cubicBezTo>
                  <a:cubicBezTo>
                    <a:pt x="252" y="196"/>
                    <a:pt x="257" y="204"/>
                    <a:pt x="261" y="212"/>
                  </a:cubicBezTo>
                  <a:cubicBezTo>
                    <a:pt x="263" y="217"/>
                    <a:pt x="266" y="221"/>
                    <a:pt x="271" y="223"/>
                  </a:cubicBezTo>
                  <a:cubicBezTo>
                    <a:pt x="274" y="228"/>
                    <a:pt x="280" y="225"/>
                    <a:pt x="285" y="226"/>
                  </a:cubicBezTo>
                  <a:cubicBezTo>
                    <a:pt x="291" y="227"/>
                    <a:pt x="298" y="228"/>
                    <a:pt x="303" y="232"/>
                  </a:cubicBezTo>
                  <a:cubicBezTo>
                    <a:pt x="308" y="234"/>
                    <a:pt x="309" y="238"/>
                    <a:pt x="310" y="243"/>
                  </a:cubicBezTo>
                  <a:cubicBezTo>
                    <a:pt x="317" y="244"/>
                    <a:pt x="323" y="246"/>
                    <a:pt x="330" y="248"/>
                  </a:cubicBezTo>
                  <a:cubicBezTo>
                    <a:pt x="338" y="249"/>
                    <a:pt x="345" y="254"/>
                    <a:pt x="352" y="258"/>
                  </a:cubicBezTo>
                  <a:cubicBezTo>
                    <a:pt x="363" y="271"/>
                    <a:pt x="373" y="286"/>
                    <a:pt x="384" y="299"/>
                  </a:cubicBezTo>
                  <a:cubicBezTo>
                    <a:pt x="389" y="307"/>
                    <a:pt x="398" y="310"/>
                    <a:pt x="405" y="315"/>
                  </a:cubicBezTo>
                  <a:cubicBezTo>
                    <a:pt x="416" y="323"/>
                    <a:pt x="427" y="331"/>
                    <a:pt x="435" y="342"/>
                  </a:cubicBezTo>
                  <a:cubicBezTo>
                    <a:pt x="440" y="351"/>
                    <a:pt x="449" y="358"/>
                    <a:pt x="458" y="364"/>
                  </a:cubicBezTo>
                  <a:cubicBezTo>
                    <a:pt x="465" y="370"/>
                    <a:pt x="470" y="378"/>
                    <a:pt x="474" y="386"/>
                  </a:cubicBezTo>
                  <a:cubicBezTo>
                    <a:pt x="480" y="387"/>
                    <a:pt x="487" y="387"/>
                    <a:pt x="493" y="389"/>
                  </a:cubicBezTo>
                  <a:cubicBezTo>
                    <a:pt x="494" y="391"/>
                    <a:pt x="495" y="393"/>
                    <a:pt x="497" y="395"/>
                  </a:cubicBezTo>
                  <a:cubicBezTo>
                    <a:pt x="496" y="396"/>
                    <a:pt x="496" y="396"/>
                    <a:pt x="496" y="396"/>
                  </a:cubicBezTo>
                  <a:cubicBezTo>
                    <a:pt x="490" y="400"/>
                    <a:pt x="481" y="401"/>
                    <a:pt x="476" y="408"/>
                  </a:cubicBezTo>
                  <a:cubicBezTo>
                    <a:pt x="478" y="416"/>
                    <a:pt x="468" y="428"/>
                    <a:pt x="461" y="417"/>
                  </a:cubicBezTo>
                  <a:cubicBezTo>
                    <a:pt x="457" y="409"/>
                    <a:pt x="451" y="413"/>
                    <a:pt x="446" y="413"/>
                  </a:cubicBezTo>
                  <a:cubicBezTo>
                    <a:pt x="444" y="413"/>
                    <a:pt x="443" y="413"/>
                    <a:pt x="442" y="412"/>
                  </a:cubicBezTo>
                  <a:cubicBezTo>
                    <a:pt x="435" y="403"/>
                    <a:pt x="431" y="392"/>
                    <a:pt x="420" y="389"/>
                  </a:cubicBezTo>
                  <a:cubicBezTo>
                    <a:pt x="407" y="386"/>
                    <a:pt x="405" y="371"/>
                    <a:pt x="398" y="362"/>
                  </a:cubicBezTo>
                  <a:cubicBezTo>
                    <a:pt x="386" y="349"/>
                    <a:pt x="371" y="341"/>
                    <a:pt x="356" y="332"/>
                  </a:cubicBezTo>
                  <a:cubicBezTo>
                    <a:pt x="347" y="323"/>
                    <a:pt x="344" y="310"/>
                    <a:pt x="334" y="302"/>
                  </a:cubicBezTo>
                  <a:cubicBezTo>
                    <a:pt x="326" y="292"/>
                    <a:pt x="316" y="286"/>
                    <a:pt x="304" y="285"/>
                  </a:cubicBezTo>
                  <a:cubicBezTo>
                    <a:pt x="290" y="282"/>
                    <a:pt x="284" y="266"/>
                    <a:pt x="269" y="267"/>
                  </a:cubicBezTo>
                  <a:cubicBezTo>
                    <a:pt x="257" y="273"/>
                    <a:pt x="247" y="263"/>
                    <a:pt x="236" y="264"/>
                  </a:cubicBezTo>
                  <a:cubicBezTo>
                    <a:pt x="228" y="256"/>
                    <a:pt x="223" y="267"/>
                    <a:pt x="214" y="266"/>
                  </a:cubicBezTo>
                  <a:cubicBezTo>
                    <a:pt x="202" y="275"/>
                    <a:pt x="204" y="259"/>
                    <a:pt x="195" y="255"/>
                  </a:cubicBezTo>
                  <a:cubicBezTo>
                    <a:pt x="186" y="257"/>
                    <a:pt x="180" y="272"/>
                    <a:pt x="168" y="270"/>
                  </a:cubicBezTo>
                  <a:cubicBezTo>
                    <a:pt x="154" y="279"/>
                    <a:pt x="140" y="270"/>
                    <a:pt x="135" y="256"/>
                  </a:cubicBezTo>
                  <a:cubicBezTo>
                    <a:pt x="125" y="253"/>
                    <a:pt x="113" y="251"/>
                    <a:pt x="108" y="239"/>
                  </a:cubicBezTo>
                  <a:cubicBezTo>
                    <a:pt x="102" y="256"/>
                    <a:pt x="97" y="273"/>
                    <a:pt x="91" y="290"/>
                  </a:cubicBezTo>
                  <a:cubicBezTo>
                    <a:pt x="89" y="308"/>
                    <a:pt x="79" y="290"/>
                    <a:pt x="74" y="283"/>
                  </a:cubicBezTo>
                  <a:cubicBezTo>
                    <a:pt x="70" y="269"/>
                    <a:pt x="50" y="270"/>
                    <a:pt x="50" y="286"/>
                  </a:cubicBezTo>
                  <a:cubicBezTo>
                    <a:pt x="39" y="288"/>
                    <a:pt x="23" y="279"/>
                    <a:pt x="12" y="289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44" name="Equatorial Guinea"/>
            <p:cNvSpPr>
              <a:spLocks/>
            </p:cNvSpPr>
            <p:nvPr/>
          </p:nvSpPr>
          <p:spPr bwMode="auto">
            <a:xfrm>
              <a:off x="4471952" y="4475439"/>
              <a:ext cx="55559" cy="53409"/>
            </a:xfrm>
            <a:custGeom>
              <a:avLst/>
              <a:gdLst>
                <a:gd name="T0" fmla="*/ 19 w 154"/>
                <a:gd name="T1" fmla="*/ 103 h 122"/>
                <a:gd name="T2" fmla="*/ 0 w 154"/>
                <a:gd name="T3" fmla="*/ 92 h 122"/>
                <a:gd name="T4" fmla="*/ 16 w 154"/>
                <a:gd name="T5" fmla="*/ 61 h 122"/>
                <a:gd name="T6" fmla="*/ 27 w 154"/>
                <a:gd name="T7" fmla="*/ 34 h 122"/>
                <a:gd name="T8" fmla="*/ 30 w 154"/>
                <a:gd name="T9" fmla="*/ 8 h 122"/>
                <a:gd name="T10" fmla="*/ 30 w 154"/>
                <a:gd name="T11" fmla="*/ 0 h 122"/>
                <a:gd name="T12" fmla="*/ 31 w 154"/>
                <a:gd name="T13" fmla="*/ 0 h 122"/>
                <a:gd name="T14" fmla="*/ 42 w 154"/>
                <a:gd name="T15" fmla="*/ 17 h 122"/>
                <a:gd name="T16" fmla="*/ 99 w 154"/>
                <a:gd name="T17" fmla="*/ 20 h 122"/>
                <a:gd name="T18" fmla="*/ 151 w 154"/>
                <a:gd name="T19" fmla="*/ 20 h 122"/>
                <a:gd name="T20" fmla="*/ 151 w 154"/>
                <a:gd name="T21" fmla="*/ 19 h 122"/>
                <a:gd name="T22" fmla="*/ 153 w 154"/>
                <a:gd name="T23" fmla="*/ 20 h 122"/>
                <a:gd name="T24" fmla="*/ 154 w 154"/>
                <a:gd name="T25" fmla="*/ 108 h 122"/>
                <a:gd name="T26" fmla="*/ 52 w 154"/>
                <a:gd name="T27" fmla="*/ 108 h 122"/>
                <a:gd name="T28" fmla="*/ 19 w 154"/>
                <a:gd name="T29" fmla="*/ 107 h 122"/>
                <a:gd name="T30" fmla="*/ 19 w 154"/>
                <a:gd name="T31" fmla="*/ 10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4" h="122">
                  <a:moveTo>
                    <a:pt x="19" y="103"/>
                  </a:moveTo>
                  <a:cubicBezTo>
                    <a:pt x="13" y="99"/>
                    <a:pt x="6" y="96"/>
                    <a:pt x="0" y="92"/>
                  </a:cubicBezTo>
                  <a:cubicBezTo>
                    <a:pt x="4" y="81"/>
                    <a:pt x="15" y="73"/>
                    <a:pt x="16" y="61"/>
                  </a:cubicBezTo>
                  <a:cubicBezTo>
                    <a:pt x="17" y="51"/>
                    <a:pt x="23" y="43"/>
                    <a:pt x="27" y="34"/>
                  </a:cubicBezTo>
                  <a:cubicBezTo>
                    <a:pt x="27" y="25"/>
                    <a:pt x="27" y="16"/>
                    <a:pt x="30" y="8"/>
                  </a:cubicBezTo>
                  <a:cubicBezTo>
                    <a:pt x="30" y="5"/>
                    <a:pt x="30" y="3"/>
                    <a:pt x="3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4"/>
                    <a:pt x="36" y="15"/>
                    <a:pt x="42" y="17"/>
                  </a:cubicBezTo>
                  <a:cubicBezTo>
                    <a:pt x="59" y="23"/>
                    <a:pt x="81" y="18"/>
                    <a:pt x="99" y="20"/>
                  </a:cubicBezTo>
                  <a:cubicBezTo>
                    <a:pt x="116" y="19"/>
                    <a:pt x="134" y="20"/>
                    <a:pt x="151" y="20"/>
                  </a:cubicBezTo>
                  <a:cubicBezTo>
                    <a:pt x="151" y="20"/>
                    <a:pt x="151" y="19"/>
                    <a:pt x="151" y="19"/>
                  </a:cubicBezTo>
                  <a:cubicBezTo>
                    <a:pt x="153" y="20"/>
                    <a:pt x="153" y="20"/>
                    <a:pt x="153" y="20"/>
                  </a:cubicBezTo>
                  <a:cubicBezTo>
                    <a:pt x="154" y="49"/>
                    <a:pt x="153" y="78"/>
                    <a:pt x="154" y="108"/>
                  </a:cubicBezTo>
                  <a:cubicBezTo>
                    <a:pt x="120" y="108"/>
                    <a:pt x="86" y="108"/>
                    <a:pt x="52" y="108"/>
                  </a:cubicBezTo>
                  <a:cubicBezTo>
                    <a:pt x="46" y="122"/>
                    <a:pt x="30" y="92"/>
                    <a:pt x="19" y="107"/>
                  </a:cubicBezTo>
                  <a:cubicBezTo>
                    <a:pt x="20" y="106"/>
                    <a:pt x="20" y="105"/>
                    <a:pt x="19" y="103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45" name="El Salvador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1892710" y="4076063"/>
              <a:ext cx="61023" cy="61307"/>
            </a:xfrm>
            <a:custGeom>
              <a:avLst/>
              <a:gdLst/>
              <a:ahLst/>
              <a:cxnLst>
                <a:cxn ang="0">
                  <a:pos x="11" y="7"/>
                </a:cxn>
                <a:cxn ang="0">
                  <a:pos x="2" y="0"/>
                </a:cxn>
                <a:cxn ang="0">
                  <a:pos x="0" y="7"/>
                </a:cxn>
                <a:cxn ang="0">
                  <a:pos x="2" y="7"/>
                </a:cxn>
                <a:cxn ang="0">
                  <a:pos x="11" y="11"/>
                </a:cxn>
                <a:cxn ang="0">
                  <a:pos x="11" y="9"/>
                </a:cxn>
                <a:cxn ang="0">
                  <a:pos x="11" y="7"/>
                </a:cxn>
              </a:cxnLst>
              <a:rect l="0" t="0" r="r" b="b"/>
              <a:pathLst>
                <a:path w="11" h="11">
                  <a:moveTo>
                    <a:pt x="11" y="7"/>
                  </a:moveTo>
                  <a:lnTo>
                    <a:pt x="2" y="0"/>
                  </a:lnTo>
                  <a:lnTo>
                    <a:pt x="0" y="7"/>
                  </a:lnTo>
                  <a:lnTo>
                    <a:pt x="2" y="7"/>
                  </a:lnTo>
                  <a:lnTo>
                    <a:pt x="11" y="11"/>
                  </a:lnTo>
                  <a:lnTo>
                    <a:pt x="11" y="9"/>
                  </a:lnTo>
                  <a:lnTo>
                    <a:pt x="11" y="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146" name="Egypt"/>
            <p:cNvGrpSpPr/>
            <p:nvPr/>
          </p:nvGrpSpPr>
          <p:grpSpPr>
            <a:xfrm>
              <a:off x="4866734" y="3530774"/>
              <a:ext cx="294205" cy="308768"/>
              <a:chOff x="4866734" y="3530774"/>
              <a:chExt cx="294205" cy="308768"/>
            </a:xfrm>
            <a:grpFill/>
          </p:grpSpPr>
          <p:sp>
            <p:nvSpPr>
              <p:cNvPr id="273" name="Egypt"/>
              <p:cNvSpPr>
                <a:spLocks/>
              </p:cNvSpPr>
              <p:nvPr>
                <p:custDataLst>
                  <p:tags r:id="rId178"/>
                </p:custDataLst>
              </p:nvPr>
            </p:nvSpPr>
            <p:spPr bwMode="auto">
              <a:xfrm>
                <a:off x="5032595" y="3535439"/>
                <a:ext cx="94291" cy="128170"/>
              </a:xfrm>
              <a:custGeom>
                <a:avLst/>
                <a:gdLst>
                  <a:gd name="connsiteX0" fmla="*/ 8462 w 10000"/>
                  <a:gd name="connsiteY0" fmla="*/ 370 h 10000"/>
                  <a:gd name="connsiteX1" fmla="*/ 7115 w 10000"/>
                  <a:gd name="connsiteY1" fmla="*/ 370 h 10000"/>
                  <a:gd name="connsiteX2" fmla="*/ 6731 w 10000"/>
                  <a:gd name="connsiteY2" fmla="*/ 370 h 10000"/>
                  <a:gd name="connsiteX3" fmla="*/ 5962 w 10000"/>
                  <a:gd name="connsiteY3" fmla="*/ 370 h 10000"/>
                  <a:gd name="connsiteX4" fmla="*/ 5962 w 10000"/>
                  <a:gd name="connsiteY4" fmla="*/ 0 h 10000"/>
                  <a:gd name="connsiteX5" fmla="*/ 5577 w 10000"/>
                  <a:gd name="connsiteY5" fmla="*/ 0 h 10000"/>
                  <a:gd name="connsiteX6" fmla="*/ 4038 w 10000"/>
                  <a:gd name="connsiteY6" fmla="*/ 370 h 10000"/>
                  <a:gd name="connsiteX7" fmla="*/ 1538 w 10000"/>
                  <a:gd name="connsiteY7" fmla="*/ 0 h 10000"/>
                  <a:gd name="connsiteX8" fmla="*/ 0 w 10000"/>
                  <a:gd name="connsiteY8" fmla="*/ 0 h 10000"/>
                  <a:gd name="connsiteX9" fmla="*/ 0 w 10000"/>
                  <a:gd name="connsiteY9" fmla="*/ 1667 h 10000"/>
                  <a:gd name="connsiteX10" fmla="*/ 0 w 10000"/>
                  <a:gd name="connsiteY10" fmla="*/ 3333 h 10000"/>
                  <a:gd name="connsiteX11" fmla="*/ 7500 w 10000"/>
                  <a:gd name="connsiteY11" fmla="*/ 10000 h 10000"/>
                  <a:gd name="connsiteX12" fmla="*/ 8846 w 10000"/>
                  <a:gd name="connsiteY12" fmla="*/ 10000 h 10000"/>
                  <a:gd name="connsiteX13" fmla="*/ 10000 w 10000"/>
                  <a:gd name="connsiteY13" fmla="*/ 9259 h 10000"/>
                  <a:gd name="connsiteX14" fmla="*/ 10000 w 10000"/>
                  <a:gd name="connsiteY14" fmla="*/ 7963 h 10000"/>
                  <a:gd name="connsiteX15" fmla="*/ 7115 w 10000"/>
                  <a:gd name="connsiteY15" fmla="*/ 2963 h 10000"/>
                  <a:gd name="connsiteX16" fmla="*/ 6731 w 10000"/>
                  <a:gd name="connsiteY16" fmla="*/ 1667 h 10000"/>
                  <a:gd name="connsiteX17" fmla="*/ 7500 w 10000"/>
                  <a:gd name="connsiteY17" fmla="*/ 3333 h 10000"/>
                  <a:gd name="connsiteX18" fmla="*/ 8462 w 10000"/>
                  <a:gd name="connsiteY18" fmla="*/ 4259 h 10000"/>
                  <a:gd name="connsiteX19" fmla="*/ 8846 w 10000"/>
                  <a:gd name="connsiteY19" fmla="*/ 2037 h 10000"/>
                  <a:gd name="connsiteX20" fmla="*/ 8462 w 10000"/>
                  <a:gd name="connsiteY20" fmla="*/ 1296 h 10000"/>
                  <a:gd name="connsiteX21" fmla="*/ 8462 w 10000"/>
                  <a:gd name="connsiteY21" fmla="*/ 370 h 10000"/>
                  <a:gd name="connsiteX0" fmla="*/ 8462 w 10000"/>
                  <a:gd name="connsiteY0" fmla="*/ 370 h 10000"/>
                  <a:gd name="connsiteX1" fmla="*/ 7115 w 10000"/>
                  <a:gd name="connsiteY1" fmla="*/ 370 h 10000"/>
                  <a:gd name="connsiteX2" fmla="*/ 6731 w 10000"/>
                  <a:gd name="connsiteY2" fmla="*/ 370 h 10000"/>
                  <a:gd name="connsiteX3" fmla="*/ 5962 w 10000"/>
                  <a:gd name="connsiteY3" fmla="*/ 370 h 10000"/>
                  <a:gd name="connsiteX4" fmla="*/ 5962 w 10000"/>
                  <a:gd name="connsiteY4" fmla="*/ 0 h 10000"/>
                  <a:gd name="connsiteX5" fmla="*/ 5577 w 10000"/>
                  <a:gd name="connsiteY5" fmla="*/ 0 h 10000"/>
                  <a:gd name="connsiteX6" fmla="*/ 4038 w 10000"/>
                  <a:gd name="connsiteY6" fmla="*/ 370 h 10000"/>
                  <a:gd name="connsiteX7" fmla="*/ 1538 w 10000"/>
                  <a:gd name="connsiteY7" fmla="*/ 0 h 10000"/>
                  <a:gd name="connsiteX8" fmla="*/ 0 w 10000"/>
                  <a:gd name="connsiteY8" fmla="*/ 0 h 10000"/>
                  <a:gd name="connsiteX9" fmla="*/ 0 w 10000"/>
                  <a:gd name="connsiteY9" fmla="*/ 1667 h 10000"/>
                  <a:gd name="connsiteX10" fmla="*/ 7500 w 10000"/>
                  <a:gd name="connsiteY10" fmla="*/ 10000 h 10000"/>
                  <a:gd name="connsiteX11" fmla="*/ 8846 w 10000"/>
                  <a:gd name="connsiteY11" fmla="*/ 10000 h 10000"/>
                  <a:gd name="connsiteX12" fmla="*/ 10000 w 10000"/>
                  <a:gd name="connsiteY12" fmla="*/ 9259 h 10000"/>
                  <a:gd name="connsiteX13" fmla="*/ 10000 w 10000"/>
                  <a:gd name="connsiteY13" fmla="*/ 7963 h 10000"/>
                  <a:gd name="connsiteX14" fmla="*/ 7115 w 10000"/>
                  <a:gd name="connsiteY14" fmla="*/ 2963 h 10000"/>
                  <a:gd name="connsiteX15" fmla="*/ 6731 w 10000"/>
                  <a:gd name="connsiteY15" fmla="*/ 1667 h 10000"/>
                  <a:gd name="connsiteX16" fmla="*/ 7500 w 10000"/>
                  <a:gd name="connsiteY16" fmla="*/ 3333 h 10000"/>
                  <a:gd name="connsiteX17" fmla="*/ 8462 w 10000"/>
                  <a:gd name="connsiteY17" fmla="*/ 4259 h 10000"/>
                  <a:gd name="connsiteX18" fmla="*/ 8846 w 10000"/>
                  <a:gd name="connsiteY18" fmla="*/ 2037 h 10000"/>
                  <a:gd name="connsiteX19" fmla="*/ 8462 w 10000"/>
                  <a:gd name="connsiteY19" fmla="*/ 1296 h 10000"/>
                  <a:gd name="connsiteX20" fmla="*/ 8462 w 10000"/>
                  <a:gd name="connsiteY20" fmla="*/ 370 h 10000"/>
                  <a:gd name="connsiteX0" fmla="*/ 8462 w 10000"/>
                  <a:gd name="connsiteY0" fmla="*/ 370 h 10000"/>
                  <a:gd name="connsiteX1" fmla="*/ 7115 w 10000"/>
                  <a:gd name="connsiteY1" fmla="*/ 370 h 10000"/>
                  <a:gd name="connsiteX2" fmla="*/ 6731 w 10000"/>
                  <a:gd name="connsiteY2" fmla="*/ 370 h 10000"/>
                  <a:gd name="connsiteX3" fmla="*/ 5962 w 10000"/>
                  <a:gd name="connsiteY3" fmla="*/ 370 h 10000"/>
                  <a:gd name="connsiteX4" fmla="*/ 5962 w 10000"/>
                  <a:gd name="connsiteY4" fmla="*/ 0 h 10000"/>
                  <a:gd name="connsiteX5" fmla="*/ 5577 w 10000"/>
                  <a:gd name="connsiteY5" fmla="*/ 0 h 10000"/>
                  <a:gd name="connsiteX6" fmla="*/ 4038 w 10000"/>
                  <a:gd name="connsiteY6" fmla="*/ 370 h 10000"/>
                  <a:gd name="connsiteX7" fmla="*/ 1538 w 10000"/>
                  <a:gd name="connsiteY7" fmla="*/ 0 h 10000"/>
                  <a:gd name="connsiteX8" fmla="*/ 0 w 10000"/>
                  <a:gd name="connsiteY8" fmla="*/ 0 h 10000"/>
                  <a:gd name="connsiteX9" fmla="*/ 7500 w 10000"/>
                  <a:gd name="connsiteY9" fmla="*/ 10000 h 10000"/>
                  <a:gd name="connsiteX10" fmla="*/ 8846 w 10000"/>
                  <a:gd name="connsiteY10" fmla="*/ 10000 h 10000"/>
                  <a:gd name="connsiteX11" fmla="*/ 10000 w 10000"/>
                  <a:gd name="connsiteY11" fmla="*/ 9259 h 10000"/>
                  <a:gd name="connsiteX12" fmla="*/ 10000 w 10000"/>
                  <a:gd name="connsiteY12" fmla="*/ 7963 h 10000"/>
                  <a:gd name="connsiteX13" fmla="*/ 7115 w 10000"/>
                  <a:gd name="connsiteY13" fmla="*/ 2963 h 10000"/>
                  <a:gd name="connsiteX14" fmla="*/ 6731 w 10000"/>
                  <a:gd name="connsiteY14" fmla="*/ 1667 h 10000"/>
                  <a:gd name="connsiteX15" fmla="*/ 7500 w 10000"/>
                  <a:gd name="connsiteY15" fmla="*/ 3333 h 10000"/>
                  <a:gd name="connsiteX16" fmla="*/ 8462 w 10000"/>
                  <a:gd name="connsiteY16" fmla="*/ 4259 h 10000"/>
                  <a:gd name="connsiteX17" fmla="*/ 8846 w 10000"/>
                  <a:gd name="connsiteY17" fmla="*/ 2037 h 10000"/>
                  <a:gd name="connsiteX18" fmla="*/ 8462 w 10000"/>
                  <a:gd name="connsiteY18" fmla="*/ 1296 h 10000"/>
                  <a:gd name="connsiteX19" fmla="*/ 8462 w 10000"/>
                  <a:gd name="connsiteY19" fmla="*/ 370 h 10000"/>
                  <a:gd name="connsiteX0" fmla="*/ 6924 w 8462"/>
                  <a:gd name="connsiteY0" fmla="*/ 370 h 10000"/>
                  <a:gd name="connsiteX1" fmla="*/ 5577 w 8462"/>
                  <a:gd name="connsiteY1" fmla="*/ 370 h 10000"/>
                  <a:gd name="connsiteX2" fmla="*/ 5193 w 8462"/>
                  <a:gd name="connsiteY2" fmla="*/ 370 h 10000"/>
                  <a:gd name="connsiteX3" fmla="*/ 4424 w 8462"/>
                  <a:gd name="connsiteY3" fmla="*/ 370 h 10000"/>
                  <a:gd name="connsiteX4" fmla="*/ 4424 w 8462"/>
                  <a:gd name="connsiteY4" fmla="*/ 0 h 10000"/>
                  <a:gd name="connsiteX5" fmla="*/ 4039 w 8462"/>
                  <a:gd name="connsiteY5" fmla="*/ 0 h 10000"/>
                  <a:gd name="connsiteX6" fmla="*/ 2500 w 8462"/>
                  <a:gd name="connsiteY6" fmla="*/ 370 h 10000"/>
                  <a:gd name="connsiteX7" fmla="*/ 0 w 8462"/>
                  <a:gd name="connsiteY7" fmla="*/ 0 h 10000"/>
                  <a:gd name="connsiteX8" fmla="*/ 5962 w 8462"/>
                  <a:gd name="connsiteY8" fmla="*/ 10000 h 10000"/>
                  <a:gd name="connsiteX9" fmla="*/ 7308 w 8462"/>
                  <a:gd name="connsiteY9" fmla="*/ 10000 h 10000"/>
                  <a:gd name="connsiteX10" fmla="*/ 8462 w 8462"/>
                  <a:gd name="connsiteY10" fmla="*/ 9259 h 10000"/>
                  <a:gd name="connsiteX11" fmla="*/ 8462 w 8462"/>
                  <a:gd name="connsiteY11" fmla="*/ 7963 h 10000"/>
                  <a:gd name="connsiteX12" fmla="*/ 5577 w 8462"/>
                  <a:gd name="connsiteY12" fmla="*/ 2963 h 10000"/>
                  <a:gd name="connsiteX13" fmla="*/ 5193 w 8462"/>
                  <a:gd name="connsiteY13" fmla="*/ 1667 h 10000"/>
                  <a:gd name="connsiteX14" fmla="*/ 5962 w 8462"/>
                  <a:gd name="connsiteY14" fmla="*/ 3333 h 10000"/>
                  <a:gd name="connsiteX15" fmla="*/ 6924 w 8462"/>
                  <a:gd name="connsiteY15" fmla="*/ 4259 h 10000"/>
                  <a:gd name="connsiteX16" fmla="*/ 7308 w 8462"/>
                  <a:gd name="connsiteY16" fmla="*/ 2037 h 10000"/>
                  <a:gd name="connsiteX17" fmla="*/ 6924 w 8462"/>
                  <a:gd name="connsiteY17" fmla="*/ 1296 h 10000"/>
                  <a:gd name="connsiteX18" fmla="*/ 6924 w 8462"/>
                  <a:gd name="connsiteY18" fmla="*/ 370 h 10000"/>
                  <a:gd name="connsiteX0" fmla="*/ 8182 w 10000"/>
                  <a:gd name="connsiteY0" fmla="*/ 370 h 10000"/>
                  <a:gd name="connsiteX1" fmla="*/ 6591 w 10000"/>
                  <a:gd name="connsiteY1" fmla="*/ 370 h 10000"/>
                  <a:gd name="connsiteX2" fmla="*/ 6137 w 10000"/>
                  <a:gd name="connsiteY2" fmla="*/ 370 h 10000"/>
                  <a:gd name="connsiteX3" fmla="*/ 5228 w 10000"/>
                  <a:gd name="connsiteY3" fmla="*/ 370 h 10000"/>
                  <a:gd name="connsiteX4" fmla="*/ 5228 w 10000"/>
                  <a:gd name="connsiteY4" fmla="*/ 0 h 10000"/>
                  <a:gd name="connsiteX5" fmla="*/ 4773 w 10000"/>
                  <a:gd name="connsiteY5" fmla="*/ 0 h 10000"/>
                  <a:gd name="connsiteX6" fmla="*/ 0 w 10000"/>
                  <a:gd name="connsiteY6" fmla="*/ 0 h 10000"/>
                  <a:gd name="connsiteX7" fmla="*/ 7046 w 10000"/>
                  <a:gd name="connsiteY7" fmla="*/ 10000 h 10000"/>
                  <a:gd name="connsiteX8" fmla="*/ 8636 w 10000"/>
                  <a:gd name="connsiteY8" fmla="*/ 10000 h 10000"/>
                  <a:gd name="connsiteX9" fmla="*/ 10000 w 10000"/>
                  <a:gd name="connsiteY9" fmla="*/ 9259 h 10000"/>
                  <a:gd name="connsiteX10" fmla="*/ 10000 w 10000"/>
                  <a:gd name="connsiteY10" fmla="*/ 7963 h 10000"/>
                  <a:gd name="connsiteX11" fmla="*/ 6591 w 10000"/>
                  <a:gd name="connsiteY11" fmla="*/ 2963 h 10000"/>
                  <a:gd name="connsiteX12" fmla="*/ 6137 w 10000"/>
                  <a:gd name="connsiteY12" fmla="*/ 1667 h 10000"/>
                  <a:gd name="connsiteX13" fmla="*/ 7046 w 10000"/>
                  <a:gd name="connsiteY13" fmla="*/ 3333 h 10000"/>
                  <a:gd name="connsiteX14" fmla="*/ 8182 w 10000"/>
                  <a:gd name="connsiteY14" fmla="*/ 4259 h 10000"/>
                  <a:gd name="connsiteX15" fmla="*/ 8636 w 10000"/>
                  <a:gd name="connsiteY15" fmla="*/ 2037 h 10000"/>
                  <a:gd name="connsiteX16" fmla="*/ 8182 w 10000"/>
                  <a:gd name="connsiteY16" fmla="*/ 1296 h 10000"/>
                  <a:gd name="connsiteX17" fmla="*/ 8182 w 10000"/>
                  <a:gd name="connsiteY17" fmla="*/ 370 h 10000"/>
                  <a:gd name="connsiteX0" fmla="*/ 3409 w 5227"/>
                  <a:gd name="connsiteY0" fmla="*/ 370 h 10000"/>
                  <a:gd name="connsiteX1" fmla="*/ 1818 w 5227"/>
                  <a:gd name="connsiteY1" fmla="*/ 370 h 10000"/>
                  <a:gd name="connsiteX2" fmla="*/ 1364 w 5227"/>
                  <a:gd name="connsiteY2" fmla="*/ 370 h 10000"/>
                  <a:gd name="connsiteX3" fmla="*/ 455 w 5227"/>
                  <a:gd name="connsiteY3" fmla="*/ 370 h 10000"/>
                  <a:gd name="connsiteX4" fmla="*/ 455 w 5227"/>
                  <a:gd name="connsiteY4" fmla="*/ 0 h 10000"/>
                  <a:gd name="connsiteX5" fmla="*/ 0 w 5227"/>
                  <a:gd name="connsiteY5" fmla="*/ 0 h 10000"/>
                  <a:gd name="connsiteX6" fmla="*/ 2273 w 5227"/>
                  <a:gd name="connsiteY6" fmla="*/ 10000 h 10000"/>
                  <a:gd name="connsiteX7" fmla="*/ 3863 w 5227"/>
                  <a:gd name="connsiteY7" fmla="*/ 10000 h 10000"/>
                  <a:gd name="connsiteX8" fmla="*/ 5227 w 5227"/>
                  <a:gd name="connsiteY8" fmla="*/ 9259 h 10000"/>
                  <a:gd name="connsiteX9" fmla="*/ 5227 w 5227"/>
                  <a:gd name="connsiteY9" fmla="*/ 7963 h 10000"/>
                  <a:gd name="connsiteX10" fmla="*/ 1818 w 5227"/>
                  <a:gd name="connsiteY10" fmla="*/ 2963 h 10000"/>
                  <a:gd name="connsiteX11" fmla="*/ 1364 w 5227"/>
                  <a:gd name="connsiteY11" fmla="*/ 1667 h 10000"/>
                  <a:gd name="connsiteX12" fmla="*/ 2273 w 5227"/>
                  <a:gd name="connsiteY12" fmla="*/ 3333 h 10000"/>
                  <a:gd name="connsiteX13" fmla="*/ 3409 w 5227"/>
                  <a:gd name="connsiteY13" fmla="*/ 4259 h 10000"/>
                  <a:gd name="connsiteX14" fmla="*/ 3863 w 5227"/>
                  <a:gd name="connsiteY14" fmla="*/ 2037 h 10000"/>
                  <a:gd name="connsiteX15" fmla="*/ 3409 w 5227"/>
                  <a:gd name="connsiteY15" fmla="*/ 1296 h 10000"/>
                  <a:gd name="connsiteX16" fmla="*/ 3409 w 5227"/>
                  <a:gd name="connsiteY16" fmla="*/ 370 h 10000"/>
                  <a:gd name="connsiteX0" fmla="*/ 6522 w 10000"/>
                  <a:gd name="connsiteY0" fmla="*/ 370 h 10000"/>
                  <a:gd name="connsiteX1" fmla="*/ 3478 w 10000"/>
                  <a:gd name="connsiteY1" fmla="*/ 370 h 10000"/>
                  <a:gd name="connsiteX2" fmla="*/ 2610 w 10000"/>
                  <a:gd name="connsiteY2" fmla="*/ 370 h 10000"/>
                  <a:gd name="connsiteX3" fmla="*/ 870 w 10000"/>
                  <a:gd name="connsiteY3" fmla="*/ 370 h 10000"/>
                  <a:gd name="connsiteX4" fmla="*/ 870 w 10000"/>
                  <a:gd name="connsiteY4" fmla="*/ 0 h 10000"/>
                  <a:gd name="connsiteX5" fmla="*/ 0 w 10000"/>
                  <a:gd name="connsiteY5" fmla="*/ 0 h 10000"/>
                  <a:gd name="connsiteX6" fmla="*/ 7390 w 10000"/>
                  <a:gd name="connsiteY6" fmla="*/ 10000 h 10000"/>
                  <a:gd name="connsiteX7" fmla="*/ 10000 w 10000"/>
                  <a:gd name="connsiteY7" fmla="*/ 9259 h 10000"/>
                  <a:gd name="connsiteX8" fmla="*/ 10000 w 10000"/>
                  <a:gd name="connsiteY8" fmla="*/ 7963 h 10000"/>
                  <a:gd name="connsiteX9" fmla="*/ 3478 w 10000"/>
                  <a:gd name="connsiteY9" fmla="*/ 2963 h 10000"/>
                  <a:gd name="connsiteX10" fmla="*/ 2610 w 10000"/>
                  <a:gd name="connsiteY10" fmla="*/ 1667 h 10000"/>
                  <a:gd name="connsiteX11" fmla="*/ 4349 w 10000"/>
                  <a:gd name="connsiteY11" fmla="*/ 3333 h 10000"/>
                  <a:gd name="connsiteX12" fmla="*/ 6522 w 10000"/>
                  <a:gd name="connsiteY12" fmla="*/ 4259 h 10000"/>
                  <a:gd name="connsiteX13" fmla="*/ 7390 w 10000"/>
                  <a:gd name="connsiteY13" fmla="*/ 2037 h 10000"/>
                  <a:gd name="connsiteX14" fmla="*/ 6522 w 10000"/>
                  <a:gd name="connsiteY14" fmla="*/ 1296 h 10000"/>
                  <a:gd name="connsiteX15" fmla="*/ 6522 w 10000"/>
                  <a:gd name="connsiteY15" fmla="*/ 370 h 10000"/>
                  <a:gd name="connsiteX0" fmla="*/ 6522 w 10000"/>
                  <a:gd name="connsiteY0" fmla="*/ 370 h 10000"/>
                  <a:gd name="connsiteX1" fmla="*/ 3478 w 10000"/>
                  <a:gd name="connsiteY1" fmla="*/ 370 h 10000"/>
                  <a:gd name="connsiteX2" fmla="*/ 2610 w 10000"/>
                  <a:gd name="connsiteY2" fmla="*/ 370 h 10000"/>
                  <a:gd name="connsiteX3" fmla="*/ 870 w 10000"/>
                  <a:gd name="connsiteY3" fmla="*/ 370 h 10000"/>
                  <a:gd name="connsiteX4" fmla="*/ 870 w 10000"/>
                  <a:gd name="connsiteY4" fmla="*/ 0 h 10000"/>
                  <a:gd name="connsiteX5" fmla="*/ 0 w 10000"/>
                  <a:gd name="connsiteY5" fmla="*/ 0 h 10000"/>
                  <a:gd name="connsiteX6" fmla="*/ 7390 w 10000"/>
                  <a:gd name="connsiteY6" fmla="*/ 10000 h 10000"/>
                  <a:gd name="connsiteX7" fmla="*/ 8357 w 10000"/>
                  <a:gd name="connsiteY7" fmla="*/ 9888 h 10000"/>
                  <a:gd name="connsiteX8" fmla="*/ 10000 w 10000"/>
                  <a:gd name="connsiteY8" fmla="*/ 9259 h 10000"/>
                  <a:gd name="connsiteX9" fmla="*/ 10000 w 10000"/>
                  <a:gd name="connsiteY9" fmla="*/ 7963 h 10000"/>
                  <a:gd name="connsiteX10" fmla="*/ 3478 w 10000"/>
                  <a:gd name="connsiteY10" fmla="*/ 2963 h 10000"/>
                  <a:gd name="connsiteX11" fmla="*/ 2610 w 10000"/>
                  <a:gd name="connsiteY11" fmla="*/ 1667 h 10000"/>
                  <a:gd name="connsiteX12" fmla="*/ 4349 w 10000"/>
                  <a:gd name="connsiteY12" fmla="*/ 3333 h 10000"/>
                  <a:gd name="connsiteX13" fmla="*/ 6522 w 10000"/>
                  <a:gd name="connsiteY13" fmla="*/ 4259 h 10000"/>
                  <a:gd name="connsiteX14" fmla="*/ 7390 w 10000"/>
                  <a:gd name="connsiteY14" fmla="*/ 2037 h 10000"/>
                  <a:gd name="connsiteX15" fmla="*/ 6522 w 10000"/>
                  <a:gd name="connsiteY15" fmla="*/ 1296 h 10000"/>
                  <a:gd name="connsiteX16" fmla="*/ 6522 w 10000"/>
                  <a:gd name="connsiteY16" fmla="*/ 370 h 10000"/>
                  <a:gd name="connsiteX0" fmla="*/ 6522 w 10000"/>
                  <a:gd name="connsiteY0" fmla="*/ 370 h 10000"/>
                  <a:gd name="connsiteX1" fmla="*/ 3478 w 10000"/>
                  <a:gd name="connsiteY1" fmla="*/ 370 h 10000"/>
                  <a:gd name="connsiteX2" fmla="*/ 2610 w 10000"/>
                  <a:gd name="connsiteY2" fmla="*/ 370 h 10000"/>
                  <a:gd name="connsiteX3" fmla="*/ 870 w 10000"/>
                  <a:gd name="connsiteY3" fmla="*/ 370 h 10000"/>
                  <a:gd name="connsiteX4" fmla="*/ 870 w 10000"/>
                  <a:gd name="connsiteY4" fmla="*/ 0 h 10000"/>
                  <a:gd name="connsiteX5" fmla="*/ 0 w 10000"/>
                  <a:gd name="connsiteY5" fmla="*/ 0 h 10000"/>
                  <a:gd name="connsiteX6" fmla="*/ 7390 w 10000"/>
                  <a:gd name="connsiteY6" fmla="*/ 10000 h 10000"/>
                  <a:gd name="connsiteX7" fmla="*/ 10000 w 10000"/>
                  <a:gd name="connsiteY7" fmla="*/ 9259 h 10000"/>
                  <a:gd name="connsiteX8" fmla="*/ 10000 w 10000"/>
                  <a:gd name="connsiteY8" fmla="*/ 7963 h 10000"/>
                  <a:gd name="connsiteX9" fmla="*/ 3478 w 10000"/>
                  <a:gd name="connsiteY9" fmla="*/ 2963 h 10000"/>
                  <a:gd name="connsiteX10" fmla="*/ 2610 w 10000"/>
                  <a:gd name="connsiteY10" fmla="*/ 1667 h 10000"/>
                  <a:gd name="connsiteX11" fmla="*/ 4349 w 10000"/>
                  <a:gd name="connsiteY11" fmla="*/ 3333 h 10000"/>
                  <a:gd name="connsiteX12" fmla="*/ 6522 w 10000"/>
                  <a:gd name="connsiteY12" fmla="*/ 4259 h 10000"/>
                  <a:gd name="connsiteX13" fmla="*/ 7390 w 10000"/>
                  <a:gd name="connsiteY13" fmla="*/ 2037 h 10000"/>
                  <a:gd name="connsiteX14" fmla="*/ 6522 w 10000"/>
                  <a:gd name="connsiteY14" fmla="*/ 1296 h 10000"/>
                  <a:gd name="connsiteX15" fmla="*/ 6522 w 10000"/>
                  <a:gd name="connsiteY15" fmla="*/ 370 h 10000"/>
                  <a:gd name="connsiteX0" fmla="*/ 6522 w 10000"/>
                  <a:gd name="connsiteY0" fmla="*/ 370 h 10000"/>
                  <a:gd name="connsiteX1" fmla="*/ 3478 w 10000"/>
                  <a:gd name="connsiteY1" fmla="*/ 370 h 10000"/>
                  <a:gd name="connsiteX2" fmla="*/ 2610 w 10000"/>
                  <a:gd name="connsiteY2" fmla="*/ 370 h 10000"/>
                  <a:gd name="connsiteX3" fmla="*/ 870 w 10000"/>
                  <a:gd name="connsiteY3" fmla="*/ 370 h 10000"/>
                  <a:gd name="connsiteX4" fmla="*/ 870 w 10000"/>
                  <a:gd name="connsiteY4" fmla="*/ 0 h 10000"/>
                  <a:gd name="connsiteX5" fmla="*/ 0 w 10000"/>
                  <a:gd name="connsiteY5" fmla="*/ 0 h 10000"/>
                  <a:gd name="connsiteX6" fmla="*/ 7390 w 10000"/>
                  <a:gd name="connsiteY6" fmla="*/ 10000 h 10000"/>
                  <a:gd name="connsiteX7" fmla="*/ 10000 w 10000"/>
                  <a:gd name="connsiteY7" fmla="*/ 7963 h 10000"/>
                  <a:gd name="connsiteX8" fmla="*/ 3478 w 10000"/>
                  <a:gd name="connsiteY8" fmla="*/ 2963 h 10000"/>
                  <a:gd name="connsiteX9" fmla="*/ 2610 w 10000"/>
                  <a:gd name="connsiteY9" fmla="*/ 1667 h 10000"/>
                  <a:gd name="connsiteX10" fmla="*/ 4349 w 10000"/>
                  <a:gd name="connsiteY10" fmla="*/ 3333 h 10000"/>
                  <a:gd name="connsiteX11" fmla="*/ 6522 w 10000"/>
                  <a:gd name="connsiteY11" fmla="*/ 4259 h 10000"/>
                  <a:gd name="connsiteX12" fmla="*/ 7390 w 10000"/>
                  <a:gd name="connsiteY12" fmla="*/ 2037 h 10000"/>
                  <a:gd name="connsiteX13" fmla="*/ 6522 w 10000"/>
                  <a:gd name="connsiteY13" fmla="*/ 1296 h 10000"/>
                  <a:gd name="connsiteX14" fmla="*/ 6522 w 10000"/>
                  <a:gd name="connsiteY14" fmla="*/ 370 h 10000"/>
                  <a:gd name="connsiteX0" fmla="*/ 6522 w 10000"/>
                  <a:gd name="connsiteY0" fmla="*/ 370 h 7963"/>
                  <a:gd name="connsiteX1" fmla="*/ 3478 w 10000"/>
                  <a:gd name="connsiteY1" fmla="*/ 370 h 7963"/>
                  <a:gd name="connsiteX2" fmla="*/ 2610 w 10000"/>
                  <a:gd name="connsiteY2" fmla="*/ 370 h 7963"/>
                  <a:gd name="connsiteX3" fmla="*/ 870 w 10000"/>
                  <a:gd name="connsiteY3" fmla="*/ 370 h 7963"/>
                  <a:gd name="connsiteX4" fmla="*/ 870 w 10000"/>
                  <a:gd name="connsiteY4" fmla="*/ 0 h 7963"/>
                  <a:gd name="connsiteX5" fmla="*/ 0 w 10000"/>
                  <a:gd name="connsiteY5" fmla="*/ 0 h 7963"/>
                  <a:gd name="connsiteX6" fmla="*/ 10000 w 10000"/>
                  <a:gd name="connsiteY6" fmla="*/ 7963 h 7963"/>
                  <a:gd name="connsiteX7" fmla="*/ 3478 w 10000"/>
                  <a:gd name="connsiteY7" fmla="*/ 2963 h 7963"/>
                  <a:gd name="connsiteX8" fmla="*/ 2610 w 10000"/>
                  <a:gd name="connsiteY8" fmla="*/ 1667 h 7963"/>
                  <a:gd name="connsiteX9" fmla="*/ 4349 w 10000"/>
                  <a:gd name="connsiteY9" fmla="*/ 3333 h 7963"/>
                  <a:gd name="connsiteX10" fmla="*/ 6522 w 10000"/>
                  <a:gd name="connsiteY10" fmla="*/ 4259 h 7963"/>
                  <a:gd name="connsiteX11" fmla="*/ 7390 w 10000"/>
                  <a:gd name="connsiteY11" fmla="*/ 2037 h 7963"/>
                  <a:gd name="connsiteX12" fmla="*/ 6522 w 10000"/>
                  <a:gd name="connsiteY12" fmla="*/ 1296 h 7963"/>
                  <a:gd name="connsiteX13" fmla="*/ 6522 w 10000"/>
                  <a:gd name="connsiteY13" fmla="*/ 370 h 7963"/>
                  <a:gd name="connsiteX0" fmla="*/ 6522 w 7390"/>
                  <a:gd name="connsiteY0" fmla="*/ 465 h 5348"/>
                  <a:gd name="connsiteX1" fmla="*/ 3478 w 7390"/>
                  <a:gd name="connsiteY1" fmla="*/ 465 h 5348"/>
                  <a:gd name="connsiteX2" fmla="*/ 2610 w 7390"/>
                  <a:gd name="connsiteY2" fmla="*/ 465 h 5348"/>
                  <a:gd name="connsiteX3" fmla="*/ 870 w 7390"/>
                  <a:gd name="connsiteY3" fmla="*/ 465 h 5348"/>
                  <a:gd name="connsiteX4" fmla="*/ 870 w 7390"/>
                  <a:gd name="connsiteY4" fmla="*/ 0 h 5348"/>
                  <a:gd name="connsiteX5" fmla="*/ 0 w 7390"/>
                  <a:gd name="connsiteY5" fmla="*/ 0 h 5348"/>
                  <a:gd name="connsiteX6" fmla="*/ 3478 w 7390"/>
                  <a:gd name="connsiteY6" fmla="*/ 3721 h 5348"/>
                  <a:gd name="connsiteX7" fmla="*/ 2610 w 7390"/>
                  <a:gd name="connsiteY7" fmla="*/ 2093 h 5348"/>
                  <a:gd name="connsiteX8" fmla="*/ 4349 w 7390"/>
                  <a:gd name="connsiteY8" fmla="*/ 4186 h 5348"/>
                  <a:gd name="connsiteX9" fmla="*/ 6522 w 7390"/>
                  <a:gd name="connsiteY9" fmla="*/ 5348 h 5348"/>
                  <a:gd name="connsiteX10" fmla="*/ 7390 w 7390"/>
                  <a:gd name="connsiteY10" fmla="*/ 2558 h 5348"/>
                  <a:gd name="connsiteX11" fmla="*/ 6522 w 7390"/>
                  <a:gd name="connsiteY11" fmla="*/ 1628 h 5348"/>
                  <a:gd name="connsiteX12" fmla="*/ 6522 w 7390"/>
                  <a:gd name="connsiteY12" fmla="*/ 465 h 5348"/>
                  <a:gd name="connsiteX0" fmla="*/ 8825 w 10000"/>
                  <a:gd name="connsiteY0" fmla="*/ 869 h 10000"/>
                  <a:gd name="connsiteX1" fmla="*/ 4706 w 10000"/>
                  <a:gd name="connsiteY1" fmla="*/ 869 h 10000"/>
                  <a:gd name="connsiteX2" fmla="*/ 3532 w 10000"/>
                  <a:gd name="connsiteY2" fmla="*/ 869 h 10000"/>
                  <a:gd name="connsiteX3" fmla="*/ 1177 w 10000"/>
                  <a:gd name="connsiteY3" fmla="*/ 869 h 10000"/>
                  <a:gd name="connsiteX4" fmla="*/ 1177 w 10000"/>
                  <a:gd name="connsiteY4" fmla="*/ 0 h 10000"/>
                  <a:gd name="connsiteX5" fmla="*/ 0 w 10000"/>
                  <a:gd name="connsiteY5" fmla="*/ 0 h 10000"/>
                  <a:gd name="connsiteX6" fmla="*/ 4706 w 10000"/>
                  <a:gd name="connsiteY6" fmla="*/ 6958 h 10000"/>
                  <a:gd name="connsiteX7" fmla="*/ 3532 w 10000"/>
                  <a:gd name="connsiteY7" fmla="*/ 3914 h 10000"/>
                  <a:gd name="connsiteX8" fmla="*/ 8825 w 10000"/>
                  <a:gd name="connsiteY8" fmla="*/ 10000 h 10000"/>
                  <a:gd name="connsiteX9" fmla="*/ 10000 w 10000"/>
                  <a:gd name="connsiteY9" fmla="*/ 4783 h 10000"/>
                  <a:gd name="connsiteX10" fmla="*/ 8825 w 10000"/>
                  <a:gd name="connsiteY10" fmla="*/ 3044 h 10000"/>
                  <a:gd name="connsiteX11" fmla="*/ 8825 w 10000"/>
                  <a:gd name="connsiteY11" fmla="*/ 869 h 10000"/>
                  <a:gd name="connsiteX0" fmla="*/ 8825 w 10000"/>
                  <a:gd name="connsiteY0" fmla="*/ 869 h 10000"/>
                  <a:gd name="connsiteX1" fmla="*/ 4706 w 10000"/>
                  <a:gd name="connsiteY1" fmla="*/ 869 h 10000"/>
                  <a:gd name="connsiteX2" fmla="*/ 3532 w 10000"/>
                  <a:gd name="connsiteY2" fmla="*/ 869 h 10000"/>
                  <a:gd name="connsiteX3" fmla="*/ 1177 w 10000"/>
                  <a:gd name="connsiteY3" fmla="*/ 869 h 10000"/>
                  <a:gd name="connsiteX4" fmla="*/ 1177 w 10000"/>
                  <a:gd name="connsiteY4" fmla="*/ 0 h 10000"/>
                  <a:gd name="connsiteX5" fmla="*/ 0 w 10000"/>
                  <a:gd name="connsiteY5" fmla="*/ 0 h 10000"/>
                  <a:gd name="connsiteX6" fmla="*/ 3532 w 10000"/>
                  <a:gd name="connsiteY6" fmla="*/ 3914 h 10000"/>
                  <a:gd name="connsiteX7" fmla="*/ 8825 w 10000"/>
                  <a:gd name="connsiteY7" fmla="*/ 10000 h 10000"/>
                  <a:gd name="connsiteX8" fmla="*/ 10000 w 10000"/>
                  <a:gd name="connsiteY8" fmla="*/ 4783 h 10000"/>
                  <a:gd name="connsiteX9" fmla="*/ 8825 w 10000"/>
                  <a:gd name="connsiteY9" fmla="*/ 3044 h 10000"/>
                  <a:gd name="connsiteX10" fmla="*/ 8825 w 10000"/>
                  <a:gd name="connsiteY10" fmla="*/ 86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000" h="10000">
                    <a:moveTo>
                      <a:pt x="8825" y="869"/>
                    </a:moveTo>
                    <a:lnTo>
                      <a:pt x="4706" y="869"/>
                    </a:lnTo>
                    <a:lnTo>
                      <a:pt x="3532" y="869"/>
                    </a:lnTo>
                    <a:lnTo>
                      <a:pt x="1177" y="869"/>
                    </a:lnTo>
                    <a:lnTo>
                      <a:pt x="1177" y="0"/>
                    </a:lnTo>
                    <a:lnTo>
                      <a:pt x="0" y="0"/>
                    </a:lnTo>
                    <a:lnTo>
                      <a:pt x="3532" y="3914"/>
                    </a:lnTo>
                    <a:lnTo>
                      <a:pt x="8825" y="10000"/>
                    </a:lnTo>
                    <a:lnTo>
                      <a:pt x="10000" y="4783"/>
                    </a:lnTo>
                    <a:lnTo>
                      <a:pt x="8825" y="3044"/>
                    </a:lnTo>
                    <a:lnTo>
                      <a:pt x="8825" y="869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74" name="Egypt"/>
              <p:cNvSpPr>
                <a:spLocks/>
              </p:cNvSpPr>
              <p:nvPr/>
            </p:nvSpPr>
            <p:spPr bwMode="auto">
              <a:xfrm>
                <a:off x="4866734" y="3530774"/>
                <a:ext cx="294205" cy="308768"/>
              </a:xfrm>
              <a:custGeom>
                <a:avLst/>
                <a:gdLst>
                  <a:gd name="T0" fmla="*/ 62 w 808"/>
                  <a:gd name="T1" fmla="*/ 7 h 716"/>
                  <a:gd name="T2" fmla="*/ 123 w 808"/>
                  <a:gd name="T3" fmla="*/ 12 h 716"/>
                  <a:gd name="T4" fmla="*/ 177 w 808"/>
                  <a:gd name="T5" fmla="*/ 29 h 716"/>
                  <a:gd name="T6" fmla="*/ 218 w 808"/>
                  <a:gd name="T7" fmla="*/ 41 h 716"/>
                  <a:gd name="T8" fmla="*/ 282 w 808"/>
                  <a:gd name="T9" fmla="*/ 54 h 716"/>
                  <a:gd name="T10" fmla="*/ 322 w 808"/>
                  <a:gd name="T11" fmla="*/ 41 h 716"/>
                  <a:gd name="T12" fmla="*/ 369 w 808"/>
                  <a:gd name="T13" fmla="*/ 8 h 716"/>
                  <a:gd name="T14" fmla="*/ 397 w 808"/>
                  <a:gd name="T15" fmla="*/ 5 h 716"/>
                  <a:gd name="T16" fmla="*/ 392 w 808"/>
                  <a:gd name="T17" fmla="*/ 15 h 716"/>
                  <a:gd name="T18" fmla="*/ 417 w 808"/>
                  <a:gd name="T19" fmla="*/ 0 h 716"/>
                  <a:gd name="T20" fmla="*/ 472 w 808"/>
                  <a:gd name="T21" fmla="*/ 3 h 716"/>
                  <a:gd name="T22" fmla="*/ 497 w 808"/>
                  <a:gd name="T23" fmla="*/ 17 h 716"/>
                  <a:gd name="T24" fmla="*/ 507 w 808"/>
                  <a:gd name="T25" fmla="*/ 69 h 716"/>
                  <a:gd name="T26" fmla="*/ 521 w 808"/>
                  <a:gd name="T27" fmla="*/ 96 h 716"/>
                  <a:gd name="T28" fmla="*/ 527 w 808"/>
                  <a:gd name="T29" fmla="*/ 138 h 716"/>
                  <a:gd name="T30" fmla="*/ 574 w 808"/>
                  <a:gd name="T31" fmla="*/ 222 h 716"/>
                  <a:gd name="T32" fmla="*/ 617 w 808"/>
                  <a:gd name="T33" fmla="*/ 260 h 716"/>
                  <a:gd name="T34" fmla="*/ 644 w 808"/>
                  <a:gd name="T35" fmla="*/ 310 h 716"/>
                  <a:gd name="T36" fmla="*/ 679 w 808"/>
                  <a:gd name="T37" fmla="*/ 384 h 716"/>
                  <a:gd name="T38" fmla="*/ 713 w 808"/>
                  <a:gd name="T39" fmla="*/ 435 h 716"/>
                  <a:gd name="T40" fmla="*/ 755 w 808"/>
                  <a:gd name="T41" fmla="*/ 503 h 716"/>
                  <a:gd name="T42" fmla="*/ 806 w 808"/>
                  <a:gd name="T43" fmla="*/ 550 h 716"/>
                  <a:gd name="T44" fmla="*/ 788 w 808"/>
                  <a:gd name="T45" fmla="*/ 553 h 716"/>
                  <a:gd name="T46" fmla="*/ 794 w 808"/>
                  <a:gd name="T47" fmla="*/ 589 h 716"/>
                  <a:gd name="T48" fmla="*/ 803 w 808"/>
                  <a:gd name="T49" fmla="*/ 613 h 716"/>
                  <a:gd name="T50" fmla="*/ 785 w 808"/>
                  <a:gd name="T51" fmla="*/ 636 h 716"/>
                  <a:gd name="T52" fmla="*/ 743 w 808"/>
                  <a:gd name="T53" fmla="*/ 679 h 716"/>
                  <a:gd name="T54" fmla="*/ 706 w 808"/>
                  <a:gd name="T55" fmla="*/ 699 h 716"/>
                  <a:gd name="T56" fmla="*/ 643 w 808"/>
                  <a:gd name="T57" fmla="*/ 701 h 716"/>
                  <a:gd name="T58" fmla="*/ 532 w 808"/>
                  <a:gd name="T59" fmla="*/ 705 h 716"/>
                  <a:gd name="T60" fmla="*/ 509 w 808"/>
                  <a:gd name="T61" fmla="*/ 705 h 716"/>
                  <a:gd name="T62" fmla="*/ 59 w 808"/>
                  <a:gd name="T63" fmla="*/ 614 h 716"/>
                  <a:gd name="T64" fmla="*/ 32 w 808"/>
                  <a:gd name="T65" fmla="*/ 183 h 716"/>
                  <a:gd name="T66" fmla="*/ 13 w 808"/>
                  <a:gd name="T67" fmla="*/ 100 h 716"/>
                  <a:gd name="T68" fmla="*/ 12 w 808"/>
                  <a:gd name="T69" fmla="*/ 26 h 716"/>
                  <a:gd name="T70" fmla="*/ 24 w 808"/>
                  <a:gd name="T71" fmla="*/ 10 h 716"/>
                  <a:gd name="connsiteX0" fmla="*/ 292 w 10230"/>
                  <a:gd name="connsiteY0" fmla="*/ 182 h 10000"/>
                  <a:gd name="connsiteX1" fmla="*/ 663 w 10230"/>
                  <a:gd name="connsiteY1" fmla="*/ 98 h 10000"/>
                  <a:gd name="connsiteX2" fmla="*/ 985 w 10230"/>
                  <a:gd name="connsiteY2" fmla="*/ 126 h 10000"/>
                  <a:gd name="connsiteX3" fmla="*/ 1418 w 10230"/>
                  <a:gd name="connsiteY3" fmla="*/ 168 h 10000"/>
                  <a:gd name="connsiteX4" fmla="*/ 1802 w 10230"/>
                  <a:gd name="connsiteY4" fmla="*/ 251 h 10000"/>
                  <a:gd name="connsiteX5" fmla="*/ 2087 w 10230"/>
                  <a:gd name="connsiteY5" fmla="*/ 405 h 10000"/>
                  <a:gd name="connsiteX6" fmla="*/ 2384 w 10230"/>
                  <a:gd name="connsiteY6" fmla="*/ 461 h 10000"/>
                  <a:gd name="connsiteX7" fmla="*/ 2594 w 10230"/>
                  <a:gd name="connsiteY7" fmla="*/ 573 h 10000"/>
                  <a:gd name="connsiteX8" fmla="*/ 2879 w 10230"/>
                  <a:gd name="connsiteY8" fmla="*/ 573 h 10000"/>
                  <a:gd name="connsiteX9" fmla="*/ 3386 w 10230"/>
                  <a:gd name="connsiteY9" fmla="*/ 754 h 10000"/>
                  <a:gd name="connsiteX10" fmla="*/ 3559 w 10230"/>
                  <a:gd name="connsiteY10" fmla="*/ 740 h 10000"/>
                  <a:gd name="connsiteX11" fmla="*/ 3881 w 10230"/>
                  <a:gd name="connsiteY11" fmla="*/ 573 h 10000"/>
                  <a:gd name="connsiteX12" fmla="*/ 4240 w 10230"/>
                  <a:gd name="connsiteY12" fmla="*/ 279 h 10000"/>
                  <a:gd name="connsiteX13" fmla="*/ 4463 w 10230"/>
                  <a:gd name="connsiteY13" fmla="*/ 112 h 10000"/>
                  <a:gd name="connsiteX14" fmla="*/ 4735 w 10230"/>
                  <a:gd name="connsiteY14" fmla="*/ 56 h 10000"/>
                  <a:gd name="connsiteX15" fmla="*/ 4809 w 10230"/>
                  <a:gd name="connsiteY15" fmla="*/ 70 h 10000"/>
                  <a:gd name="connsiteX16" fmla="*/ 4636 w 10230"/>
                  <a:gd name="connsiteY16" fmla="*/ 196 h 10000"/>
                  <a:gd name="connsiteX17" fmla="*/ 4747 w 10230"/>
                  <a:gd name="connsiteY17" fmla="*/ 209 h 10000"/>
                  <a:gd name="connsiteX18" fmla="*/ 4983 w 10230"/>
                  <a:gd name="connsiteY18" fmla="*/ 126 h 10000"/>
                  <a:gd name="connsiteX19" fmla="*/ 5057 w 10230"/>
                  <a:gd name="connsiteY19" fmla="*/ 0 h 10000"/>
                  <a:gd name="connsiteX20" fmla="*/ 5230 w 10230"/>
                  <a:gd name="connsiteY20" fmla="*/ 28 h 10000"/>
                  <a:gd name="connsiteX21" fmla="*/ 5738 w 10230"/>
                  <a:gd name="connsiteY21" fmla="*/ 42 h 10000"/>
                  <a:gd name="connsiteX22" fmla="*/ 5898 w 10230"/>
                  <a:gd name="connsiteY22" fmla="*/ 168 h 10000"/>
                  <a:gd name="connsiteX23" fmla="*/ 6047 w 10230"/>
                  <a:gd name="connsiteY23" fmla="*/ 237 h 10000"/>
                  <a:gd name="connsiteX24" fmla="*/ 6096 w 10230"/>
                  <a:gd name="connsiteY24" fmla="*/ 489 h 10000"/>
                  <a:gd name="connsiteX25" fmla="*/ 6171 w 10230"/>
                  <a:gd name="connsiteY25" fmla="*/ 964 h 10000"/>
                  <a:gd name="connsiteX26" fmla="*/ 6196 w 10230"/>
                  <a:gd name="connsiteY26" fmla="*/ 1187 h 10000"/>
                  <a:gd name="connsiteX27" fmla="*/ 6344 w 10230"/>
                  <a:gd name="connsiteY27" fmla="*/ 1341 h 10000"/>
                  <a:gd name="connsiteX28" fmla="*/ 6394 w 10230"/>
                  <a:gd name="connsiteY28" fmla="*/ 1620 h 10000"/>
                  <a:gd name="connsiteX29" fmla="*/ 6418 w 10230"/>
                  <a:gd name="connsiteY29" fmla="*/ 1927 h 10000"/>
                  <a:gd name="connsiteX30" fmla="*/ 6691 w 10230"/>
                  <a:gd name="connsiteY30" fmla="*/ 2556 h 10000"/>
                  <a:gd name="connsiteX31" fmla="*/ 7000 w 10230"/>
                  <a:gd name="connsiteY31" fmla="*/ 3101 h 10000"/>
                  <a:gd name="connsiteX32" fmla="*/ 7408 w 10230"/>
                  <a:gd name="connsiteY32" fmla="*/ 3534 h 10000"/>
                  <a:gd name="connsiteX33" fmla="*/ 7532 w 10230"/>
                  <a:gd name="connsiteY33" fmla="*/ 3631 h 10000"/>
                  <a:gd name="connsiteX34" fmla="*/ 7606 w 10230"/>
                  <a:gd name="connsiteY34" fmla="*/ 4036 h 10000"/>
                  <a:gd name="connsiteX35" fmla="*/ 7866 w 10230"/>
                  <a:gd name="connsiteY35" fmla="*/ 4330 h 10000"/>
                  <a:gd name="connsiteX36" fmla="*/ 8077 w 10230"/>
                  <a:gd name="connsiteY36" fmla="*/ 4972 h 10000"/>
                  <a:gd name="connsiteX37" fmla="*/ 8299 w 10230"/>
                  <a:gd name="connsiteY37" fmla="*/ 5363 h 10000"/>
                  <a:gd name="connsiteX38" fmla="*/ 8535 w 10230"/>
                  <a:gd name="connsiteY38" fmla="*/ 5810 h 10000"/>
                  <a:gd name="connsiteX39" fmla="*/ 8720 w 10230"/>
                  <a:gd name="connsiteY39" fmla="*/ 6075 h 10000"/>
                  <a:gd name="connsiteX40" fmla="*/ 8993 w 10230"/>
                  <a:gd name="connsiteY40" fmla="*/ 6606 h 10000"/>
                  <a:gd name="connsiteX41" fmla="*/ 9240 w 10230"/>
                  <a:gd name="connsiteY41" fmla="*/ 7025 h 10000"/>
                  <a:gd name="connsiteX42" fmla="*/ 9698 w 10230"/>
                  <a:gd name="connsiteY42" fmla="*/ 7514 h 10000"/>
                  <a:gd name="connsiteX43" fmla="*/ 9871 w 10230"/>
                  <a:gd name="connsiteY43" fmla="*/ 7682 h 10000"/>
                  <a:gd name="connsiteX44" fmla="*/ 9797 w 10230"/>
                  <a:gd name="connsiteY44" fmla="*/ 7709 h 10000"/>
                  <a:gd name="connsiteX45" fmla="*/ 9648 w 10230"/>
                  <a:gd name="connsiteY45" fmla="*/ 7723 h 10000"/>
                  <a:gd name="connsiteX46" fmla="*/ 9673 w 10230"/>
                  <a:gd name="connsiteY46" fmla="*/ 7905 h 10000"/>
                  <a:gd name="connsiteX47" fmla="*/ 9723 w 10230"/>
                  <a:gd name="connsiteY47" fmla="*/ 8226 h 10000"/>
                  <a:gd name="connsiteX48" fmla="*/ 9822 w 10230"/>
                  <a:gd name="connsiteY48" fmla="*/ 8547 h 10000"/>
                  <a:gd name="connsiteX49" fmla="*/ 9834 w 10230"/>
                  <a:gd name="connsiteY49" fmla="*/ 8561 h 10000"/>
                  <a:gd name="connsiteX50" fmla="*/ 9834 w 10230"/>
                  <a:gd name="connsiteY50" fmla="*/ 8561 h 10000"/>
                  <a:gd name="connsiteX51" fmla="*/ 10221 w 10230"/>
                  <a:gd name="connsiteY51" fmla="*/ 9005 h 10000"/>
                  <a:gd name="connsiteX52" fmla="*/ 9327 w 10230"/>
                  <a:gd name="connsiteY52" fmla="*/ 8841 h 10000"/>
                  <a:gd name="connsiteX53" fmla="*/ 9092 w 10230"/>
                  <a:gd name="connsiteY53" fmla="*/ 9483 h 10000"/>
                  <a:gd name="connsiteX54" fmla="*/ 8696 w 10230"/>
                  <a:gd name="connsiteY54" fmla="*/ 9553 h 10000"/>
                  <a:gd name="connsiteX55" fmla="*/ 8634 w 10230"/>
                  <a:gd name="connsiteY55" fmla="*/ 9763 h 10000"/>
                  <a:gd name="connsiteX56" fmla="*/ 7854 w 10230"/>
                  <a:gd name="connsiteY56" fmla="*/ 9791 h 10000"/>
                  <a:gd name="connsiteX57" fmla="*/ 7854 w 10230"/>
                  <a:gd name="connsiteY57" fmla="*/ 9791 h 10000"/>
                  <a:gd name="connsiteX58" fmla="*/ 7854 w 10230"/>
                  <a:gd name="connsiteY58" fmla="*/ 9791 h 10000"/>
                  <a:gd name="connsiteX59" fmla="*/ 6480 w 10230"/>
                  <a:gd name="connsiteY59" fmla="*/ 9846 h 10000"/>
                  <a:gd name="connsiteX60" fmla="*/ 6381 w 10230"/>
                  <a:gd name="connsiteY60" fmla="*/ 9665 h 10000"/>
                  <a:gd name="connsiteX61" fmla="*/ 6196 w 10230"/>
                  <a:gd name="connsiteY61" fmla="*/ 9846 h 10000"/>
                  <a:gd name="connsiteX62" fmla="*/ 688 w 10230"/>
                  <a:gd name="connsiteY62" fmla="*/ 10000 h 10000"/>
                  <a:gd name="connsiteX63" fmla="*/ 626 w 10230"/>
                  <a:gd name="connsiteY63" fmla="*/ 8575 h 10000"/>
                  <a:gd name="connsiteX64" fmla="*/ 626 w 10230"/>
                  <a:gd name="connsiteY64" fmla="*/ 8575 h 10000"/>
                  <a:gd name="connsiteX65" fmla="*/ 292 w 10230"/>
                  <a:gd name="connsiteY65" fmla="*/ 2556 h 10000"/>
                  <a:gd name="connsiteX66" fmla="*/ 119 w 10230"/>
                  <a:gd name="connsiteY66" fmla="*/ 1997 h 10000"/>
                  <a:gd name="connsiteX67" fmla="*/ 57 w 10230"/>
                  <a:gd name="connsiteY67" fmla="*/ 1397 h 10000"/>
                  <a:gd name="connsiteX68" fmla="*/ 181 w 10230"/>
                  <a:gd name="connsiteY68" fmla="*/ 880 h 10000"/>
                  <a:gd name="connsiteX69" fmla="*/ 45 w 10230"/>
                  <a:gd name="connsiteY69" fmla="*/ 363 h 10000"/>
                  <a:gd name="connsiteX70" fmla="*/ 181 w 10230"/>
                  <a:gd name="connsiteY70" fmla="*/ 154 h 10000"/>
                  <a:gd name="connsiteX71" fmla="*/ 193 w 10230"/>
                  <a:gd name="connsiteY71" fmla="*/ 140 h 10000"/>
                  <a:gd name="connsiteX72" fmla="*/ 292 w 10230"/>
                  <a:gd name="connsiteY72" fmla="*/ 182 h 10000"/>
                  <a:gd name="connsiteX0" fmla="*/ 292 w 10870"/>
                  <a:gd name="connsiteY0" fmla="*/ 182 h 10000"/>
                  <a:gd name="connsiteX1" fmla="*/ 663 w 10870"/>
                  <a:gd name="connsiteY1" fmla="*/ 98 h 10000"/>
                  <a:gd name="connsiteX2" fmla="*/ 985 w 10870"/>
                  <a:gd name="connsiteY2" fmla="*/ 126 h 10000"/>
                  <a:gd name="connsiteX3" fmla="*/ 1418 w 10870"/>
                  <a:gd name="connsiteY3" fmla="*/ 168 h 10000"/>
                  <a:gd name="connsiteX4" fmla="*/ 1802 w 10870"/>
                  <a:gd name="connsiteY4" fmla="*/ 251 h 10000"/>
                  <a:gd name="connsiteX5" fmla="*/ 2087 w 10870"/>
                  <a:gd name="connsiteY5" fmla="*/ 405 h 10000"/>
                  <a:gd name="connsiteX6" fmla="*/ 2384 w 10870"/>
                  <a:gd name="connsiteY6" fmla="*/ 461 h 10000"/>
                  <a:gd name="connsiteX7" fmla="*/ 2594 w 10870"/>
                  <a:gd name="connsiteY7" fmla="*/ 573 h 10000"/>
                  <a:gd name="connsiteX8" fmla="*/ 2879 w 10870"/>
                  <a:gd name="connsiteY8" fmla="*/ 573 h 10000"/>
                  <a:gd name="connsiteX9" fmla="*/ 3386 w 10870"/>
                  <a:gd name="connsiteY9" fmla="*/ 754 h 10000"/>
                  <a:gd name="connsiteX10" fmla="*/ 3559 w 10870"/>
                  <a:gd name="connsiteY10" fmla="*/ 740 h 10000"/>
                  <a:gd name="connsiteX11" fmla="*/ 3881 w 10870"/>
                  <a:gd name="connsiteY11" fmla="*/ 573 h 10000"/>
                  <a:gd name="connsiteX12" fmla="*/ 4240 w 10870"/>
                  <a:gd name="connsiteY12" fmla="*/ 279 h 10000"/>
                  <a:gd name="connsiteX13" fmla="*/ 4463 w 10870"/>
                  <a:gd name="connsiteY13" fmla="*/ 112 h 10000"/>
                  <a:gd name="connsiteX14" fmla="*/ 4735 w 10870"/>
                  <a:gd name="connsiteY14" fmla="*/ 56 h 10000"/>
                  <a:gd name="connsiteX15" fmla="*/ 4809 w 10870"/>
                  <a:gd name="connsiteY15" fmla="*/ 70 h 10000"/>
                  <a:gd name="connsiteX16" fmla="*/ 4636 w 10870"/>
                  <a:gd name="connsiteY16" fmla="*/ 196 h 10000"/>
                  <a:gd name="connsiteX17" fmla="*/ 4747 w 10870"/>
                  <a:gd name="connsiteY17" fmla="*/ 209 h 10000"/>
                  <a:gd name="connsiteX18" fmla="*/ 4983 w 10870"/>
                  <a:gd name="connsiteY18" fmla="*/ 126 h 10000"/>
                  <a:gd name="connsiteX19" fmla="*/ 5057 w 10870"/>
                  <a:gd name="connsiteY19" fmla="*/ 0 h 10000"/>
                  <a:gd name="connsiteX20" fmla="*/ 5230 w 10870"/>
                  <a:gd name="connsiteY20" fmla="*/ 28 h 10000"/>
                  <a:gd name="connsiteX21" fmla="*/ 5738 w 10870"/>
                  <a:gd name="connsiteY21" fmla="*/ 42 h 10000"/>
                  <a:gd name="connsiteX22" fmla="*/ 5898 w 10870"/>
                  <a:gd name="connsiteY22" fmla="*/ 168 h 10000"/>
                  <a:gd name="connsiteX23" fmla="*/ 6047 w 10870"/>
                  <a:gd name="connsiteY23" fmla="*/ 237 h 10000"/>
                  <a:gd name="connsiteX24" fmla="*/ 6096 w 10870"/>
                  <a:gd name="connsiteY24" fmla="*/ 489 h 10000"/>
                  <a:gd name="connsiteX25" fmla="*/ 6171 w 10870"/>
                  <a:gd name="connsiteY25" fmla="*/ 964 h 10000"/>
                  <a:gd name="connsiteX26" fmla="*/ 6196 w 10870"/>
                  <a:gd name="connsiteY26" fmla="*/ 1187 h 10000"/>
                  <a:gd name="connsiteX27" fmla="*/ 6344 w 10870"/>
                  <a:gd name="connsiteY27" fmla="*/ 1341 h 10000"/>
                  <a:gd name="connsiteX28" fmla="*/ 6394 w 10870"/>
                  <a:gd name="connsiteY28" fmla="*/ 1620 h 10000"/>
                  <a:gd name="connsiteX29" fmla="*/ 6418 w 10870"/>
                  <a:gd name="connsiteY29" fmla="*/ 1927 h 10000"/>
                  <a:gd name="connsiteX30" fmla="*/ 6691 w 10870"/>
                  <a:gd name="connsiteY30" fmla="*/ 2556 h 10000"/>
                  <a:gd name="connsiteX31" fmla="*/ 7000 w 10870"/>
                  <a:gd name="connsiteY31" fmla="*/ 3101 h 10000"/>
                  <a:gd name="connsiteX32" fmla="*/ 7408 w 10870"/>
                  <a:gd name="connsiteY32" fmla="*/ 3534 h 10000"/>
                  <a:gd name="connsiteX33" fmla="*/ 7532 w 10870"/>
                  <a:gd name="connsiteY33" fmla="*/ 3631 h 10000"/>
                  <a:gd name="connsiteX34" fmla="*/ 7606 w 10870"/>
                  <a:gd name="connsiteY34" fmla="*/ 4036 h 10000"/>
                  <a:gd name="connsiteX35" fmla="*/ 7866 w 10870"/>
                  <a:gd name="connsiteY35" fmla="*/ 4330 h 10000"/>
                  <a:gd name="connsiteX36" fmla="*/ 8077 w 10870"/>
                  <a:gd name="connsiteY36" fmla="*/ 4972 h 10000"/>
                  <a:gd name="connsiteX37" fmla="*/ 8299 w 10870"/>
                  <a:gd name="connsiteY37" fmla="*/ 5363 h 10000"/>
                  <a:gd name="connsiteX38" fmla="*/ 8535 w 10870"/>
                  <a:gd name="connsiteY38" fmla="*/ 5810 h 10000"/>
                  <a:gd name="connsiteX39" fmla="*/ 8720 w 10870"/>
                  <a:gd name="connsiteY39" fmla="*/ 6075 h 10000"/>
                  <a:gd name="connsiteX40" fmla="*/ 8993 w 10870"/>
                  <a:gd name="connsiteY40" fmla="*/ 6606 h 10000"/>
                  <a:gd name="connsiteX41" fmla="*/ 9240 w 10870"/>
                  <a:gd name="connsiteY41" fmla="*/ 7025 h 10000"/>
                  <a:gd name="connsiteX42" fmla="*/ 9698 w 10870"/>
                  <a:gd name="connsiteY42" fmla="*/ 7514 h 10000"/>
                  <a:gd name="connsiteX43" fmla="*/ 9871 w 10870"/>
                  <a:gd name="connsiteY43" fmla="*/ 7682 h 10000"/>
                  <a:gd name="connsiteX44" fmla="*/ 9797 w 10870"/>
                  <a:gd name="connsiteY44" fmla="*/ 7709 h 10000"/>
                  <a:gd name="connsiteX45" fmla="*/ 9648 w 10870"/>
                  <a:gd name="connsiteY45" fmla="*/ 7723 h 10000"/>
                  <a:gd name="connsiteX46" fmla="*/ 9673 w 10870"/>
                  <a:gd name="connsiteY46" fmla="*/ 7905 h 10000"/>
                  <a:gd name="connsiteX47" fmla="*/ 9723 w 10870"/>
                  <a:gd name="connsiteY47" fmla="*/ 8226 h 10000"/>
                  <a:gd name="connsiteX48" fmla="*/ 9822 w 10870"/>
                  <a:gd name="connsiteY48" fmla="*/ 8547 h 10000"/>
                  <a:gd name="connsiteX49" fmla="*/ 9834 w 10870"/>
                  <a:gd name="connsiteY49" fmla="*/ 8561 h 10000"/>
                  <a:gd name="connsiteX50" fmla="*/ 9834 w 10870"/>
                  <a:gd name="connsiteY50" fmla="*/ 8561 h 10000"/>
                  <a:gd name="connsiteX51" fmla="*/ 10221 w 10870"/>
                  <a:gd name="connsiteY51" fmla="*/ 9005 h 10000"/>
                  <a:gd name="connsiteX52" fmla="*/ 10870 w 10870"/>
                  <a:gd name="connsiteY52" fmla="*/ 9287 h 10000"/>
                  <a:gd name="connsiteX53" fmla="*/ 9092 w 10870"/>
                  <a:gd name="connsiteY53" fmla="*/ 9483 h 10000"/>
                  <a:gd name="connsiteX54" fmla="*/ 8696 w 10870"/>
                  <a:gd name="connsiteY54" fmla="*/ 9553 h 10000"/>
                  <a:gd name="connsiteX55" fmla="*/ 8634 w 10870"/>
                  <a:gd name="connsiteY55" fmla="*/ 9763 h 10000"/>
                  <a:gd name="connsiteX56" fmla="*/ 7854 w 10870"/>
                  <a:gd name="connsiteY56" fmla="*/ 9791 h 10000"/>
                  <a:gd name="connsiteX57" fmla="*/ 7854 w 10870"/>
                  <a:gd name="connsiteY57" fmla="*/ 9791 h 10000"/>
                  <a:gd name="connsiteX58" fmla="*/ 7854 w 10870"/>
                  <a:gd name="connsiteY58" fmla="*/ 9791 h 10000"/>
                  <a:gd name="connsiteX59" fmla="*/ 6480 w 10870"/>
                  <a:gd name="connsiteY59" fmla="*/ 9846 h 10000"/>
                  <a:gd name="connsiteX60" fmla="*/ 6381 w 10870"/>
                  <a:gd name="connsiteY60" fmla="*/ 9665 h 10000"/>
                  <a:gd name="connsiteX61" fmla="*/ 6196 w 10870"/>
                  <a:gd name="connsiteY61" fmla="*/ 9846 h 10000"/>
                  <a:gd name="connsiteX62" fmla="*/ 688 w 10870"/>
                  <a:gd name="connsiteY62" fmla="*/ 10000 h 10000"/>
                  <a:gd name="connsiteX63" fmla="*/ 626 w 10870"/>
                  <a:gd name="connsiteY63" fmla="*/ 8575 h 10000"/>
                  <a:gd name="connsiteX64" fmla="*/ 626 w 10870"/>
                  <a:gd name="connsiteY64" fmla="*/ 8575 h 10000"/>
                  <a:gd name="connsiteX65" fmla="*/ 292 w 10870"/>
                  <a:gd name="connsiteY65" fmla="*/ 2556 h 10000"/>
                  <a:gd name="connsiteX66" fmla="*/ 119 w 10870"/>
                  <a:gd name="connsiteY66" fmla="*/ 1997 h 10000"/>
                  <a:gd name="connsiteX67" fmla="*/ 57 w 10870"/>
                  <a:gd name="connsiteY67" fmla="*/ 1397 h 10000"/>
                  <a:gd name="connsiteX68" fmla="*/ 181 w 10870"/>
                  <a:gd name="connsiteY68" fmla="*/ 880 h 10000"/>
                  <a:gd name="connsiteX69" fmla="*/ 45 w 10870"/>
                  <a:gd name="connsiteY69" fmla="*/ 363 h 10000"/>
                  <a:gd name="connsiteX70" fmla="*/ 181 w 10870"/>
                  <a:gd name="connsiteY70" fmla="*/ 154 h 10000"/>
                  <a:gd name="connsiteX71" fmla="*/ 193 w 10870"/>
                  <a:gd name="connsiteY71" fmla="*/ 140 h 10000"/>
                  <a:gd name="connsiteX72" fmla="*/ 292 w 10870"/>
                  <a:gd name="connsiteY72" fmla="*/ 182 h 10000"/>
                  <a:gd name="connsiteX0" fmla="*/ 292 w 11069"/>
                  <a:gd name="connsiteY0" fmla="*/ 182 h 10000"/>
                  <a:gd name="connsiteX1" fmla="*/ 663 w 11069"/>
                  <a:gd name="connsiteY1" fmla="*/ 98 h 10000"/>
                  <a:gd name="connsiteX2" fmla="*/ 985 w 11069"/>
                  <a:gd name="connsiteY2" fmla="*/ 126 h 10000"/>
                  <a:gd name="connsiteX3" fmla="*/ 1418 w 11069"/>
                  <a:gd name="connsiteY3" fmla="*/ 168 h 10000"/>
                  <a:gd name="connsiteX4" fmla="*/ 1802 w 11069"/>
                  <a:gd name="connsiteY4" fmla="*/ 251 h 10000"/>
                  <a:gd name="connsiteX5" fmla="*/ 2087 w 11069"/>
                  <a:gd name="connsiteY5" fmla="*/ 405 h 10000"/>
                  <a:gd name="connsiteX6" fmla="*/ 2384 w 11069"/>
                  <a:gd name="connsiteY6" fmla="*/ 461 h 10000"/>
                  <a:gd name="connsiteX7" fmla="*/ 2594 w 11069"/>
                  <a:gd name="connsiteY7" fmla="*/ 573 h 10000"/>
                  <a:gd name="connsiteX8" fmla="*/ 2879 w 11069"/>
                  <a:gd name="connsiteY8" fmla="*/ 573 h 10000"/>
                  <a:gd name="connsiteX9" fmla="*/ 3386 w 11069"/>
                  <a:gd name="connsiteY9" fmla="*/ 754 h 10000"/>
                  <a:gd name="connsiteX10" fmla="*/ 3559 w 11069"/>
                  <a:gd name="connsiteY10" fmla="*/ 740 h 10000"/>
                  <a:gd name="connsiteX11" fmla="*/ 3881 w 11069"/>
                  <a:gd name="connsiteY11" fmla="*/ 573 h 10000"/>
                  <a:gd name="connsiteX12" fmla="*/ 4240 w 11069"/>
                  <a:gd name="connsiteY12" fmla="*/ 279 h 10000"/>
                  <a:gd name="connsiteX13" fmla="*/ 4463 w 11069"/>
                  <a:gd name="connsiteY13" fmla="*/ 112 h 10000"/>
                  <a:gd name="connsiteX14" fmla="*/ 4735 w 11069"/>
                  <a:gd name="connsiteY14" fmla="*/ 56 h 10000"/>
                  <a:gd name="connsiteX15" fmla="*/ 4809 w 11069"/>
                  <a:gd name="connsiteY15" fmla="*/ 70 h 10000"/>
                  <a:gd name="connsiteX16" fmla="*/ 4636 w 11069"/>
                  <a:gd name="connsiteY16" fmla="*/ 196 h 10000"/>
                  <a:gd name="connsiteX17" fmla="*/ 4747 w 11069"/>
                  <a:gd name="connsiteY17" fmla="*/ 209 h 10000"/>
                  <a:gd name="connsiteX18" fmla="*/ 4983 w 11069"/>
                  <a:gd name="connsiteY18" fmla="*/ 126 h 10000"/>
                  <a:gd name="connsiteX19" fmla="*/ 5057 w 11069"/>
                  <a:gd name="connsiteY19" fmla="*/ 0 h 10000"/>
                  <a:gd name="connsiteX20" fmla="*/ 5230 w 11069"/>
                  <a:gd name="connsiteY20" fmla="*/ 28 h 10000"/>
                  <a:gd name="connsiteX21" fmla="*/ 5738 w 11069"/>
                  <a:gd name="connsiteY21" fmla="*/ 42 h 10000"/>
                  <a:gd name="connsiteX22" fmla="*/ 5898 w 11069"/>
                  <a:gd name="connsiteY22" fmla="*/ 168 h 10000"/>
                  <a:gd name="connsiteX23" fmla="*/ 6047 w 11069"/>
                  <a:gd name="connsiteY23" fmla="*/ 237 h 10000"/>
                  <a:gd name="connsiteX24" fmla="*/ 6096 w 11069"/>
                  <a:gd name="connsiteY24" fmla="*/ 489 h 10000"/>
                  <a:gd name="connsiteX25" fmla="*/ 6171 w 11069"/>
                  <a:gd name="connsiteY25" fmla="*/ 964 h 10000"/>
                  <a:gd name="connsiteX26" fmla="*/ 6196 w 11069"/>
                  <a:gd name="connsiteY26" fmla="*/ 1187 h 10000"/>
                  <a:gd name="connsiteX27" fmla="*/ 6344 w 11069"/>
                  <a:gd name="connsiteY27" fmla="*/ 1341 h 10000"/>
                  <a:gd name="connsiteX28" fmla="*/ 6394 w 11069"/>
                  <a:gd name="connsiteY28" fmla="*/ 1620 h 10000"/>
                  <a:gd name="connsiteX29" fmla="*/ 6418 w 11069"/>
                  <a:gd name="connsiteY29" fmla="*/ 1927 h 10000"/>
                  <a:gd name="connsiteX30" fmla="*/ 6691 w 11069"/>
                  <a:gd name="connsiteY30" fmla="*/ 2556 h 10000"/>
                  <a:gd name="connsiteX31" fmla="*/ 7000 w 11069"/>
                  <a:gd name="connsiteY31" fmla="*/ 3101 h 10000"/>
                  <a:gd name="connsiteX32" fmla="*/ 7408 w 11069"/>
                  <a:gd name="connsiteY32" fmla="*/ 3534 h 10000"/>
                  <a:gd name="connsiteX33" fmla="*/ 7532 w 11069"/>
                  <a:gd name="connsiteY33" fmla="*/ 3631 h 10000"/>
                  <a:gd name="connsiteX34" fmla="*/ 7606 w 11069"/>
                  <a:gd name="connsiteY34" fmla="*/ 4036 h 10000"/>
                  <a:gd name="connsiteX35" fmla="*/ 7866 w 11069"/>
                  <a:gd name="connsiteY35" fmla="*/ 4330 h 10000"/>
                  <a:gd name="connsiteX36" fmla="*/ 8077 w 11069"/>
                  <a:gd name="connsiteY36" fmla="*/ 4972 h 10000"/>
                  <a:gd name="connsiteX37" fmla="*/ 8299 w 11069"/>
                  <a:gd name="connsiteY37" fmla="*/ 5363 h 10000"/>
                  <a:gd name="connsiteX38" fmla="*/ 8535 w 11069"/>
                  <a:gd name="connsiteY38" fmla="*/ 5810 h 10000"/>
                  <a:gd name="connsiteX39" fmla="*/ 8720 w 11069"/>
                  <a:gd name="connsiteY39" fmla="*/ 6075 h 10000"/>
                  <a:gd name="connsiteX40" fmla="*/ 8993 w 11069"/>
                  <a:gd name="connsiteY40" fmla="*/ 6606 h 10000"/>
                  <a:gd name="connsiteX41" fmla="*/ 9240 w 11069"/>
                  <a:gd name="connsiteY41" fmla="*/ 7025 h 10000"/>
                  <a:gd name="connsiteX42" fmla="*/ 9698 w 11069"/>
                  <a:gd name="connsiteY42" fmla="*/ 7514 h 10000"/>
                  <a:gd name="connsiteX43" fmla="*/ 9871 w 11069"/>
                  <a:gd name="connsiteY43" fmla="*/ 7682 h 10000"/>
                  <a:gd name="connsiteX44" fmla="*/ 9797 w 11069"/>
                  <a:gd name="connsiteY44" fmla="*/ 7709 h 10000"/>
                  <a:gd name="connsiteX45" fmla="*/ 9648 w 11069"/>
                  <a:gd name="connsiteY45" fmla="*/ 7723 h 10000"/>
                  <a:gd name="connsiteX46" fmla="*/ 9673 w 11069"/>
                  <a:gd name="connsiteY46" fmla="*/ 7905 h 10000"/>
                  <a:gd name="connsiteX47" fmla="*/ 9723 w 11069"/>
                  <a:gd name="connsiteY47" fmla="*/ 8226 h 10000"/>
                  <a:gd name="connsiteX48" fmla="*/ 9822 w 11069"/>
                  <a:gd name="connsiteY48" fmla="*/ 8547 h 10000"/>
                  <a:gd name="connsiteX49" fmla="*/ 9834 w 11069"/>
                  <a:gd name="connsiteY49" fmla="*/ 8561 h 10000"/>
                  <a:gd name="connsiteX50" fmla="*/ 9834 w 11069"/>
                  <a:gd name="connsiteY50" fmla="*/ 8561 h 10000"/>
                  <a:gd name="connsiteX51" fmla="*/ 10221 w 11069"/>
                  <a:gd name="connsiteY51" fmla="*/ 9005 h 10000"/>
                  <a:gd name="connsiteX52" fmla="*/ 10870 w 11069"/>
                  <a:gd name="connsiteY52" fmla="*/ 9287 h 10000"/>
                  <a:gd name="connsiteX53" fmla="*/ 11066 w 11069"/>
                  <a:gd name="connsiteY53" fmla="*/ 9605 h 10000"/>
                  <a:gd name="connsiteX54" fmla="*/ 8696 w 11069"/>
                  <a:gd name="connsiteY54" fmla="*/ 9553 h 10000"/>
                  <a:gd name="connsiteX55" fmla="*/ 8634 w 11069"/>
                  <a:gd name="connsiteY55" fmla="*/ 9763 h 10000"/>
                  <a:gd name="connsiteX56" fmla="*/ 7854 w 11069"/>
                  <a:gd name="connsiteY56" fmla="*/ 9791 h 10000"/>
                  <a:gd name="connsiteX57" fmla="*/ 7854 w 11069"/>
                  <a:gd name="connsiteY57" fmla="*/ 9791 h 10000"/>
                  <a:gd name="connsiteX58" fmla="*/ 7854 w 11069"/>
                  <a:gd name="connsiteY58" fmla="*/ 9791 h 10000"/>
                  <a:gd name="connsiteX59" fmla="*/ 6480 w 11069"/>
                  <a:gd name="connsiteY59" fmla="*/ 9846 h 10000"/>
                  <a:gd name="connsiteX60" fmla="*/ 6381 w 11069"/>
                  <a:gd name="connsiteY60" fmla="*/ 9665 h 10000"/>
                  <a:gd name="connsiteX61" fmla="*/ 6196 w 11069"/>
                  <a:gd name="connsiteY61" fmla="*/ 9846 h 10000"/>
                  <a:gd name="connsiteX62" fmla="*/ 688 w 11069"/>
                  <a:gd name="connsiteY62" fmla="*/ 10000 h 10000"/>
                  <a:gd name="connsiteX63" fmla="*/ 626 w 11069"/>
                  <a:gd name="connsiteY63" fmla="*/ 8575 h 10000"/>
                  <a:gd name="connsiteX64" fmla="*/ 626 w 11069"/>
                  <a:gd name="connsiteY64" fmla="*/ 8575 h 10000"/>
                  <a:gd name="connsiteX65" fmla="*/ 292 w 11069"/>
                  <a:gd name="connsiteY65" fmla="*/ 2556 h 10000"/>
                  <a:gd name="connsiteX66" fmla="*/ 119 w 11069"/>
                  <a:gd name="connsiteY66" fmla="*/ 1997 h 10000"/>
                  <a:gd name="connsiteX67" fmla="*/ 57 w 11069"/>
                  <a:gd name="connsiteY67" fmla="*/ 1397 h 10000"/>
                  <a:gd name="connsiteX68" fmla="*/ 181 w 11069"/>
                  <a:gd name="connsiteY68" fmla="*/ 880 h 10000"/>
                  <a:gd name="connsiteX69" fmla="*/ 45 w 11069"/>
                  <a:gd name="connsiteY69" fmla="*/ 363 h 10000"/>
                  <a:gd name="connsiteX70" fmla="*/ 181 w 11069"/>
                  <a:gd name="connsiteY70" fmla="*/ 154 h 10000"/>
                  <a:gd name="connsiteX71" fmla="*/ 193 w 11069"/>
                  <a:gd name="connsiteY71" fmla="*/ 140 h 10000"/>
                  <a:gd name="connsiteX72" fmla="*/ 292 w 11069"/>
                  <a:gd name="connsiteY72" fmla="*/ 182 h 10000"/>
                  <a:gd name="connsiteX0" fmla="*/ 292 w 11069"/>
                  <a:gd name="connsiteY0" fmla="*/ 182 h 10000"/>
                  <a:gd name="connsiteX1" fmla="*/ 663 w 11069"/>
                  <a:gd name="connsiteY1" fmla="*/ 98 h 10000"/>
                  <a:gd name="connsiteX2" fmla="*/ 985 w 11069"/>
                  <a:gd name="connsiteY2" fmla="*/ 126 h 10000"/>
                  <a:gd name="connsiteX3" fmla="*/ 1418 w 11069"/>
                  <a:gd name="connsiteY3" fmla="*/ 168 h 10000"/>
                  <a:gd name="connsiteX4" fmla="*/ 1802 w 11069"/>
                  <a:gd name="connsiteY4" fmla="*/ 251 h 10000"/>
                  <a:gd name="connsiteX5" fmla="*/ 2087 w 11069"/>
                  <a:gd name="connsiteY5" fmla="*/ 405 h 10000"/>
                  <a:gd name="connsiteX6" fmla="*/ 2384 w 11069"/>
                  <a:gd name="connsiteY6" fmla="*/ 461 h 10000"/>
                  <a:gd name="connsiteX7" fmla="*/ 2594 w 11069"/>
                  <a:gd name="connsiteY7" fmla="*/ 573 h 10000"/>
                  <a:gd name="connsiteX8" fmla="*/ 2879 w 11069"/>
                  <a:gd name="connsiteY8" fmla="*/ 573 h 10000"/>
                  <a:gd name="connsiteX9" fmla="*/ 3386 w 11069"/>
                  <a:gd name="connsiteY9" fmla="*/ 754 h 10000"/>
                  <a:gd name="connsiteX10" fmla="*/ 3559 w 11069"/>
                  <a:gd name="connsiteY10" fmla="*/ 740 h 10000"/>
                  <a:gd name="connsiteX11" fmla="*/ 3881 w 11069"/>
                  <a:gd name="connsiteY11" fmla="*/ 573 h 10000"/>
                  <a:gd name="connsiteX12" fmla="*/ 4240 w 11069"/>
                  <a:gd name="connsiteY12" fmla="*/ 279 h 10000"/>
                  <a:gd name="connsiteX13" fmla="*/ 4463 w 11069"/>
                  <a:gd name="connsiteY13" fmla="*/ 112 h 10000"/>
                  <a:gd name="connsiteX14" fmla="*/ 4735 w 11069"/>
                  <a:gd name="connsiteY14" fmla="*/ 56 h 10000"/>
                  <a:gd name="connsiteX15" fmla="*/ 4809 w 11069"/>
                  <a:gd name="connsiteY15" fmla="*/ 70 h 10000"/>
                  <a:gd name="connsiteX16" fmla="*/ 4636 w 11069"/>
                  <a:gd name="connsiteY16" fmla="*/ 196 h 10000"/>
                  <a:gd name="connsiteX17" fmla="*/ 4747 w 11069"/>
                  <a:gd name="connsiteY17" fmla="*/ 209 h 10000"/>
                  <a:gd name="connsiteX18" fmla="*/ 4983 w 11069"/>
                  <a:gd name="connsiteY18" fmla="*/ 126 h 10000"/>
                  <a:gd name="connsiteX19" fmla="*/ 5057 w 11069"/>
                  <a:gd name="connsiteY19" fmla="*/ 0 h 10000"/>
                  <a:gd name="connsiteX20" fmla="*/ 5230 w 11069"/>
                  <a:gd name="connsiteY20" fmla="*/ 28 h 10000"/>
                  <a:gd name="connsiteX21" fmla="*/ 5738 w 11069"/>
                  <a:gd name="connsiteY21" fmla="*/ 42 h 10000"/>
                  <a:gd name="connsiteX22" fmla="*/ 5898 w 11069"/>
                  <a:gd name="connsiteY22" fmla="*/ 168 h 10000"/>
                  <a:gd name="connsiteX23" fmla="*/ 6047 w 11069"/>
                  <a:gd name="connsiteY23" fmla="*/ 237 h 10000"/>
                  <a:gd name="connsiteX24" fmla="*/ 6096 w 11069"/>
                  <a:gd name="connsiteY24" fmla="*/ 489 h 10000"/>
                  <a:gd name="connsiteX25" fmla="*/ 6171 w 11069"/>
                  <a:gd name="connsiteY25" fmla="*/ 964 h 10000"/>
                  <a:gd name="connsiteX26" fmla="*/ 6196 w 11069"/>
                  <a:gd name="connsiteY26" fmla="*/ 1187 h 10000"/>
                  <a:gd name="connsiteX27" fmla="*/ 6344 w 11069"/>
                  <a:gd name="connsiteY27" fmla="*/ 1341 h 10000"/>
                  <a:gd name="connsiteX28" fmla="*/ 6394 w 11069"/>
                  <a:gd name="connsiteY28" fmla="*/ 1620 h 10000"/>
                  <a:gd name="connsiteX29" fmla="*/ 6418 w 11069"/>
                  <a:gd name="connsiteY29" fmla="*/ 1927 h 10000"/>
                  <a:gd name="connsiteX30" fmla="*/ 6691 w 11069"/>
                  <a:gd name="connsiteY30" fmla="*/ 2556 h 10000"/>
                  <a:gd name="connsiteX31" fmla="*/ 7000 w 11069"/>
                  <a:gd name="connsiteY31" fmla="*/ 3101 h 10000"/>
                  <a:gd name="connsiteX32" fmla="*/ 7408 w 11069"/>
                  <a:gd name="connsiteY32" fmla="*/ 3534 h 10000"/>
                  <a:gd name="connsiteX33" fmla="*/ 7532 w 11069"/>
                  <a:gd name="connsiteY33" fmla="*/ 3631 h 10000"/>
                  <a:gd name="connsiteX34" fmla="*/ 7606 w 11069"/>
                  <a:gd name="connsiteY34" fmla="*/ 4036 h 10000"/>
                  <a:gd name="connsiteX35" fmla="*/ 7866 w 11069"/>
                  <a:gd name="connsiteY35" fmla="*/ 4330 h 10000"/>
                  <a:gd name="connsiteX36" fmla="*/ 8077 w 11069"/>
                  <a:gd name="connsiteY36" fmla="*/ 4972 h 10000"/>
                  <a:gd name="connsiteX37" fmla="*/ 8299 w 11069"/>
                  <a:gd name="connsiteY37" fmla="*/ 5363 h 10000"/>
                  <a:gd name="connsiteX38" fmla="*/ 8535 w 11069"/>
                  <a:gd name="connsiteY38" fmla="*/ 5810 h 10000"/>
                  <a:gd name="connsiteX39" fmla="*/ 8720 w 11069"/>
                  <a:gd name="connsiteY39" fmla="*/ 6075 h 10000"/>
                  <a:gd name="connsiteX40" fmla="*/ 8993 w 11069"/>
                  <a:gd name="connsiteY40" fmla="*/ 6606 h 10000"/>
                  <a:gd name="connsiteX41" fmla="*/ 9240 w 11069"/>
                  <a:gd name="connsiteY41" fmla="*/ 7025 h 10000"/>
                  <a:gd name="connsiteX42" fmla="*/ 9698 w 11069"/>
                  <a:gd name="connsiteY42" fmla="*/ 7514 h 10000"/>
                  <a:gd name="connsiteX43" fmla="*/ 9871 w 11069"/>
                  <a:gd name="connsiteY43" fmla="*/ 7682 h 10000"/>
                  <a:gd name="connsiteX44" fmla="*/ 9797 w 11069"/>
                  <a:gd name="connsiteY44" fmla="*/ 7709 h 10000"/>
                  <a:gd name="connsiteX45" fmla="*/ 9648 w 11069"/>
                  <a:gd name="connsiteY45" fmla="*/ 7723 h 10000"/>
                  <a:gd name="connsiteX46" fmla="*/ 9673 w 11069"/>
                  <a:gd name="connsiteY46" fmla="*/ 7905 h 10000"/>
                  <a:gd name="connsiteX47" fmla="*/ 9723 w 11069"/>
                  <a:gd name="connsiteY47" fmla="*/ 8226 h 10000"/>
                  <a:gd name="connsiteX48" fmla="*/ 9822 w 11069"/>
                  <a:gd name="connsiteY48" fmla="*/ 8547 h 10000"/>
                  <a:gd name="connsiteX49" fmla="*/ 9834 w 11069"/>
                  <a:gd name="connsiteY49" fmla="*/ 8561 h 10000"/>
                  <a:gd name="connsiteX50" fmla="*/ 9834 w 11069"/>
                  <a:gd name="connsiteY50" fmla="*/ 8561 h 10000"/>
                  <a:gd name="connsiteX51" fmla="*/ 10221 w 11069"/>
                  <a:gd name="connsiteY51" fmla="*/ 9005 h 10000"/>
                  <a:gd name="connsiteX52" fmla="*/ 10870 w 11069"/>
                  <a:gd name="connsiteY52" fmla="*/ 9287 h 10000"/>
                  <a:gd name="connsiteX53" fmla="*/ 11066 w 11069"/>
                  <a:gd name="connsiteY53" fmla="*/ 9605 h 10000"/>
                  <a:gd name="connsiteX54" fmla="*/ 8634 w 11069"/>
                  <a:gd name="connsiteY54" fmla="*/ 9763 h 10000"/>
                  <a:gd name="connsiteX55" fmla="*/ 7854 w 11069"/>
                  <a:gd name="connsiteY55" fmla="*/ 9791 h 10000"/>
                  <a:gd name="connsiteX56" fmla="*/ 7854 w 11069"/>
                  <a:gd name="connsiteY56" fmla="*/ 9791 h 10000"/>
                  <a:gd name="connsiteX57" fmla="*/ 7854 w 11069"/>
                  <a:gd name="connsiteY57" fmla="*/ 9791 h 10000"/>
                  <a:gd name="connsiteX58" fmla="*/ 6480 w 11069"/>
                  <a:gd name="connsiteY58" fmla="*/ 9846 h 10000"/>
                  <a:gd name="connsiteX59" fmla="*/ 6381 w 11069"/>
                  <a:gd name="connsiteY59" fmla="*/ 9665 h 10000"/>
                  <a:gd name="connsiteX60" fmla="*/ 6196 w 11069"/>
                  <a:gd name="connsiteY60" fmla="*/ 9846 h 10000"/>
                  <a:gd name="connsiteX61" fmla="*/ 688 w 11069"/>
                  <a:gd name="connsiteY61" fmla="*/ 10000 h 10000"/>
                  <a:gd name="connsiteX62" fmla="*/ 626 w 11069"/>
                  <a:gd name="connsiteY62" fmla="*/ 8575 h 10000"/>
                  <a:gd name="connsiteX63" fmla="*/ 626 w 11069"/>
                  <a:gd name="connsiteY63" fmla="*/ 8575 h 10000"/>
                  <a:gd name="connsiteX64" fmla="*/ 292 w 11069"/>
                  <a:gd name="connsiteY64" fmla="*/ 2556 h 10000"/>
                  <a:gd name="connsiteX65" fmla="*/ 119 w 11069"/>
                  <a:gd name="connsiteY65" fmla="*/ 1997 h 10000"/>
                  <a:gd name="connsiteX66" fmla="*/ 57 w 11069"/>
                  <a:gd name="connsiteY66" fmla="*/ 1397 h 10000"/>
                  <a:gd name="connsiteX67" fmla="*/ 181 w 11069"/>
                  <a:gd name="connsiteY67" fmla="*/ 880 h 10000"/>
                  <a:gd name="connsiteX68" fmla="*/ 45 w 11069"/>
                  <a:gd name="connsiteY68" fmla="*/ 363 h 10000"/>
                  <a:gd name="connsiteX69" fmla="*/ 181 w 11069"/>
                  <a:gd name="connsiteY69" fmla="*/ 154 h 10000"/>
                  <a:gd name="connsiteX70" fmla="*/ 193 w 11069"/>
                  <a:gd name="connsiteY70" fmla="*/ 140 h 10000"/>
                  <a:gd name="connsiteX71" fmla="*/ 292 w 11069"/>
                  <a:gd name="connsiteY71" fmla="*/ 182 h 10000"/>
                  <a:gd name="connsiteX0" fmla="*/ 292 w 10870"/>
                  <a:gd name="connsiteY0" fmla="*/ 182 h 10000"/>
                  <a:gd name="connsiteX1" fmla="*/ 663 w 10870"/>
                  <a:gd name="connsiteY1" fmla="*/ 98 h 10000"/>
                  <a:gd name="connsiteX2" fmla="*/ 985 w 10870"/>
                  <a:gd name="connsiteY2" fmla="*/ 126 h 10000"/>
                  <a:gd name="connsiteX3" fmla="*/ 1418 w 10870"/>
                  <a:gd name="connsiteY3" fmla="*/ 168 h 10000"/>
                  <a:gd name="connsiteX4" fmla="*/ 1802 w 10870"/>
                  <a:gd name="connsiteY4" fmla="*/ 251 h 10000"/>
                  <a:gd name="connsiteX5" fmla="*/ 2087 w 10870"/>
                  <a:gd name="connsiteY5" fmla="*/ 405 h 10000"/>
                  <a:gd name="connsiteX6" fmla="*/ 2384 w 10870"/>
                  <a:gd name="connsiteY6" fmla="*/ 461 h 10000"/>
                  <a:gd name="connsiteX7" fmla="*/ 2594 w 10870"/>
                  <a:gd name="connsiteY7" fmla="*/ 573 h 10000"/>
                  <a:gd name="connsiteX8" fmla="*/ 2879 w 10870"/>
                  <a:gd name="connsiteY8" fmla="*/ 573 h 10000"/>
                  <a:gd name="connsiteX9" fmla="*/ 3386 w 10870"/>
                  <a:gd name="connsiteY9" fmla="*/ 754 h 10000"/>
                  <a:gd name="connsiteX10" fmla="*/ 3559 w 10870"/>
                  <a:gd name="connsiteY10" fmla="*/ 740 h 10000"/>
                  <a:gd name="connsiteX11" fmla="*/ 3881 w 10870"/>
                  <a:gd name="connsiteY11" fmla="*/ 573 h 10000"/>
                  <a:gd name="connsiteX12" fmla="*/ 4240 w 10870"/>
                  <a:gd name="connsiteY12" fmla="*/ 279 h 10000"/>
                  <a:gd name="connsiteX13" fmla="*/ 4463 w 10870"/>
                  <a:gd name="connsiteY13" fmla="*/ 112 h 10000"/>
                  <a:gd name="connsiteX14" fmla="*/ 4735 w 10870"/>
                  <a:gd name="connsiteY14" fmla="*/ 56 h 10000"/>
                  <a:gd name="connsiteX15" fmla="*/ 4809 w 10870"/>
                  <a:gd name="connsiteY15" fmla="*/ 70 h 10000"/>
                  <a:gd name="connsiteX16" fmla="*/ 4636 w 10870"/>
                  <a:gd name="connsiteY16" fmla="*/ 196 h 10000"/>
                  <a:gd name="connsiteX17" fmla="*/ 4747 w 10870"/>
                  <a:gd name="connsiteY17" fmla="*/ 209 h 10000"/>
                  <a:gd name="connsiteX18" fmla="*/ 4983 w 10870"/>
                  <a:gd name="connsiteY18" fmla="*/ 126 h 10000"/>
                  <a:gd name="connsiteX19" fmla="*/ 5057 w 10870"/>
                  <a:gd name="connsiteY19" fmla="*/ 0 h 10000"/>
                  <a:gd name="connsiteX20" fmla="*/ 5230 w 10870"/>
                  <a:gd name="connsiteY20" fmla="*/ 28 h 10000"/>
                  <a:gd name="connsiteX21" fmla="*/ 5738 w 10870"/>
                  <a:gd name="connsiteY21" fmla="*/ 42 h 10000"/>
                  <a:gd name="connsiteX22" fmla="*/ 5898 w 10870"/>
                  <a:gd name="connsiteY22" fmla="*/ 168 h 10000"/>
                  <a:gd name="connsiteX23" fmla="*/ 6047 w 10870"/>
                  <a:gd name="connsiteY23" fmla="*/ 237 h 10000"/>
                  <a:gd name="connsiteX24" fmla="*/ 6096 w 10870"/>
                  <a:gd name="connsiteY24" fmla="*/ 489 h 10000"/>
                  <a:gd name="connsiteX25" fmla="*/ 6171 w 10870"/>
                  <a:gd name="connsiteY25" fmla="*/ 964 h 10000"/>
                  <a:gd name="connsiteX26" fmla="*/ 6196 w 10870"/>
                  <a:gd name="connsiteY26" fmla="*/ 1187 h 10000"/>
                  <a:gd name="connsiteX27" fmla="*/ 6344 w 10870"/>
                  <a:gd name="connsiteY27" fmla="*/ 1341 h 10000"/>
                  <a:gd name="connsiteX28" fmla="*/ 6394 w 10870"/>
                  <a:gd name="connsiteY28" fmla="*/ 1620 h 10000"/>
                  <a:gd name="connsiteX29" fmla="*/ 6418 w 10870"/>
                  <a:gd name="connsiteY29" fmla="*/ 1927 h 10000"/>
                  <a:gd name="connsiteX30" fmla="*/ 6691 w 10870"/>
                  <a:gd name="connsiteY30" fmla="*/ 2556 h 10000"/>
                  <a:gd name="connsiteX31" fmla="*/ 7000 w 10870"/>
                  <a:gd name="connsiteY31" fmla="*/ 3101 h 10000"/>
                  <a:gd name="connsiteX32" fmla="*/ 7408 w 10870"/>
                  <a:gd name="connsiteY32" fmla="*/ 3534 h 10000"/>
                  <a:gd name="connsiteX33" fmla="*/ 7532 w 10870"/>
                  <a:gd name="connsiteY33" fmla="*/ 3631 h 10000"/>
                  <a:gd name="connsiteX34" fmla="*/ 7606 w 10870"/>
                  <a:gd name="connsiteY34" fmla="*/ 4036 h 10000"/>
                  <a:gd name="connsiteX35" fmla="*/ 7866 w 10870"/>
                  <a:gd name="connsiteY35" fmla="*/ 4330 h 10000"/>
                  <a:gd name="connsiteX36" fmla="*/ 8077 w 10870"/>
                  <a:gd name="connsiteY36" fmla="*/ 4972 h 10000"/>
                  <a:gd name="connsiteX37" fmla="*/ 8299 w 10870"/>
                  <a:gd name="connsiteY37" fmla="*/ 5363 h 10000"/>
                  <a:gd name="connsiteX38" fmla="*/ 8535 w 10870"/>
                  <a:gd name="connsiteY38" fmla="*/ 5810 h 10000"/>
                  <a:gd name="connsiteX39" fmla="*/ 8720 w 10870"/>
                  <a:gd name="connsiteY39" fmla="*/ 6075 h 10000"/>
                  <a:gd name="connsiteX40" fmla="*/ 8993 w 10870"/>
                  <a:gd name="connsiteY40" fmla="*/ 6606 h 10000"/>
                  <a:gd name="connsiteX41" fmla="*/ 9240 w 10870"/>
                  <a:gd name="connsiteY41" fmla="*/ 7025 h 10000"/>
                  <a:gd name="connsiteX42" fmla="*/ 9698 w 10870"/>
                  <a:gd name="connsiteY42" fmla="*/ 7514 h 10000"/>
                  <a:gd name="connsiteX43" fmla="*/ 9871 w 10870"/>
                  <a:gd name="connsiteY43" fmla="*/ 7682 h 10000"/>
                  <a:gd name="connsiteX44" fmla="*/ 9797 w 10870"/>
                  <a:gd name="connsiteY44" fmla="*/ 7709 h 10000"/>
                  <a:gd name="connsiteX45" fmla="*/ 9648 w 10870"/>
                  <a:gd name="connsiteY45" fmla="*/ 7723 h 10000"/>
                  <a:gd name="connsiteX46" fmla="*/ 9673 w 10870"/>
                  <a:gd name="connsiteY46" fmla="*/ 7905 h 10000"/>
                  <a:gd name="connsiteX47" fmla="*/ 9723 w 10870"/>
                  <a:gd name="connsiteY47" fmla="*/ 8226 h 10000"/>
                  <a:gd name="connsiteX48" fmla="*/ 9822 w 10870"/>
                  <a:gd name="connsiteY48" fmla="*/ 8547 h 10000"/>
                  <a:gd name="connsiteX49" fmla="*/ 9834 w 10870"/>
                  <a:gd name="connsiteY49" fmla="*/ 8561 h 10000"/>
                  <a:gd name="connsiteX50" fmla="*/ 9834 w 10870"/>
                  <a:gd name="connsiteY50" fmla="*/ 8561 h 10000"/>
                  <a:gd name="connsiteX51" fmla="*/ 10221 w 10870"/>
                  <a:gd name="connsiteY51" fmla="*/ 9005 h 10000"/>
                  <a:gd name="connsiteX52" fmla="*/ 10870 w 10870"/>
                  <a:gd name="connsiteY52" fmla="*/ 9287 h 10000"/>
                  <a:gd name="connsiteX53" fmla="*/ 9501 w 10870"/>
                  <a:gd name="connsiteY53" fmla="*/ 9303 h 10000"/>
                  <a:gd name="connsiteX54" fmla="*/ 8634 w 10870"/>
                  <a:gd name="connsiteY54" fmla="*/ 9763 h 10000"/>
                  <a:gd name="connsiteX55" fmla="*/ 7854 w 10870"/>
                  <a:gd name="connsiteY55" fmla="*/ 9791 h 10000"/>
                  <a:gd name="connsiteX56" fmla="*/ 7854 w 10870"/>
                  <a:gd name="connsiteY56" fmla="*/ 9791 h 10000"/>
                  <a:gd name="connsiteX57" fmla="*/ 7854 w 10870"/>
                  <a:gd name="connsiteY57" fmla="*/ 9791 h 10000"/>
                  <a:gd name="connsiteX58" fmla="*/ 6480 w 10870"/>
                  <a:gd name="connsiteY58" fmla="*/ 9846 h 10000"/>
                  <a:gd name="connsiteX59" fmla="*/ 6381 w 10870"/>
                  <a:gd name="connsiteY59" fmla="*/ 9665 h 10000"/>
                  <a:gd name="connsiteX60" fmla="*/ 6196 w 10870"/>
                  <a:gd name="connsiteY60" fmla="*/ 9846 h 10000"/>
                  <a:gd name="connsiteX61" fmla="*/ 688 w 10870"/>
                  <a:gd name="connsiteY61" fmla="*/ 10000 h 10000"/>
                  <a:gd name="connsiteX62" fmla="*/ 626 w 10870"/>
                  <a:gd name="connsiteY62" fmla="*/ 8575 h 10000"/>
                  <a:gd name="connsiteX63" fmla="*/ 626 w 10870"/>
                  <a:gd name="connsiteY63" fmla="*/ 8575 h 10000"/>
                  <a:gd name="connsiteX64" fmla="*/ 292 w 10870"/>
                  <a:gd name="connsiteY64" fmla="*/ 2556 h 10000"/>
                  <a:gd name="connsiteX65" fmla="*/ 119 w 10870"/>
                  <a:gd name="connsiteY65" fmla="*/ 1997 h 10000"/>
                  <a:gd name="connsiteX66" fmla="*/ 57 w 10870"/>
                  <a:gd name="connsiteY66" fmla="*/ 1397 h 10000"/>
                  <a:gd name="connsiteX67" fmla="*/ 181 w 10870"/>
                  <a:gd name="connsiteY67" fmla="*/ 880 h 10000"/>
                  <a:gd name="connsiteX68" fmla="*/ 45 w 10870"/>
                  <a:gd name="connsiteY68" fmla="*/ 363 h 10000"/>
                  <a:gd name="connsiteX69" fmla="*/ 181 w 10870"/>
                  <a:gd name="connsiteY69" fmla="*/ 154 h 10000"/>
                  <a:gd name="connsiteX70" fmla="*/ 193 w 10870"/>
                  <a:gd name="connsiteY70" fmla="*/ 140 h 10000"/>
                  <a:gd name="connsiteX71" fmla="*/ 292 w 10870"/>
                  <a:gd name="connsiteY71" fmla="*/ 182 h 10000"/>
                  <a:gd name="connsiteX0" fmla="*/ 292 w 10230"/>
                  <a:gd name="connsiteY0" fmla="*/ 182 h 10000"/>
                  <a:gd name="connsiteX1" fmla="*/ 663 w 10230"/>
                  <a:gd name="connsiteY1" fmla="*/ 98 h 10000"/>
                  <a:gd name="connsiteX2" fmla="*/ 985 w 10230"/>
                  <a:gd name="connsiteY2" fmla="*/ 126 h 10000"/>
                  <a:gd name="connsiteX3" fmla="*/ 1418 w 10230"/>
                  <a:gd name="connsiteY3" fmla="*/ 168 h 10000"/>
                  <a:gd name="connsiteX4" fmla="*/ 1802 w 10230"/>
                  <a:gd name="connsiteY4" fmla="*/ 251 h 10000"/>
                  <a:gd name="connsiteX5" fmla="*/ 2087 w 10230"/>
                  <a:gd name="connsiteY5" fmla="*/ 405 h 10000"/>
                  <a:gd name="connsiteX6" fmla="*/ 2384 w 10230"/>
                  <a:gd name="connsiteY6" fmla="*/ 461 h 10000"/>
                  <a:gd name="connsiteX7" fmla="*/ 2594 w 10230"/>
                  <a:gd name="connsiteY7" fmla="*/ 573 h 10000"/>
                  <a:gd name="connsiteX8" fmla="*/ 2879 w 10230"/>
                  <a:gd name="connsiteY8" fmla="*/ 573 h 10000"/>
                  <a:gd name="connsiteX9" fmla="*/ 3386 w 10230"/>
                  <a:gd name="connsiteY9" fmla="*/ 754 h 10000"/>
                  <a:gd name="connsiteX10" fmla="*/ 3559 w 10230"/>
                  <a:gd name="connsiteY10" fmla="*/ 740 h 10000"/>
                  <a:gd name="connsiteX11" fmla="*/ 3881 w 10230"/>
                  <a:gd name="connsiteY11" fmla="*/ 573 h 10000"/>
                  <a:gd name="connsiteX12" fmla="*/ 4240 w 10230"/>
                  <a:gd name="connsiteY12" fmla="*/ 279 h 10000"/>
                  <a:gd name="connsiteX13" fmla="*/ 4463 w 10230"/>
                  <a:gd name="connsiteY13" fmla="*/ 112 h 10000"/>
                  <a:gd name="connsiteX14" fmla="*/ 4735 w 10230"/>
                  <a:gd name="connsiteY14" fmla="*/ 56 h 10000"/>
                  <a:gd name="connsiteX15" fmla="*/ 4809 w 10230"/>
                  <a:gd name="connsiteY15" fmla="*/ 70 h 10000"/>
                  <a:gd name="connsiteX16" fmla="*/ 4636 w 10230"/>
                  <a:gd name="connsiteY16" fmla="*/ 196 h 10000"/>
                  <a:gd name="connsiteX17" fmla="*/ 4747 w 10230"/>
                  <a:gd name="connsiteY17" fmla="*/ 209 h 10000"/>
                  <a:gd name="connsiteX18" fmla="*/ 4983 w 10230"/>
                  <a:gd name="connsiteY18" fmla="*/ 126 h 10000"/>
                  <a:gd name="connsiteX19" fmla="*/ 5057 w 10230"/>
                  <a:gd name="connsiteY19" fmla="*/ 0 h 10000"/>
                  <a:gd name="connsiteX20" fmla="*/ 5230 w 10230"/>
                  <a:gd name="connsiteY20" fmla="*/ 28 h 10000"/>
                  <a:gd name="connsiteX21" fmla="*/ 5738 w 10230"/>
                  <a:gd name="connsiteY21" fmla="*/ 42 h 10000"/>
                  <a:gd name="connsiteX22" fmla="*/ 5898 w 10230"/>
                  <a:gd name="connsiteY22" fmla="*/ 168 h 10000"/>
                  <a:gd name="connsiteX23" fmla="*/ 6047 w 10230"/>
                  <a:gd name="connsiteY23" fmla="*/ 237 h 10000"/>
                  <a:gd name="connsiteX24" fmla="*/ 6096 w 10230"/>
                  <a:gd name="connsiteY24" fmla="*/ 489 h 10000"/>
                  <a:gd name="connsiteX25" fmla="*/ 6171 w 10230"/>
                  <a:gd name="connsiteY25" fmla="*/ 964 h 10000"/>
                  <a:gd name="connsiteX26" fmla="*/ 6196 w 10230"/>
                  <a:gd name="connsiteY26" fmla="*/ 1187 h 10000"/>
                  <a:gd name="connsiteX27" fmla="*/ 6344 w 10230"/>
                  <a:gd name="connsiteY27" fmla="*/ 1341 h 10000"/>
                  <a:gd name="connsiteX28" fmla="*/ 6394 w 10230"/>
                  <a:gd name="connsiteY28" fmla="*/ 1620 h 10000"/>
                  <a:gd name="connsiteX29" fmla="*/ 6418 w 10230"/>
                  <a:gd name="connsiteY29" fmla="*/ 1927 h 10000"/>
                  <a:gd name="connsiteX30" fmla="*/ 6691 w 10230"/>
                  <a:gd name="connsiteY30" fmla="*/ 2556 h 10000"/>
                  <a:gd name="connsiteX31" fmla="*/ 7000 w 10230"/>
                  <a:gd name="connsiteY31" fmla="*/ 3101 h 10000"/>
                  <a:gd name="connsiteX32" fmla="*/ 7408 w 10230"/>
                  <a:gd name="connsiteY32" fmla="*/ 3534 h 10000"/>
                  <a:gd name="connsiteX33" fmla="*/ 7532 w 10230"/>
                  <a:gd name="connsiteY33" fmla="*/ 3631 h 10000"/>
                  <a:gd name="connsiteX34" fmla="*/ 7606 w 10230"/>
                  <a:gd name="connsiteY34" fmla="*/ 4036 h 10000"/>
                  <a:gd name="connsiteX35" fmla="*/ 7866 w 10230"/>
                  <a:gd name="connsiteY35" fmla="*/ 4330 h 10000"/>
                  <a:gd name="connsiteX36" fmla="*/ 8077 w 10230"/>
                  <a:gd name="connsiteY36" fmla="*/ 4972 h 10000"/>
                  <a:gd name="connsiteX37" fmla="*/ 8299 w 10230"/>
                  <a:gd name="connsiteY37" fmla="*/ 5363 h 10000"/>
                  <a:gd name="connsiteX38" fmla="*/ 8535 w 10230"/>
                  <a:gd name="connsiteY38" fmla="*/ 5810 h 10000"/>
                  <a:gd name="connsiteX39" fmla="*/ 8720 w 10230"/>
                  <a:gd name="connsiteY39" fmla="*/ 6075 h 10000"/>
                  <a:gd name="connsiteX40" fmla="*/ 8993 w 10230"/>
                  <a:gd name="connsiteY40" fmla="*/ 6606 h 10000"/>
                  <a:gd name="connsiteX41" fmla="*/ 9240 w 10230"/>
                  <a:gd name="connsiteY41" fmla="*/ 7025 h 10000"/>
                  <a:gd name="connsiteX42" fmla="*/ 9698 w 10230"/>
                  <a:gd name="connsiteY42" fmla="*/ 7514 h 10000"/>
                  <a:gd name="connsiteX43" fmla="*/ 9871 w 10230"/>
                  <a:gd name="connsiteY43" fmla="*/ 7682 h 10000"/>
                  <a:gd name="connsiteX44" fmla="*/ 9797 w 10230"/>
                  <a:gd name="connsiteY44" fmla="*/ 7709 h 10000"/>
                  <a:gd name="connsiteX45" fmla="*/ 9648 w 10230"/>
                  <a:gd name="connsiteY45" fmla="*/ 7723 h 10000"/>
                  <a:gd name="connsiteX46" fmla="*/ 9673 w 10230"/>
                  <a:gd name="connsiteY46" fmla="*/ 7905 h 10000"/>
                  <a:gd name="connsiteX47" fmla="*/ 9723 w 10230"/>
                  <a:gd name="connsiteY47" fmla="*/ 8226 h 10000"/>
                  <a:gd name="connsiteX48" fmla="*/ 9822 w 10230"/>
                  <a:gd name="connsiteY48" fmla="*/ 8547 h 10000"/>
                  <a:gd name="connsiteX49" fmla="*/ 9834 w 10230"/>
                  <a:gd name="connsiteY49" fmla="*/ 8561 h 10000"/>
                  <a:gd name="connsiteX50" fmla="*/ 9834 w 10230"/>
                  <a:gd name="connsiteY50" fmla="*/ 8561 h 10000"/>
                  <a:gd name="connsiteX51" fmla="*/ 10221 w 10230"/>
                  <a:gd name="connsiteY51" fmla="*/ 9005 h 10000"/>
                  <a:gd name="connsiteX52" fmla="*/ 9801 w 10230"/>
                  <a:gd name="connsiteY52" fmla="*/ 8813 h 10000"/>
                  <a:gd name="connsiteX53" fmla="*/ 9501 w 10230"/>
                  <a:gd name="connsiteY53" fmla="*/ 9303 h 10000"/>
                  <a:gd name="connsiteX54" fmla="*/ 8634 w 10230"/>
                  <a:gd name="connsiteY54" fmla="*/ 9763 h 10000"/>
                  <a:gd name="connsiteX55" fmla="*/ 7854 w 10230"/>
                  <a:gd name="connsiteY55" fmla="*/ 9791 h 10000"/>
                  <a:gd name="connsiteX56" fmla="*/ 7854 w 10230"/>
                  <a:gd name="connsiteY56" fmla="*/ 9791 h 10000"/>
                  <a:gd name="connsiteX57" fmla="*/ 7854 w 10230"/>
                  <a:gd name="connsiteY57" fmla="*/ 9791 h 10000"/>
                  <a:gd name="connsiteX58" fmla="*/ 6480 w 10230"/>
                  <a:gd name="connsiteY58" fmla="*/ 9846 h 10000"/>
                  <a:gd name="connsiteX59" fmla="*/ 6381 w 10230"/>
                  <a:gd name="connsiteY59" fmla="*/ 9665 h 10000"/>
                  <a:gd name="connsiteX60" fmla="*/ 6196 w 10230"/>
                  <a:gd name="connsiteY60" fmla="*/ 9846 h 10000"/>
                  <a:gd name="connsiteX61" fmla="*/ 688 w 10230"/>
                  <a:gd name="connsiteY61" fmla="*/ 10000 h 10000"/>
                  <a:gd name="connsiteX62" fmla="*/ 626 w 10230"/>
                  <a:gd name="connsiteY62" fmla="*/ 8575 h 10000"/>
                  <a:gd name="connsiteX63" fmla="*/ 626 w 10230"/>
                  <a:gd name="connsiteY63" fmla="*/ 8575 h 10000"/>
                  <a:gd name="connsiteX64" fmla="*/ 292 w 10230"/>
                  <a:gd name="connsiteY64" fmla="*/ 2556 h 10000"/>
                  <a:gd name="connsiteX65" fmla="*/ 119 w 10230"/>
                  <a:gd name="connsiteY65" fmla="*/ 1997 h 10000"/>
                  <a:gd name="connsiteX66" fmla="*/ 57 w 10230"/>
                  <a:gd name="connsiteY66" fmla="*/ 1397 h 10000"/>
                  <a:gd name="connsiteX67" fmla="*/ 181 w 10230"/>
                  <a:gd name="connsiteY67" fmla="*/ 880 h 10000"/>
                  <a:gd name="connsiteX68" fmla="*/ 45 w 10230"/>
                  <a:gd name="connsiteY68" fmla="*/ 363 h 10000"/>
                  <a:gd name="connsiteX69" fmla="*/ 181 w 10230"/>
                  <a:gd name="connsiteY69" fmla="*/ 154 h 10000"/>
                  <a:gd name="connsiteX70" fmla="*/ 193 w 10230"/>
                  <a:gd name="connsiteY70" fmla="*/ 140 h 10000"/>
                  <a:gd name="connsiteX71" fmla="*/ 292 w 10230"/>
                  <a:gd name="connsiteY71" fmla="*/ 182 h 10000"/>
                  <a:gd name="connsiteX0" fmla="*/ 292 w 10008"/>
                  <a:gd name="connsiteY0" fmla="*/ 182 h 10000"/>
                  <a:gd name="connsiteX1" fmla="*/ 663 w 10008"/>
                  <a:gd name="connsiteY1" fmla="*/ 98 h 10000"/>
                  <a:gd name="connsiteX2" fmla="*/ 985 w 10008"/>
                  <a:gd name="connsiteY2" fmla="*/ 126 h 10000"/>
                  <a:gd name="connsiteX3" fmla="*/ 1418 w 10008"/>
                  <a:gd name="connsiteY3" fmla="*/ 168 h 10000"/>
                  <a:gd name="connsiteX4" fmla="*/ 1802 w 10008"/>
                  <a:gd name="connsiteY4" fmla="*/ 251 h 10000"/>
                  <a:gd name="connsiteX5" fmla="*/ 2087 w 10008"/>
                  <a:gd name="connsiteY5" fmla="*/ 405 h 10000"/>
                  <a:gd name="connsiteX6" fmla="*/ 2384 w 10008"/>
                  <a:gd name="connsiteY6" fmla="*/ 461 h 10000"/>
                  <a:gd name="connsiteX7" fmla="*/ 2594 w 10008"/>
                  <a:gd name="connsiteY7" fmla="*/ 573 h 10000"/>
                  <a:gd name="connsiteX8" fmla="*/ 2879 w 10008"/>
                  <a:gd name="connsiteY8" fmla="*/ 573 h 10000"/>
                  <a:gd name="connsiteX9" fmla="*/ 3386 w 10008"/>
                  <a:gd name="connsiteY9" fmla="*/ 754 h 10000"/>
                  <a:gd name="connsiteX10" fmla="*/ 3559 w 10008"/>
                  <a:gd name="connsiteY10" fmla="*/ 740 h 10000"/>
                  <a:gd name="connsiteX11" fmla="*/ 3881 w 10008"/>
                  <a:gd name="connsiteY11" fmla="*/ 573 h 10000"/>
                  <a:gd name="connsiteX12" fmla="*/ 4240 w 10008"/>
                  <a:gd name="connsiteY12" fmla="*/ 279 h 10000"/>
                  <a:gd name="connsiteX13" fmla="*/ 4463 w 10008"/>
                  <a:gd name="connsiteY13" fmla="*/ 112 h 10000"/>
                  <a:gd name="connsiteX14" fmla="*/ 4735 w 10008"/>
                  <a:gd name="connsiteY14" fmla="*/ 56 h 10000"/>
                  <a:gd name="connsiteX15" fmla="*/ 4809 w 10008"/>
                  <a:gd name="connsiteY15" fmla="*/ 70 h 10000"/>
                  <a:gd name="connsiteX16" fmla="*/ 4636 w 10008"/>
                  <a:gd name="connsiteY16" fmla="*/ 196 h 10000"/>
                  <a:gd name="connsiteX17" fmla="*/ 4747 w 10008"/>
                  <a:gd name="connsiteY17" fmla="*/ 209 h 10000"/>
                  <a:gd name="connsiteX18" fmla="*/ 4983 w 10008"/>
                  <a:gd name="connsiteY18" fmla="*/ 126 h 10000"/>
                  <a:gd name="connsiteX19" fmla="*/ 5057 w 10008"/>
                  <a:gd name="connsiteY19" fmla="*/ 0 h 10000"/>
                  <a:gd name="connsiteX20" fmla="*/ 5230 w 10008"/>
                  <a:gd name="connsiteY20" fmla="*/ 28 h 10000"/>
                  <a:gd name="connsiteX21" fmla="*/ 5738 w 10008"/>
                  <a:gd name="connsiteY21" fmla="*/ 42 h 10000"/>
                  <a:gd name="connsiteX22" fmla="*/ 5898 w 10008"/>
                  <a:gd name="connsiteY22" fmla="*/ 168 h 10000"/>
                  <a:gd name="connsiteX23" fmla="*/ 6047 w 10008"/>
                  <a:gd name="connsiteY23" fmla="*/ 237 h 10000"/>
                  <a:gd name="connsiteX24" fmla="*/ 6096 w 10008"/>
                  <a:gd name="connsiteY24" fmla="*/ 489 h 10000"/>
                  <a:gd name="connsiteX25" fmla="*/ 6171 w 10008"/>
                  <a:gd name="connsiteY25" fmla="*/ 964 h 10000"/>
                  <a:gd name="connsiteX26" fmla="*/ 6196 w 10008"/>
                  <a:gd name="connsiteY26" fmla="*/ 1187 h 10000"/>
                  <a:gd name="connsiteX27" fmla="*/ 6344 w 10008"/>
                  <a:gd name="connsiteY27" fmla="*/ 1341 h 10000"/>
                  <a:gd name="connsiteX28" fmla="*/ 6394 w 10008"/>
                  <a:gd name="connsiteY28" fmla="*/ 1620 h 10000"/>
                  <a:gd name="connsiteX29" fmla="*/ 6418 w 10008"/>
                  <a:gd name="connsiteY29" fmla="*/ 1927 h 10000"/>
                  <a:gd name="connsiteX30" fmla="*/ 6691 w 10008"/>
                  <a:gd name="connsiteY30" fmla="*/ 2556 h 10000"/>
                  <a:gd name="connsiteX31" fmla="*/ 7000 w 10008"/>
                  <a:gd name="connsiteY31" fmla="*/ 3101 h 10000"/>
                  <a:gd name="connsiteX32" fmla="*/ 7408 w 10008"/>
                  <a:gd name="connsiteY32" fmla="*/ 3534 h 10000"/>
                  <a:gd name="connsiteX33" fmla="*/ 7532 w 10008"/>
                  <a:gd name="connsiteY33" fmla="*/ 3631 h 10000"/>
                  <a:gd name="connsiteX34" fmla="*/ 7606 w 10008"/>
                  <a:gd name="connsiteY34" fmla="*/ 4036 h 10000"/>
                  <a:gd name="connsiteX35" fmla="*/ 7866 w 10008"/>
                  <a:gd name="connsiteY35" fmla="*/ 4330 h 10000"/>
                  <a:gd name="connsiteX36" fmla="*/ 8077 w 10008"/>
                  <a:gd name="connsiteY36" fmla="*/ 4972 h 10000"/>
                  <a:gd name="connsiteX37" fmla="*/ 8299 w 10008"/>
                  <a:gd name="connsiteY37" fmla="*/ 5363 h 10000"/>
                  <a:gd name="connsiteX38" fmla="*/ 8535 w 10008"/>
                  <a:gd name="connsiteY38" fmla="*/ 5810 h 10000"/>
                  <a:gd name="connsiteX39" fmla="*/ 8720 w 10008"/>
                  <a:gd name="connsiteY39" fmla="*/ 6075 h 10000"/>
                  <a:gd name="connsiteX40" fmla="*/ 8993 w 10008"/>
                  <a:gd name="connsiteY40" fmla="*/ 6606 h 10000"/>
                  <a:gd name="connsiteX41" fmla="*/ 9240 w 10008"/>
                  <a:gd name="connsiteY41" fmla="*/ 7025 h 10000"/>
                  <a:gd name="connsiteX42" fmla="*/ 9698 w 10008"/>
                  <a:gd name="connsiteY42" fmla="*/ 7514 h 10000"/>
                  <a:gd name="connsiteX43" fmla="*/ 9871 w 10008"/>
                  <a:gd name="connsiteY43" fmla="*/ 7682 h 10000"/>
                  <a:gd name="connsiteX44" fmla="*/ 9797 w 10008"/>
                  <a:gd name="connsiteY44" fmla="*/ 7709 h 10000"/>
                  <a:gd name="connsiteX45" fmla="*/ 9648 w 10008"/>
                  <a:gd name="connsiteY45" fmla="*/ 7723 h 10000"/>
                  <a:gd name="connsiteX46" fmla="*/ 9673 w 10008"/>
                  <a:gd name="connsiteY46" fmla="*/ 7905 h 10000"/>
                  <a:gd name="connsiteX47" fmla="*/ 9723 w 10008"/>
                  <a:gd name="connsiteY47" fmla="*/ 8226 h 10000"/>
                  <a:gd name="connsiteX48" fmla="*/ 9822 w 10008"/>
                  <a:gd name="connsiteY48" fmla="*/ 8547 h 10000"/>
                  <a:gd name="connsiteX49" fmla="*/ 9834 w 10008"/>
                  <a:gd name="connsiteY49" fmla="*/ 8561 h 10000"/>
                  <a:gd name="connsiteX50" fmla="*/ 9834 w 10008"/>
                  <a:gd name="connsiteY50" fmla="*/ 8561 h 10000"/>
                  <a:gd name="connsiteX51" fmla="*/ 9992 w 10008"/>
                  <a:gd name="connsiteY51" fmla="*/ 8746 h 10000"/>
                  <a:gd name="connsiteX52" fmla="*/ 9801 w 10008"/>
                  <a:gd name="connsiteY52" fmla="*/ 8813 h 10000"/>
                  <a:gd name="connsiteX53" fmla="*/ 9501 w 10008"/>
                  <a:gd name="connsiteY53" fmla="*/ 9303 h 10000"/>
                  <a:gd name="connsiteX54" fmla="*/ 8634 w 10008"/>
                  <a:gd name="connsiteY54" fmla="*/ 9763 h 10000"/>
                  <a:gd name="connsiteX55" fmla="*/ 7854 w 10008"/>
                  <a:gd name="connsiteY55" fmla="*/ 9791 h 10000"/>
                  <a:gd name="connsiteX56" fmla="*/ 7854 w 10008"/>
                  <a:gd name="connsiteY56" fmla="*/ 9791 h 10000"/>
                  <a:gd name="connsiteX57" fmla="*/ 7854 w 10008"/>
                  <a:gd name="connsiteY57" fmla="*/ 9791 h 10000"/>
                  <a:gd name="connsiteX58" fmla="*/ 6480 w 10008"/>
                  <a:gd name="connsiteY58" fmla="*/ 9846 h 10000"/>
                  <a:gd name="connsiteX59" fmla="*/ 6381 w 10008"/>
                  <a:gd name="connsiteY59" fmla="*/ 9665 h 10000"/>
                  <a:gd name="connsiteX60" fmla="*/ 6196 w 10008"/>
                  <a:gd name="connsiteY60" fmla="*/ 9846 h 10000"/>
                  <a:gd name="connsiteX61" fmla="*/ 688 w 10008"/>
                  <a:gd name="connsiteY61" fmla="*/ 10000 h 10000"/>
                  <a:gd name="connsiteX62" fmla="*/ 626 w 10008"/>
                  <a:gd name="connsiteY62" fmla="*/ 8575 h 10000"/>
                  <a:gd name="connsiteX63" fmla="*/ 626 w 10008"/>
                  <a:gd name="connsiteY63" fmla="*/ 8575 h 10000"/>
                  <a:gd name="connsiteX64" fmla="*/ 292 w 10008"/>
                  <a:gd name="connsiteY64" fmla="*/ 2556 h 10000"/>
                  <a:gd name="connsiteX65" fmla="*/ 119 w 10008"/>
                  <a:gd name="connsiteY65" fmla="*/ 1997 h 10000"/>
                  <a:gd name="connsiteX66" fmla="*/ 57 w 10008"/>
                  <a:gd name="connsiteY66" fmla="*/ 1397 h 10000"/>
                  <a:gd name="connsiteX67" fmla="*/ 181 w 10008"/>
                  <a:gd name="connsiteY67" fmla="*/ 880 h 10000"/>
                  <a:gd name="connsiteX68" fmla="*/ 45 w 10008"/>
                  <a:gd name="connsiteY68" fmla="*/ 363 h 10000"/>
                  <a:gd name="connsiteX69" fmla="*/ 181 w 10008"/>
                  <a:gd name="connsiteY69" fmla="*/ 154 h 10000"/>
                  <a:gd name="connsiteX70" fmla="*/ 193 w 10008"/>
                  <a:gd name="connsiteY70" fmla="*/ 140 h 10000"/>
                  <a:gd name="connsiteX71" fmla="*/ 292 w 10008"/>
                  <a:gd name="connsiteY71" fmla="*/ 18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10008" h="10000">
                    <a:moveTo>
                      <a:pt x="292" y="182"/>
                    </a:moveTo>
                    <a:cubicBezTo>
                      <a:pt x="416" y="168"/>
                      <a:pt x="540" y="98"/>
                      <a:pt x="663" y="98"/>
                    </a:cubicBezTo>
                    <a:cubicBezTo>
                      <a:pt x="775" y="70"/>
                      <a:pt x="874" y="98"/>
                      <a:pt x="985" y="126"/>
                    </a:cubicBezTo>
                    <a:cubicBezTo>
                      <a:pt x="1121" y="154"/>
                      <a:pt x="1270" y="154"/>
                      <a:pt x="1418" y="168"/>
                    </a:cubicBezTo>
                    <a:cubicBezTo>
                      <a:pt x="1542" y="182"/>
                      <a:pt x="1678" y="209"/>
                      <a:pt x="1802" y="251"/>
                    </a:cubicBezTo>
                    <a:cubicBezTo>
                      <a:pt x="1901" y="279"/>
                      <a:pt x="2000" y="349"/>
                      <a:pt x="2087" y="405"/>
                    </a:cubicBezTo>
                    <a:cubicBezTo>
                      <a:pt x="2186" y="447"/>
                      <a:pt x="2285" y="433"/>
                      <a:pt x="2384" y="461"/>
                    </a:cubicBezTo>
                    <a:cubicBezTo>
                      <a:pt x="2470" y="475"/>
                      <a:pt x="2532" y="531"/>
                      <a:pt x="2594" y="573"/>
                    </a:cubicBezTo>
                    <a:cubicBezTo>
                      <a:pt x="2681" y="587"/>
                      <a:pt x="2780" y="559"/>
                      <a:pt x="2879" y="573"/>
                    </a:cubicBezTo>
                    <a:cubicBezTo>
                      <a:pt x="3052" y="628"/>
                      <a:pt x="3225" y="656"/>
                      <a:pt x="3386" y="754"/>
                    </a:cubicBezTo>
                    <a:cubicBezTo>
                      <a:pt x="3436" y="810"/>
                      <a:pt x="3497" y="754"/>
                      <a:pt x="3559" y="740"/>
                    </a:cubicBezTo>
                    <a:cubicBezTo>
                      <a:pt x="3683" y="726"/>
                      <a:pt x="3770" y="628"/>
                      <a:pt x="3881" y="573"/>
                    </a:cubicBezTo>
                    <a:cubicBezTo>
                      <a:pt x="3993" y="461"/>
                      <a:pt x="4104" y="363"/>
                      <a:pt x="4240" y="279"/>
                    </a:cubicBezTo>
                    <a:cubicBezTo>
                      <a:pt x="4327" y="237"/>
                      <a:pt x="4401" y="182"/>
                      <a:pt x="4463" y="112"/>
                    </a:cubicBezTo>
                    <a:cubicBezTo>
                      <a:pt x="4549" y="98"/>
                      <a:pt x="4648" y="98"/>
                      <a:pt x="4735" y="56"/>
                    </a:cubicBezTo>
                    <a:cubicBezTo>
                      <a:pt x="4772" y="14"/>
                      <a:pt x="4896" y="28"/>
                      <a:pt x="4809" y="70"/>
                    </a:cubicBezTo>
                    <a:cubicBezTo>
                      <a:pt x="4747" y="112"/>
                      <a:pt x="4661" y="112"/>
                      <a:pt x="4636" y="196"/>
                    </a:cubicBezTo>
                    <a:cubicBezTo>
                      <a:pt x="4599" y="265"/>
                      <a:pt x="4710" y="223"/>
                      <a:pt x="4747" y="209"/>
                    </a:cubicBezTo>
                    <a:cubicBezTo>
                      <a:pt x="4822" y="182"/>
                      <a:pt x="4921" y="196"/>
                      <a:pt x="4983" y="126"/>
                    </a:cubicBezTo>
                    <a:cubicBezTo>
                      <a:pt x="5007" y="70"/>
                      <a:pt x="5094" y="56"/>
                      <a:pt x="5057" y="0"/>
                    </a:cubicBezTo>
                    <a:cubicBezTo>
                      <a:pt x="5119" y="0"/>
                      <a:pt x="5181" y="14"/>
                      <a:pt x="5230" y="28"/>
                    </a:cubicBezTo>
                    <a:cubicBezTo>
                      <a:pt x="5403" y="42"/>
                      <a:pt x="5577" y="28"/>
                      <a:pt x="5738" y="42"/>
                    </a:cubicBezTo>
                    <a:cubicBezTo>
                      <a:pt x="5799" y="70"/>
                      <a:pt x="5837" y="154"/>
                      <a:pt x="5898" y="168"/>
                    </a:cubicBezTo>
                    <a:cubicBezTo>
                      <a:pt x="5948" y="196"/>
                      <a:pt x="6010" y="196"/>
                      <a:pt x="6047" y="237"/>
                    </a:cubicBezTo>
                    <a:cubicBezTo>
                      <a:pt x="6096" y="307"/>
                      <a:pt x="6084" y="405"/>
                      <a:pt x="6096" y="489"/>
                    </a:cubicBezTo>
                    <a:cubicBezTo>
                      <a:pt x="6121" y="656"/>
                      <a:pt x="6134" y="810"/>
                      <a:pt x="6171" y="964"/>
                    </a:cubicBezTo>
                    <a:cubicBezTo>
                      <a:pt x="6196" y="1034"/>
                      <a:pt x="6171" y="1117"/>
                      <a:pt x="6196" y="1187"/>
                    </a:cubicBezTo>
                    <a:cubicBezTo>
                      <a:pt x="6257" y="1229"/>
                      <a:pt x="6307" y="1285"/>
                      <a:pt x="6344" y="1341"/>
                    </a:cubicBezTo>
                    <a:cubicBezTo>
                      <a:pt x="6369" y="1439"/>
                      <a:pt x="6394" y="1522"/>
                      <a:pt x="6394" y="1620"/>
                    </a:cubicBezTo>
                    <a:cubicBezTo>
                      <a:pt x="6406" y="1718"/>
                      <a:pt x="6381" y="1830"/>
                      <a:pt x="6418" y="1927"/>
                    </a:cubicBezTo>
                    <a:cubicBezTo>
                      <a:pt x="6480" y="2151"/>
                      <a:pt x="6592" y="2346"/>
                      <a:pt x="6691" y="2556"/>
                    </a:cubicBezTo>
                    <a:cubicBezTo>
                      <a:pt x="6777" y="2751"/>
                      <a:pt x="6889" y="2933"/>
                      <a:pt x="7000" y="3101"/>
                    </a:cubicBezTo>
                    <a:cubicBezTo>
                      <a:pt x="7136" y="3254"/>
                      <a:pt x="7260" y="3394"/>
                      <a:pt x="7408" y="3534"/>
                    </a:cubicBezTo>
                    <a:cubicBezTo>
                      <a:pt x="7446" y="3589"/>
                      <a:pt x="7520" y="3575"/>
                      <a:pt x="7532" y="3631"/>
                    </a:cubicBezTo>
                    <a:cubicBezTo>
                      <a:pt x="7557" y="3771"/>
                      <a:pt x="7557" y="3911"/>
                      <a:pt x="7606" y="4036"/>
                    </a:cubicBezTo>
                    <a:cubicBezTo>
                      <a:pt x="7681" y="4148"/>
                      <a:pt x="7767" y="4246"/>
                      <a:pt x="7866" y="4330"/>
                    </a:cubicBezTo>
                    <a:cubicBezTo>
                      <a:pt x="7941" y="4553"/>
                      <a:pt x="8027" y="4749"/>
                      <a:pt x="8077" y="4972"/>
                    </a:cubicBezTo>
                    <a:cubicBezTo>
                      <a:pt x="8139" y="5112"/>
                      <a:pt x="8213" y="5251"/>
                      <a:pt x="8299" y="5363"/>
                    </a:cubicBezTo>
                    <a:cubicBezTo>
                      <a:pt x="8398" y="5503"/>
                      <a:pt x="8423" y="5684"/>
                      <a:pt x="8535" y="5810"/>
                    </a:cubicBezTo>
                    <a:cubicBezTo>
                      <a:pt x="8609" y="5880"/>
                      <a:pt x="8671" y="5978"/>
                      <a:pt x="8720" y="6075"/>
                    </a:cubicBezTo>
                    <a:cubicBezTo>
                      <a:pt x="8807" y="6257"/>
                      <a:pt x="8881" y="6453"/>
                      <a:pt x="8993" y="6606"/>
                    </a:cubicBezTo>
                    <a:cubicBezTo>
                      <a:pt x="9104" y="6732"/>
                      <a:pt x="9166" y="6885"/>
                      <a:pt x="9240" y="7025"/>
                    </a:cubicBezTo>
                    <a:cubicBezTo>
                      <a:pt x="9339" y="7235"/>
                      <a:pt x="9525" y="7374"/>
                      <a:pt x="9698" y="7514"/>
                    </a:cubicBezTo>
                    <a:cubicBezTo>
                      <a:pt x="9747" y="7570"/>
                      <a:pt x="9834" y="7612"/>
                      <a:pt x="9871" y="7682"/>
                    </a:cubicBezTo>
                    <a:cubicBezTo>
                      <a:pt x="9896" y="7793"/>
                      <a:pt x="9846" y="7723"/>
                      <a:pt x="9797" y="7709"/>
                    </a:cubicBezTo>
                    <a:cubicBezTo>
                      <a:pt x="9747" y="7709"/>
                      <a:pt x="9661" y="7640"/>
                      <a:pt x="9648" y="7723"/>
                    </a:cubicBezTo>
                    <a:cubicBezTo>
                      <a:pt x="9599" y="7779"/>
                      <a:pt x="9661" y="7835"/>
                      <a:pt x="9673" y="7905"/>
                    </a:cubicBezTo>
                    <a:cubicBezTo>
                      <a:pt x="9698" y="8003"/>
                      <a:pt x="9698" y="8128"/>
                      <a:pt x="9723" y="8226"/>
                    </a:cubicBezTo>
                    <a:cubicBezTo>
                      <a:pt x="9735" y="8352"/>
                      <a:pt x="9797" y="8436"/>
                      <a:pt x="9822" y="8547"/>
                    </a:cubicBezTo>
                    <a:cubicBezTo>
                      <a:pt x="9834" y="8547"/>
                      <a:pt x="9834" y="8547"/>
                      <a:pt x="9834" y="8561"/>
                    </a:cubicBezTo>
                    <a:lnTo>
                      <a:pt x="9834" y="8561"/>
                    </a:lnTo>
                    <a:cubicBezTo>
                      <a:pt x="9860" y="8592"/>
                      <a:pt x="10067" y="8648"/>
                      <a:pt x="9992" y="8746"/>
                    </a:cubicBezTo>
                    <a:lnTo>
                      <a:pt x="9801" y="8813"/>
                    </a:lnTo>
                    <a:cubicBezTo>
                      <a:pt x="9726" y="9008"/>
                      <a:pt x="9538" y="9205"/>
                      <a:pt x="9501" y="9303"/>
                    </a:cubicBezTo>
                    <a:cubicBezTo>
                      <a:pt x="9128" y="9382"/>
                      <a:pt x="9169" y="9732"/>
                      <a:pt x="8634" y="9763"/>
                    </a:cubicBezTo>
                    <a:cubicBezTo>
                      <a:pt x="8324" y="9777"/>
                      <a:pt x="8064" y="9791"/>
                      <a:pt x="7854" y="9791"/>
                    </a:cubicBezTo>
                    <a:lnTo>
                      <a:pt x="7854" y="9791"/>
                    </a:lnTo>
                    <a:lnTo>
                      <a:pt x="7854" y="9791"/>
                    </a:lnTo>
                    <a:cubicBezTo>
                      <a:pt x="7136" y="9832"/>
                      <a:pt x="7198" y="9818"/>
                      <a:pt x="6480" y="9846"/>
                    </a:cubicBezTo>
                    <a:cubicBezTo>
                      <a:pt x="6356" y="9902"/>
                      <a:pt x="6344" y="9777"/>
                      <a:pt x="6381" y="9665"/>
                    </a:cubicBezTo>
                    <a:cubicBezTo>
                      <a:pt x="6307" y="9497"/>
                      <a:pt x="6208" y="9763"/>
                      <a:pt x="6196" y="9846"/>
                    </a:cubicBezTo>
                    <a:cubicBezTo>
                      <a:pt x="4364" y="9916"/>
                      <a:pt x="2520" y="9958"/>
                      <a:pt x="688" y="10000"/>
                    </a:cubicBezTo>
                    <a:cubicBezTo>
                      <a:pt x="663" y="9525"/>
                      <a:pt x="651" y="9050"/>
                      <a:pt x="626" y="8575"/>
                    </a:cubicBezTo>
                    <a:lnTo>
                      <a:pt x="626" y="8575"/>
                    </a:lnTo>
                    <a:cubicBezTo>
                      <a:pt x="527" y="6564"/>
                      <a:pt x="416" y="4567"/>
                      <a:pt x="292" y="2556"/>
                    </a:cubicBezTo>
                    <a:cubicBezTo>
                      <a:pt x="218" y="2374"/>
                      <a:pt x="168" y="2193"/>
                      <a:pt x="119" y="1997"/>
                    </a:cubicBezTo>
                    <a:cubicBezTo>
                      <a:pt x="131" y="1788"/>
                      <a:pt x="-104" y="1592"/>
                      <a:pt x="57" y="1397"/>
                    </a:cubicBezTo>
                    <a:cubicBezTo>
                      <a:pt x="156" y="1243"/>
                      <a:pt x="205" y="1047"/>
                      <a:pt x="181" y="880"/>
                    </a:cubicBezTo>
                    <a:cubicBezTo>
                      <a:pt x="94" y="712"/>
                      <a:pt x="45" y="545"/>
                      <a:pt x="45" y="363"/>
                    </a:cubicBezTo>
                    <a:cubicBezTo>
                      <a:pt x="106" y="265"/>
                      <a:pt x="119" y="251"/>
                      <a:pt x="181" y="154"/>
                    </a:cubicBezTo>
                    <a:cubicBezTo>
                      <a:pt x="185" y="149"/>
                      <a:pt x="189" y="145"/>
                      <a:pt x="193" y="140"/>
                    </a:cubicBezTo>
                    <a:cubicBezTo>
                      <a:pt x="218" y="168"/>
                      <a:pt x="255" y="182"/>
                      <a:pt x="292" y="182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147" name="Ecuador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2114609" y="4499646"/>
              <a:ext cx="149783" cy="217364"/>
            </a:xfrm>
            <a:custGeom>
              <a:avLst/>
              <a:gdLst/>
              <a:ahLst/>
              <a:cxnLst>
                <a:cxn ang="0">
                  <a:pos x="2" y="30"/>
                </a:cxn>
                <a:cxn ang="0">
                  <a:pos x="2" y="34"/>
                </a:cxn>
                <a:cxn ang="0">
                  <a:pos x="8" y="39"/>
                </a:cxn>
                <a:cxn ang="0">
                  <a:pos x="13" y="30"/>
                </a:cxn>
                <a:cxn ang="0">
                  <a:pos x="21" y="25"/>
                </a:cxn>
                <a:cxn ang="0">
                  <a:pos x="25" y="18"/>
                </a:cxn>
                <a:cxn ang="0">
                  <a:pos x="27" y="16"/>
                </a:cxn>
                <a:cxn ang="0">
                  <a:pos x="25" y="9"/>
                </a:cxn>
                <a:cxn ang="0">
                  <a:pos x="27" y="9"/>
                </a:cxn>
                <a:cxn ang="0">
                  <a:pos x="25" y="7"/>
                </a:cxn>
                <a:cxn ang="0">
                  <a:pos x="17" y="9"/>
                </a:cxn>
                <a:cxn ang="0">
                  <a:pos x="10" y="0"/>
                </a:cxn>
                <a:cxn ang="0">
                  <a:pos x="4" y="7"/>
                </a:cxn>
                <a:cxn ang="0">
                  <a:pos x="4" y="9"/>
                </a:cxn>
                <a:cxn ang="0">
                  <a:pos x="2" y="9"/>
                </a:cxn>
                <a:cxn ang="0">
                  <a:pos x="2" y="14"/>
                </a:cxn>
                <a:cxn ang="0">
                  <a:pos x="0" y="16"/>
                </a:cxn>
                <a:cxn ang="0">
                  <a:pos x="0" y="23"/>
                </a:cxn>
                <a:cxn ang="0">
                  <a:pos x="4" y="30"/>
                </a:cxn>
                <a:cxn ang="0">
                  <a:pos x="2" y="30"/>
                </a:cxn>
              </a:cxnLst>
              <a:rect l="0" t="0" r="r" b="b"/>
              <a:pathLst>
                <a:path w="27" h="39">
                  <a:moveTo>
                    <a:pt x="2" y="30"/>
                  </a:moveTo>
                  <a:lnTo>
                    <a:pt x="2" y="34"/>
                  </a:lnTo>
                  <a:lnTo>
                    <a:pt x="8" y="39"/>
                  </a:lnTo>
                  <a:lnTo>
                    <a:pt x="13" y="30"/>
                  </a:lnTo>
                  <a:lnTo>
                    <a:pt x="21" y="25"/>
                  </a:lnTo>
                  <a:lnTo>
                    <a:pt x="25" y="18"/>
                  </a:lnTo>
                  <a:lnTo>
                    <a:pt x="27" y="16"/>
                  </a:lnTo>
                  <a:lnTo>
                    <a:pt x="25" y="9"/>
                  </a:lnTo>
                  <a:lnTo>
                    <a:pt x="27" y="9"/>
                  </a:lnTo>
                  <a:lnTo>
                    <a:pt x="25" y="7"/>
                  </a:lnTo>
                  <a:lnTo>
                    <a:pt x="17" y="9"/>
                  </a:lnTo>
                  <a:lnTo>
                    <a:pt x="10" y="0"/>
                  </a:lnTo>
                  <a:lnTo>
                    <a:pt x="4" y="7"/>
                  </a:lnTo>
                  <a:lnTo>
                    <a:pt x="4" y="9"/>
                  </a:lnTo>
                  <a:lnTo>
                    <a:pt x="2" y="9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4" y="30"/>
                  </a:lnTo>
                  <a:lnTo>
                    <a:pt x="2" y="3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48" name="Dominican Republic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2380889" y="3914434"/>
              <a:ext cx="94308" cy="83601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0" y="2"/>
                </a:cxn>
                <a:cxn ang="0">
                  <a:pos x="13" y="2"/>
                </a:cxn>
                <a:cxn ang="0">
                  <a:pos x="10" y="6"/>
                </a:cxn>
                <a:cxn ang="0">
                  <a:pos x="17" y="6"/>
                </a:cxn>
                <a:cxn ang="0">
                  <a:pos x="17" y="9"/>
                </a:cxn>
                <a:cxn ang="0">
                  <a:pos x="17" y="11"/>
                </a:cxn>
                <a:cxn ang="0">
                  <a:pos x="13" y="9"/>
                </a:cxn>
                <a:cxn ang="0">
                  <a:pos x="4" y="9"/>
                </a:cxn>
                <a:cxn ang="0">
                  <a:pos x="8" y="9"/>
                </a:cxn>
                <a:cxn ang="0">
                  <a:pos x="4" y="9"/>
                </a:cxn>
                <a:cxn ang="0">
                  <a:pos x="2" y="15"/>
                </a:cxn>
                <a:cxn ang="0">
                  <a:pos x="0" y="11"/>
                </a:cxn>
                <a:cxn ang="0">
                  <a:pos x="0" y="6"/>
                </a:cxn>
                <a:cxn ang="0">
                  <a:pos x="2" y="0"/>
                </a:cxn>
              </a:cxnLst>
              <a:rect l="0" t="0" r="r" b="b"/>
              <a:pathLst>
                <a:path w="17" h="15">
                  <a:moveTo>
                    <a:pt x="2" y="0"/>
                  </a:moveTo>
                  <a:lnTo>
                    <a:pt x="10" y="2"/>
                  </a:lnTo>
                  <a:lnTo>
                    <a:pt x="13" y="2"/>
                  </a:lnTo>
                  <a:lnTo>
                    <a:pt x="10" y="6"/>
                  </a:lnTo>
                  <a:lnTo>
                    <a:pt x="17" y="6"/>
                  </a:lnTo>
                  <a:lnTo>
                    <a:pt x="17" y="9"/>
                  </a:lnTo>
                  <a:lnTo>
                    <a:pt x="17" y="11"/>
                  </a:lnTo>
                  <a:lnTo>
                    <a:pt x="13" y="9"/>
                  </a:lnTo>
                  <a:lnTo>
                    <a:pt x="4" y="9"/>
                  </a:lnTo>
                  <a:lnTo>
                    <a:pt x="8" y="9"/>
                  </a:lnTo>
                  <a:lnTo>
                    <a:pt x="4" y="9"/>
                  </a:lnTo>
                  <a:lnTo>
                    <a:pt x="2" y="15"/>
                  </a:lnTo>
                  <a:lnTo>
                    <a:pt x="0" y="11"/>
                  </a:lnTo>
                  <a:lnTo>
                    <a:pt x="0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49" name="Dominica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 rot="5400000">
              <a:off x="3262042" y="4495734"/>
              <a:ext cx="44380" cy="1114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2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8" h="2">
                  <a:moveTo>
                    <a:pt x="0" y="2"/>
                  </a:moveTo>
                  <a:lnTo>
                    <a:pt x="4" y="2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50" name="Djibouti"/>
            <p:cNvSpPr>
              <a:spLocks/>
            </p:cNvSpPr>
            <p:nvPr/>
          </p:nvSpPr>
          <p:spPr bwMode="auto">
            <a:xfrm>
              <a:off x="5345290" y="4141407"/>
              <a:ext cx="39572" cy="48492"/>
            </a:xfrm>
            <a:custGeom>
              <a:avLst/>
              <a:gdLst>
                <a:gd name="connsiteX0" fmla="*/ 3504 w 9060"/>
                <a:gd name="connsiteY0" fmla="*/ 7778 h 10000"/>
                <a:gd name="connsiteX1" fmla="*/ 9060 w 9060"/>
                <a:gd name="connsiteY1" fmla="*/ 3333 h 10000"/>
                <a:gd name="connsiteX2" fmla="*/ 3504 w 9060"/>
                <a:gd name="connsiteY2" fmla="*/ 0 h 10000"/>
                <a:gd name="connsiteX3" fmla="*/ 1282 w 9060"/>
                <a:gd name="connsiteY3" fmla="*/ 3333 h 10000"/>
                <a:gd name="connsiteX4" fmla="*/ 0 w 9060"/>
                <a:gd name="connsiteY4" fmla="*/ 8752 h 10000"/>
                <a:gd name="connsiteX5" fmla="*/ 3504 w 9060"/>
                <a:gd name="connsiteY5" fmla="*/ 10000 h 10000"/>
                <a:gd name="connsiteX6" fmla="*/ 3504 w 9060"/>
                <a:gd name="connsiteY6" fmla="*/ 7778 h 10000"/>
                <a:gd name="connsiteX0" fmla="*/ 8536 w 10000"/>
                <a:gd name="connsiteY0" fmla="*/ 8760 h 10000"/>
                <a:gd name="connsiteX1" fmla="*/ 10000 w 10000"/>
                <a:gd name="connsiteY1" fmla="*/ 3333 h 10000"/>
                <a:gd name="connsiteX2" fmla="*/ 3868 w 10000"/>
                <a:gd name="connsiteY2" fmla="*/ 0 h 10000"/>
                <a:gd name="connsiteX3" fmla="*/ 1415 w 10000"/>
                <a:gd name="connsiteY3" fmla="*/ 3333 h 10000"/>
                <a:gd name="connsiteX4" fmla="*/ 0 w 10000"/>
                <a:gd name="connsiteY4" fmla="*/ 8752 h 10000"/>
                <a:gd name="connsiteX5" fmla="*/ 3868 w 10000"/>
                <a:gd name="connsiteY5" fmla="*/ 10000 h 10000"/>
                <a:gd name="connsiteX6" fmla="*/ 8536 w 10000"/>
                <a:gd name="connsiteY6" fmla="*/ 876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0" h="10000">
                  <a:moveTo>
                    <a:pt x="8536" y="8760"/>
                  </a:moveTo>
                  <a:lnTo>
                    <a:pt x="10000" y="3333"/>
                  </a:lnTo>
                  <a:lnTo>
                    <a:pt x="3868" y="0"/>
                  </a:lnTo>
                  <a:lnTo>
                    <a:pt x="1415" y="3333"/>
                  </a:lnTo>
                  <a:lnTo>
                    <a:pt x="0" y="8752"/>
                  </a:lnTo>
                  <a:lnTo>
                    <a:pt x="3868" y="10000"/>
                  </a:lnTo>
                  <a:lnTo>
                    <a:pt x="8536" y="876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151" name="Denmark"/>
            <p:cNvGrpSpPr/>
            <p:nvPr/>
          </p:nvGrpSpPr>
          <p:grpSpPr>
            <a:xfrm>
              <a:off x="4466750" y="2721718"/>
              <a:ext cx="88759" cy="105896"/>
              <a:chOff x="4466750" y="2721718"/>
              <a:chExt cx="88759" cy="105896"/>
            </a:xfrm>
            <a:grpFill/>
          </p:grpSpPr>
          <p:sp>
            <p:nvSpPr>
              <p:cNvPr id="269" name="Denmark"/>
              <p:cNvSpPr>
                <a:spLocks/>
              </p:cNvSpPr>
              <p:nvPr>
                <p:custDataLst>
                  <p:tags r:id="rId174"/>
                </p:custDataLst>
              </p:nvPr>
            </p:nvSpPr>
            <p:spPr bwMode="auto">
              <a:xfrm>
                <a:off x="4466750" y="2721718"/>
                <a:ext cx="66570" cy="83601"/>
              </a:xfrm>
              <a:custGeom>
                <a:avLst/>
                <a:gdLst/>
                <a:ahLst/>
                <a:cxnLst>
                  <a:cxn ang="0">
                    <a:pos x="2" y="15"/>
                  </a:cxn>
                  <a:cxn ang="0">
                    <a:pos x="6" y="15"/>
                  </a:cxn>
                  <a:cxn ang="0">
                    <a:pos x="8" y="9"/>
                  </a:cxn>
                  <a:cxn ang="0">
                    <a:pos x="12" y="6"/>
                  </a:cxn>
                  <a:cxn ang="0">
                    <a:pos x="8" y="6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2" y="11"/>
                  </a:cxn>
                  <a:cxn ang="0">
                    <a:pos x="2" y="13"/>
                  </a:cxn>
                  <a:cxn ang="0">
                    <a:pos x="2" y="15"/>
                  </a:cxn>
                </a:cxnLst>
                <a:rect l="0" t="0" r="r" b="b"/>
                <a:pathLst>
                  <a:path w="12" h="15">
                    <a:moveTo>
                      <a:pt x="2" y="15"/>
                    </a:moveTo>
                    <a:lnTo>
                      <a:pt x="6" y="15"/>
                    </a:lnTo>
                    <a:lnTo>
                      <a:pt x="8" y="9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2" y="13"/>
                    </a:lnTo>
                    <a:lnTo>
                      <a:pt x="2" y="1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70" name="Denmark"/>
              <p:cNvSpPr>
                <a:spLocks noChangeShapeType="1"/>
              </p:cNvSpPr>
              <p:nvPr>
                <p:custDataLst>
                  <p:tags r:id="rId175"/>
                </p:custDataLst>
              </p:nvPr>
            </p:nvSpPr>
            <p:spPr bwMode="auto">
              <a:xfrm flipV="1">
                <a:off x="4511130" y="2783026"/>
                <a:ext cx="5548" cy="11147"/>
              </a:xfrm>
              <a:prstGeom prst="line">
                <a:avLst/>
              </a:pr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71" name="Denmark"/>
              <p:cNvSpPr>
                <a:spLocks/>
              </p:cNvSpPr>
              <p:nvPr>
                <p:custDataLst>
                  <p:tags r:id="rId176"/>
                </p:custDataLst>
              </p:nvPr>
            </p:nvSpPr>
            <p:spPr bwMode="auto">
              <a:xfrm>
                <a:off x="4533319" y="2771879"/>
                <a:ext cx="22190" cy="1114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72" name="Denmark"/>
              <p:cNvSpPr>
                <a:spLocks noChangeShapeType="1"/>
              </p:cNvSpPr>
              <p:nvPr>
                <p:custDataLst>
                  <p:tags r:id="rId177"/>
                </p:custDataLst>
              </p:nvPr>
            </p:nvSpPr>
            <p:spPr bwMode="auto">
              <a:xfrm>
                <a:off x="4533319" y="2822040"/>
                <a:ext cx="11095" cy="5574"/>
              </a:xfrm>
              <a:prstGeom prst="line">
                <a:avLst/>
              </a:pr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152" name="Czech Republic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4544415" y="2905642"/>
              <a:ext cx="149783" cy="89175"/>
            </a:xfrm>
            <a:custGeom>
              <a:avLst/>
              <a:gdLst/>
              <a:ahLst/>
              <a:cxnLst>
                <a:cxn ang="0">
                  <a:pos x="11" y="3"/>
                </a:cxn>
                <a:cxn ang="0">
                  <a:pos x="11" y="0"/>
                </a:cxn>
                <a:cxn ang="0">
                  <a:pos x="0" y="7"/>
                </a:cxn>
                <a:cxn ang="0">
                  <a:pos x="2" y="9"/>
                </a:cxn>
                <a:cxn ang="0">
                  <a:pos x="9" y="16"/>
                </a:cxn>
                <a:cxn ang="0">
                  <a:pos x="11" y="16"/>
                </a:cxn>
                <a:cxn ang="0">
                  <a:pos x="15" y="12"/>
                </a:cxn>
                <a:cxn ang="0">
                  <a:pos x="19" y="16"/>
                </a:cxn>
                <a:cxn ang="0">
                  <a:pos x="27" y="9"/>
                </a:cxn>
                <a:cxn ang="0">
                  <a:pos x="23" y="7"/>
                </a:cxn>
                <a:cxn ang="0">
                  <a:pos x="19" y="7"/>
                </a:cxn>
                <a:cxn ang="0">
                  <a:pos x="17" y="3"/>
                </a:cxn>
                <a:cxn ang="0">
                  <a:pos x="13" y="3"/>
                </a:cxn>
                <a:cxn ang="0">
                  <a:pos x="11" y="3"/>
                </a:cxn>
              </a:cxnLst>
              <a:rect l="0" t="0" r="r" b="b"/>
              <a:pathLst>
                <a:path w="27" h="16">
                  <a:moveTo>
                    <a:pt x="11" y="3"/>
                  </a:moveTo>
                  <a:lnTo>
                    <a:pt x="11" y="0"/>
                  </a:lnTo>
                  <a:lnTo>
                    <a:pt x="0" y="7"/>
                  </a:lnTo>
                  <a:lnTo>
                    <a:pt x="2" y="9"/>
                  </a:lnTo>
                  <a:lnTo>
                    <a:pt x="9" y="16"/>
                  </a:lnTo>
                  <a:lnTo>
                    <a:pt x="11" y="16"/>
                  </a:lnTo>
                  <a:lnTo>
                    <a:pt x="15" y="12"/>
                  </a:lnTo>
                  <a:lnTo>
                    <a:pt x="19" y="16"/>
                  </a:lnTo>
                  <a:lnTo>
                    <a:pt x="27" y="9"/>
                  </a:lnTo>
                  <a:lnTo>
                    <a:pt x="23" y="7"/>
                  </a:lnTo>
                  <a:lnTo>
                    <a:pt x="19" y="7"/>
                  </a:lnTo>
                  <a:lnTo>
                    <a:pt x="17" y="3"/>
                  </a:lnTo>
                  <a:lnTo>
                    <a:pt x="13" y="3"/>
                  </a:lnTo>
                  <a:lnTo>
                    <a:pt x="11" y="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53" name="Cyprus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5043690" y="3396104"/>
              <a:ext cx="72117" cy="39014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4" y="7"/>
                </a:cxn>
                <a:cxn ang="0">
                  <a:pos x="6" y="7"/>
                </a:cxn>
                <a:cxn ang="0">
                  <a:pos x="8" y="7"/>
                </a:cxn>
                <a:cxn ang="0">
                  <a:pos x="8" y="5"/>
                </a:cxn>
                <a:cxn ang="0">
                  <a:pos x="13" y="0"/>
                </a:cxn>
                <a:cxn ang="0">
                  <a:pos x="6" y="5"/>
                </a:cxn>
                <a:cxn ang="0">
                  <a:pos x="0" y="7"/>
                </a:cxn>
              </a:cxnLst>
              <a:rect l="0" t="0" r="r" b="b"/>
              <a:pathLst>
                <a:path w="13" h="7">
                  <a:moveTo>
                    <a:pt x="0" y="7"/>
                  </a:moveTo>
                  <a:lnTo>
                    <a:pt x="4" y="7"/>
                  </a:lnTo>
                  <a:lnTo>
                    <a:pt x="6" y="7"/>
                  </a:lnTo>
                  <a:lnTo>
                    <a:pt x="8" y="7"/>
                  </a:lnTo>
                  <a:lnTo>
                    <a:pt x="8" y="5"/>
                  </a:lnTo>
                  <a:lnTo>
                    <a:pt x="13" y="0"/>
                  </a:lnTo>
                  <a:lnTo>
                    <a:pt x="6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54" name="Cuba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2070229" y="3814113"/>
              <a:ext cx="266280" cy="100322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2" y="9"/>
                </a:cxn>
                <a:cxn ang="0">
                  <a:pos x="10" y="2"/>
                </a:cxn>
                <a:cxn ang="0">
                  <a:pos x="16" y="2"/>
                </a:cxn>
                <a:cxn ang="0">
                  <a:pos x="12" y="4"/>
                </a:cxn>
                <a:cxn ang="0">
                  <a:pos x="27" y="9"/>
                </a:cxn>
                <a:cxn ang="0">
                  <a:pos x="29" y="15"/>
                </a:cxn>
                <a:cxn ang="0">
                  <a:pos x="33" y="15"/>
                </a:cxn>
                <a:cxn ang="0">
                  <a:pos x="29" y="18"/>
                </a:cxn>
                <a:cxn ang="0">
                  <a:pos x="48" y="18"/>
                </a:cxn>
                <a:cxn ang="0">
                  <a:pos x="44" y="15"/>
                </a:cxn>
                <a:cxn ang="0">
                  <a:pos x="41" y="15"/>
                </a:cxn>
                <a:cxn ang="0">
                  <a:pos x="41" y="11"/>
                </a:cxn>
                <a:cxn ang="0">
                  <a:pos x="35" y="11"/>
                </a:cxn>
                <a:cxn ang="0">
                  <a:pos x="29" y="4"/>
                </a:cxn>
                <a:cxn ang="0">
                  <a:pos x="16" y="0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9"/>
                </a:cxn>
              </a:cxnLst>
              <a:rect l="0" t="0" r="r" b="b"/>
              <a:pathLst>
                <a:path w="48" h="18">
                  <a:moveTo>
                    <a:pt x="0" y="9"/>
                  </a:moveTo>
                  <a:lnTo>
                    <a:pt x="2" y="9"/>
                  </a:lnTo>
                  <a:lnTo>
                    <a:pt x="10" y="2"/>
                  </a:lnTo>
                  <a:lnTo>
                    <a:pt x="16" y="2"/>
                  </a:lnTo>
                  <a:lnTo>
                    <a:pt x="12" y="4"/>
                  </a:lnTo>
                  <a:lnTo>
                    <a:pt x="27" y="9"/>
                  </a:lnTo>
                  <a:lnTo>
                    <a:pt x="29" y="15"/>
                  </a:lnTo>
                  <a:lnTo>
                    <a:pt x="33" y="15"/>
                  </a:lnTo>
                  <a:lnTo>
                    <a:pt x="29" y="18"/>
                  </a:lnTo>
                  <a:lnTo>
                    <a:pt x="48" y="18"/>
                  </a:lnTo>
                  <a:lnTo>
                    <a:pt x="44" y="15"/>
                  </a:lnTo>
                  <a:lnTo>
                    <a:pt x="41" y="15"/>
                  </a:lnTo>
                  <a:lnTo>
                    <a:pt x="41" y="11"/>
                  </a:lnTo>
                  <a:lnTo>
                    <a:pt x="35" y="11"/>
                  </a:lnTo>
                  <a:lnTo>
                    <a:pt x="29" y="4"/>
                  </a:lnTo>
                  <a:lnTo>
                    <a:pt x="16" y="0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635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55" name="Croatia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4594342" y="3056125"/>
              <a:ext cx="127592" cy="128190"/>
            </a:xfrm>
            <a:custGeom>
              <a:avLst/>
              <a:gdLst/>
              <a:ahLst/>
              <a:cxnLst>
                <a:cxn ang="0">
                  <a:pos x="18" y="3"/>
                </a:cxn>
                <a:cxn ang="0">
                  <a:pos x="16" y="3"/>
                </a:cxn>
                <a:cxn ang="0">
                  <a:pos x="10" y="0"/>
                </a:cxn>
                <a:cxn ang="0">
                  <a:pos x="6" y="3"/>
                </a:cxn>
                <a:cxn ang="0">
                  <a:pos x="6" y="7"/>
                </a:cxn>
                <a:cxn ang="0">
                  <a:pos x="2" y="3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2" y="7"/>
                </a:cxn>
                <a:cxn ang="0">
                  <a:pos x="6" y="9"/>
                </a:cxn>
                <a:cxn ang="0">
                  <a:pos x="6" y="16"/>
                </a:cxn>
                <a:cxn ang="0">
                  <a:pos x="18" y="23"/>
                </a:cxn>
                <a:cxn ang="0">
                  <a:pos x="10" y="12"/>
                </a:cxn>
                <a:cxn ang="0">
                  <a:pos x="8" y="9"/>
                </a:cxn>
                <a:cxn ang="0">
                  <a:pos x="10" y="7"/>
                </a:cxn>
                <a:cxn ang="0">
                  <a:pos x="18" y="9"/>
                </a:cxn>
                <a:cxn ang="0">
                  <a:pos x="23" y="9"/>
                </a:cxn>
                <a:cxn ang="0">
                  <a:pos x="23" y="7"/>
                </a:cxn>
                <a:cxn ang="0">
                  <a:pos x="20" y="5"/>
                </a:cxn>
                <a:cxn ang="0">
                  <a:pos x="18" y="3"/>
                </a:cxn>
              </a:cxnLst>
              <a:rect l="0" t="0" r="r" b="b"/>
              <a:pathLst>
                <a:path w="23" h="23">
                  <a:moveTo>
                    <a:pt x="18" y="3"/>
                  </a:moveTo>
                  <a:lnTo>
                    <a:pt x="16" y="3"/>
                  </a:lnTo>
                  <a:lnTo>
                    <a:pt x="10" y="0"/>
                  </a:lnTo>
                  <a:lnTo>
                    <a:pt x="6" y="3"/>
                  </a:lnTo>
                  <a:lnTo>
                    <a:pt x="6" y="7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7"/>
                  </a:lnTo>
                  <a:lnTo>
                    <a:pt x="6" y="9"/>
                  </a:lnTo>
                  <a:lnTo>
                    <a:pt x="6" y="16"/>
                  </a:lnTo>
                  <a:lnTo>
                    <a:pt x="18" y="23"/>
                  </a:lnTo>
                  <a:lnTo>
                    <a:pt x="10" y="12"/>
                  </a:lnTo>
                  <a:lnTo>
                    <a:pt x="8" y="9"/>
                  </a:lnTo>
                  <a:lnTo>
                    <a:pt x="10" y="7"/>
                  </a:lnTo>
                  <a:lnTo>
                    <a:pt x="18" y="9"/>
                  </a:lnTo>
                  <a:lnTo>
                    <a:pt x="23" y="9"/>
                  </a:lnTo>
                  <a:lnTo>
                    <a:pt x="23" y="7"/>
                  </a:lnTo>
                  <a:lnTo>
                    <a:pt x="20" y="5"/>
                  </a:lnTo>
                  <a:lnTo>
                    <a:pt x="18" y="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56" name="Costa Rica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1998112" y="4198679"/>
              <a:ext cx="83212" cy="89175"/>
            </a:xfrm>
            <a:custGeom>
              <a:avLst/>
              <a:gdLst/>
              <a:ahLst/>
              <a:cxnLst>
                <a:cxn ang="0">
                  <a:pos x="15" y="9"/>
                </a:cxn>
                <a:cxn ang="0">
                  <a:pos x="13" y="7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0" y="7"/>
                </a:cxn>
                <a:cxn ang="0">
                  <a:pos x="2" y="9"/>
                </a:cxn>
                <a:cxn ang="0">
                  <a:pos x="2" y="7"/>
                </a:cxn>
                <a:cxn ang="0">
                  <a:pos x="9" y="12"/>
                </a:cxn>
                <a:cxn ang="0">
                  <a:pos x="9" y="16"/>
                </a:cxn>
                <a:cxn ang="0">
                  <a:pos x="13" y="16"/>
                </a:cxn>
                <a:cxn ang="0">
                  <a:pos x="13" y="14"/>
                </a:cxn>
                <a:cxn ang="0">
                  <a:pos x="15" y="9"/>
                </a:cxn>
              </a:cxnLst>
              <a:rect l="0" t="0" r="r" b="b"/>
              <a:pathLst>
                <a:path w="15" h="16">
                  <a:moveTo>
                    <a:pt x="15" y="9"/>
                  </a:moveTo>
                  <a:lnTo>
                    <a:pt x="13" y="7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2" y="9"/>
                  </a:lnTo>
                  <a:lnTo>
                    <a:pt x="2" y="7"/>
                  </a:lnTo>
                  <a:lnTo>
                    <a:pt x="9" y="12"/>
                  </a:lnTo>
                  <a:lnTo>
                    <a:pt x="9" y="16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5" y="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157" name="Congo"/>
            <p:cNvGrpSpPr/>
            <p:nvPr/>
          </p:nvGrpSpPr>
          <p:grpSpPr>
            <a:xfrm>
              <a:off x="4521181" y="4432879"/>
              <a:ext cx="208170" cy="311272"/>
              <a:chOff x="4521181" y="4432879"/>
              <a:chExt cx="208170" cy="311272"/>
            </a:xfrm>
            <a:grpFill/>
          </p:grpSpPr>
          <p:sp>
            <p:nvSpPr>
              <p:cNvPr id="267" name="Congo"/>
              <p:cNvSpPr>
                <a:spLocks/>
              </p:cNvSpPr>
              <p:nvPr/>
            </p:nvSpPr>
            <p:spPr bwMode="auto">
              <a:xfrm>
                <a:off x="4545092" y="4694080"/>
                <a:ext cx="30944" cy="50071"/>
              </a:xfrm>
              <a:custGeom>
                <a:avLst/>
                <a:gdLst>
                  <a:gd name="T0" fmla="*/ 0 w 85"/>
                  <a:gd name="T1" fmla="*/ 59 h 116"/>
                  <a:gd name="T2" fmla="*/ 14 w 85"/>
                  <a:gd name="T3" fmla="*/ 47 h 116"/>
                  <a:gd name="T4" fmla="*/ 30 w 85"/>
                  <a:gd name="T5" fmla="*/ 36 h 116"/>
                  <a:gd name="T6" fmla="*/ 57 w 85"/>
                  <a:gd name="T7" fmla="*/ 14 h 116"/>
                  <a:gd name="T8" fmla="*/ 84 w 85"/>
                  <a:gd name="T9" fmla="*/ 26 h 116"/>
                  <a:gd name="T10" fmla="*/ 85 w 85"/>
                  <a:gd name="T11" fmla="*/ 28 h 116"/>
                  <a:gd name="T12" fmla="*/ 56 w 85"/>
                  <a:gd name="T13" fmla="*/ 48 h 116"/>
                  <a:gd name="T14" fmla="*/ 38 w 85"/>
                  <a:gd name="T15" fmla="*/ 61 h 116"/>
                  <a:gd name="T16" fmla="*/ 42 w 85"/>
                  <a:gd name="T17" fmla="*/ 95 h 116"/>
                  <a:gd name="T18" fmla="*/ 29 w 85"/>
                  <a:gd name="T19" fmla="*/ 111 h 116"/>
                  <a:gd name="T20" fmla="*/ 17 w 85"/>
                  <a:gd name="T21" fmla="*/ 116 h 116"/>
                  <a:gd name="T22" fmla="*/ 17 w 85"/>
                  <a:gd name="T23" fmla="*/ 116 h 116"/>
                  <a:gd name="T24" fmla="*/ 13 w 85"/>
                  <a:gd name="T25" fmla="*/ 112 h 116"/>
                  <a:gd name="T26" fmla="*/ 10 w 85"/>
                  <a:gd name="T27" fmla="*/ 98 h 116"/>
                  <a:gd name="T28" fmla="*/ 9 w 85"/>
                  <a:gd name="T29" fmla="*/ 74 h 116"/>
                  <a:gd name="T30" fmla="*/ 1 w 85"/>
                  <a:gd name="T31" fmla="*/ 62 h 116"/>
                  <a:gd name="T32" fmla="*/ 0 w 85"/>
                  <a:gd name="T33" fmla="*/ 59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5" h="116">
                    <a:moveTo>
                      <a:pt x="0" y="59"/>
                    </a:moveTo>
                    <a:cubicBezTo>
                      <a:pt x="4" y="56"/>
                      <a:pt x="12" y="52"/>
                      <a:pt x="14" y="47"/>
                    </a:cubicBezTo>
                    <a:cubicBezTo>
                      <a:pt x="15" y="35"/>
                      <a:pt x="25" y="44"/>
                      <a:pt x="30" y="36"/>
                    </a:cubicBezTo>
                    <a:cubicBezTo>
                      <a:pt x="29" y="18"/>
                      <a:pt x="53" y="29"/>
                      <a:pt x="57" y="14"/>
                    </a:cubicBezTo>
                    <a:cubicBezTo>
                      <a:pt x="69" y="0"/>
                      <a:pt x="74" y="27"/>
                      <a:pt x="84" y="26"/>
                    </a:cubicBezTo>
                    <a:cubicBezTo>
                      <a:pt x="85" y="28"/>
                      <a:pt x="85" y="28"/>
                      <a:pt x="85" y="28"/>
                    </a:cubicBezTo>
                    <a:cubicBezTo>
                      <a:pt x="74" y="34"/>
                      <a:pt x="61" y="34"/>
                      <a:pt x="56" y="48"/>
                    </a:cubicBezTo>
                    <a:cubicBezTo>
                      <a:pt x="49" y="52"/>
                      <a:pt x="45" y="59"/>
                      <a:pt x="38" y="61"/>
                    </a:cubicBezTo>
                    <a:cubicBezTo>
                      <a:pt x="48" y="68"/>
                      <a:pt x="40" y="83"/>
                      <a:pt x="42" y="95"/>
                    </a:cubicBezTo>
                    <a:cubicBezTo>
                      <a:pt x="45" y="105"/>
                      <a:pt x="41" y="115"/>
                      <a:pt x="29" y="111"/>
                    </a:cubicBezTo>
                    <a:cubicBezTo>
                      <a:pt x="25" y="111"/>
                      <a:pt x="20" y="113"/>
                      <a:pt x="17" y="116"/>
                    </a:cubicBezTo>
                    <a:cubicBezTo>
                      <a:pt x="17" y="116"/>
                      <a:pt x="17" y="116"/>
                      <a:pt x="17" y="116"/>
                    </a:cubicBezTo>
                    <a:cubicBezTo>
                      <a:pt x="15" y="115"/>
                      <a:pt x="14" y="113"/>
                      <a:pt x="13" y="112"/>
                    </a:cubicBezTo>
                    <a:cubicBezTo>
                      <a:pt x="12" y="107"/>
                      <a:pt x="10" y="103"/>
                      <a:pt x="10" y="98"/>
                    </a:cubicBezTo>
                    <a:cubicBezTo>
                      <a:pt x="12" y="90"/>
                      <a:pt x="10" y="82"/>
                      <a:pt x="9" y="74"/>
                    </a:cubicBezTo>
                    <a:cubicBezTo>
                      <a:pt x="9" y="68"/>
                      <a:pt x="4" y="65"/>
                      <a:pt x="1" y="62"/>
                    </a:cubicBezTo>
                    <a:cubicBezTo>
                      <a:pt x="0" y="61"/>
                      <a:pt x="0" y="60"/>
                      <a:pt x="0" y="59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68" name="Congo"/>
              <p:cNvSpPr>
                <a:spLocks/>
              </p:cNvSpPr>
              <p:nvPr/>
            </p:nvSpPr>
            <p:spPr bwMode="auto">
              <a:xfrm>
                <a:off x="4521181" y="4432879"/>
                <a:ext cx="208170" cy="287071"/>
              </a:xfrm>
              <a:custGeom>
                <a:avLst/>
                <a:gdLst>
                  <a:gd name="T0" fmla="*/ 287 w 574"/>
                  <a:gd name="T1" fmla="*/ 131 h 664"/>
                  <a:gd name="T2" fmla="*/ 302 w 574"/>
                  <a:gd name="T3" fmla="*/ 132 h 664"/>
                  <a:gd name="T4" fmla="*/ 369 w 574"/>
                  <a:gd name="T5" fmla="*/ 150 h 664"/>
                  <a:gd name="T6" fmla="*/ 384 w 574"/>
                  <a:gd name="T7" fmla="*/ 117 h 664"/>
                  <a:gd name="T8" fmla="*/ 399 w 574"/>
                  <a:gd name="T9" fmla="*/ 85 h 664"/>
                  <a:gd name="T10" fmla="*/ 423 w 574"/>
                  <a:gd name="T11" fmla="*/ 15 h 664"/>
                  <a:gd name="T12" fmla="*/ 493 w 574"/>
                  <a:gd name="T13" fmla="*/ 8 h 664"/>
                  <a:gd name="T14" fmla="*/ 541 w 574"/>
                  <a:gd name="T15" fmla="*/ 14 h 664"/>
                  <a:gd name="T16" fmla="*/ 566 w 574"/>
                  <a:gd name="T17" fmla="*/ 18 h 664"/>
                  <a:gd name="T18" fmla="*/ 555 w 574"/>
                  <a:gd name="T19" fmla="*/ 64 h 664"/>
                  <a:gd name="T20" fmla="*/ 526 w 574"/>
                  <a:gd name="T21" fmla="*/ 149 h 664"/>
                  <a:gd name="T22" fmla="*/ 512 w 574"/>
                  <a:gd name="T23" fmla="*/ 213 h 664"/>
                  <a:gd name="T24" fmla="*/ 502 w 574"/>
                  <a:gd name="T25" fmla="*/ 287 h 664"/>
                  <a:gd name="T26" fmla="*/ 463 w 574"/>
                  <a:gd name="T27" fmla="*/ 362 h 664"/>
                  <a:gd name="T28" fmla="*/ 391 w 574"/>
                  <a:gd name="T29" fmla="*/ 440 h 664"/>
                  <a:gd name="T30" fmla="*/ 384 w 574"/>
                  <a:gd name="T31" fmla="*/ 508 h 664"/>
                  <a:gd name="T32" fmla="*/ 363 w 574"/>
                  <a:gd name="T33" fmla="*/ 578 h 664"/>
                  <a:gd name="T34" fmla="*/ 318 w 574"/>
                  <a:gd name="T35" fmla="*/ 607 h 664"/>
                  <a:gd name="T36" fmla="*/ 257 w 574"/>
                  <a:gd name="T37" fmla="*/ 650 h 664"/>
                  <a:gd name="T38" fmla="*/ 250 w 574"/>
                  <a:gd name="T39" fmla="*/ 612 h 664"/>
                  <a:gd name="T40" fmla="*/ 205 w 574"/>
                  <a:gd name="T41" fmla="*/ 617 h 664"/>
                  <a:gd name="T42" fmla="*/ 173 w 574"/>
                  <a:gd name="T43" fmla="*/ 649 h 664"/>
                  <a:gd name="T44" fmla="*/ 150 w 574"/>
                  <a:gd name="T45" fmla="*/ 631 h 664"/>
                  <a:gd name="T46" fmla="*/ 96 w 574"/>
                  <a:gd name="T47" fmla="*/ 641 h 664"/>
                  <a:gd name="T48" fmla="*/ 66 w 574"/>
                  <a:gd name="T49" fmla="*/ 664 h 664"/>
                  <a:gd name="T50" fmla="*/ 53 w 574"/>
                  <a:gd name="T51" fmla="*/ 637 h 664"/>
                  <a:gd name="T52" fmla="*/ 16 w 574"/>
                  <a:gd name="T53" fmla="*/ 592 h 664"/>
                  <a:gd name="T54" fmla="*/ 4 w 574"/>
                  <a:gd name="T55" fmla="*/ 578 h 664"/>
                  <a:gd name="T56" fmla="*/ 60 w 574"/>
                  <a:gd name="T57" fmla="*/ 561 h 664"/>
                  <a:gd name="T58" fmla="*/ 60 w 574"/>
                  <a:gd name="T59" fmla="*/ 561 h 664"/>
                  <a:gd name="T60" fmla="*/ 46 w 574"/>
                  <a:gd name="T61" fmla="*/ 516 h 664"/>
                  <a:gd name="T62" fmla="*/ 34 w 574"/>
                  <a:gd name="T63" fmla="*/ 495 h 664"/>
                  <a:gd name="T64" fmla="*/ 52 w 574"/>
                  <a:gd name="T65" fmla="*/ 463 h 664"/>
                  <a:gd name="T66" fmla="*/ 106 w 574"/>
                  <a:gd name="T67" fmla="*/ 444 h 664"/>
                  <a:gd name="T68" fmla="*/ 132 w 574"/>
                  <a:gd name="T69" fmla="*/ 432 h 664"/>
                  <a:gd name="T70" fmla="*/ 167 w 574"/>
                  <a:gd name="T71" fmla="*/ 464 h 664"/>
                  <a:gd name="T72" fmla="*/ 209 w 574"/>
                  <a:gd name="T73" fmla="*/ 456 h 664"/>
                  <a:gd name="T74" fmla="*/ 237 w 574"/>
                  <a:gd name="T75" fmla="*/ 459 h 664"/>
                  <a:gd name="T76" fmla="*/ 251 w 574"/>
                  <a:gd name="T77" fmla="*/ 414 h 664"/>
                  <a:gd name="T78" fmla="*/ 255 w 574"/>
                  <a:gd name="T79" fmla="*/ 378 h 664"/>
                  <a:gd name="T80" fmla="*/ 242 w 574"/>
                  <a:gd name="T81" fmla="*/ 316 h 664"/>
                  <a:gd name="T82" fmla="*/ 214 w 574"/>
                  <a:gd name="T83" fmla="*/ 284 h 664"/>
                  <a:gd name="T84" fmla="*/ 240 w 574"/>
                  <a:gd name="T85" fmla="*/ 240 h 664"/>
                  <a:gd name="T86" fmla="*/ 238 w 574"/>
                  <a:gd name="T87" fmla="*/ 181 h 664"/>
                  <a:gd name="T88" fmla="*/ 164 w 574"/>
                  <a:gd name="T89" fmla="*/ 190 h 664"/>
                  <a:gd name="T90" fmla="*/ 156 w 574"/>
                  <a:gd name="T91" fmla="*/ 150 h 664"/>
                  <a:gd name="T92" fmla="*/ 210 w 574"/>
                  <a:gd name="T93" fmla="*/ 119 h 664"/>
                  <a:gd name="T94" fmla="*/ 280 w 574"/>
                  <a:gd name="T95" fmla="*/ 127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74" h="664">
                    <a:moveTo>
                      <a:pt x="287" y="131"/>
                    </a:moveTo>
                    <a:cubicBezTo>
                      <a:pt x="286" y="131"/>
                      <a:pt x="285" y="131"/>
                      <a:pt x="287" y="131"/>
                    </a:cubicBezTo>
                    <a:cubicBezTo>
                      <a:pt x="287" y="131"/>
                      <a:pt x="287" y="131"/>
                      <a:pt x="287" y="131"/>
                    </a:cubicBezTo>
                    <a:cubicBezTo>
                      <a:pt x="290" y="131"/>
                      <a:pt x="297" y="131"/>
                      <a:pt x="302" y="132"/>
                    </a:cubicBezTo>
                    <a:cubicBezTo>
                      <a:pt x="311" y="123"/>
                      <a:pt x="315" y="138"/>
                      <a:pt x="323" y="136"/>
                    </a:cubicBezTo>
                    <a:cubicBezTo>
                      <a:pt x="340" y="129"/>
                      <a:pt x="355" y="142"/>
                      <a:pt x="369" y="150"/>
                    </a:cubicBezTo>
                    <a:cubicBezTo>
                      <a:pt x="371" y="159"/>
                      <a:pt x="384" y="156"/>
                      <a:pt x="381" y="146"/>
                    </a:cubicBezTo>
                    <a:cubicBezTo>
                      <a:pt x="376" y="137"/>
                      <a:pt x="370" y="117"/>
                      <a:pt x="384" y="117"/>
                    </a:cubicBezTo>
                    <a:cubicBezTo>
                      <a:pt x="384" y="116"/>
                      <a:pt x="385" y="115"/>
                      <a:pt x="385" y="114"/>
                    </a:cubicBezTo>
                    <a:cubicBezTo>
                      <a:pt x="391" y="105"/>
                      <a:pt x="395" y="94"/>
                      <a:pt x="399" y="85"/>
                    </a:cubicBezTo>
                    <a:cubicBezTo>
                      <a:pt x="409" y="73"/>
                      <a:pt x="405" y="61"/>
                      <a:pt x="407" y="48"/>
                    </a:cubicBezTo>
                    <a:cubicBezTo>
                      <a:pt x="410" y="38"/>
                      <a:pt x="410" y="18"/>
                      <a:pt x="423" y="15"/>
                    </a:cubicBezTo>
                    <a:cubicBezTo>
                      <a:pt x="438" y="16"/>
                      <a:pt x="454" y="13"/>
                      <a:pt x="469" y="9"/>
                    </a:cubicBezTo>
                    <a:cubicBezTo>
                      <a:pt x="477" y="4"/>
                      <a:pt x="485" y="0"/>
                      <a:pt x="493" y="8"/>
                    </a:cubicBezTo>
                    <a:cubicBezTo>
                      <a:pt x="503" y="4"/>
                      <a:pt x="509" y="16"/>
                      <a:pt x="519" y="14"/>
                    </a:cubicBezTo>
                    <a:cubicBezTo>
                      <a:pt x="529" y="7"/>
                      <a:pt x="535" y="26"/>
                      <a:pt x="541" y="14"/>
                    </a:cubicBezTo>
                    <a:cubicBezTo>
                      <a:pt x="534" y="14"/>
                      <a:pt x="559" y="4"/>
                      <a:pt x="562" y="13"/>
                    </a:cubicBezTo>
                    <a:cubicBezTo>
                      <a:pt x="564" y="17"/>
                      <a:pt x="565" y="18"/>
                      <a:pt x="566" y="18"/>
                    </a:cubicBezTo>
                    <a:cubicBezTo>
                      <a:pt x="568" y="20"/>
                      <a:pt x="568" y="20"/>
                      <a:pt x="568" y="20"/>
                    </a:cubicBezTo>
                    <a:cubicBezTo>
                      <a:pt x="574" y="37"/>
                      <a:pt x="562" y="50"/>
                      <a:pt x="555" y="64"/>
                    </a:cubicBezTo>
                    <a:cubicBezTo>
                      <a:pt x="553" y="79"/>
                      <a:pt x="541" y="88"/>
                      <a:pt x="537" y="101"/>
                    </a:cubicBezTo>
                    <a:cubicBezTo>
                      <a:pt x="524" y="113"/>
                      <a:pt x="527" y="132"/>
                      <a:pt x="526" y="149"/>
                    </a:cubicBezTo>
                    <a:cubicBezTo>
                      <a:pt x="529" y="160"/>
                      <a:pt x="525" y="172"/>
                      <a:pt x="520" y="182"/>
                    </a:cubicBezTo>
                    <a:cubicBezTo>
                      <a:pt x="520" y="193"/>
                      <a:pt x="509" y="202"/>
                      <a:pt x="512" y="213"/>
                    </a:cubicBezTo>
                    <a:cubicBezTo>
                      <a:pt x="515" y="226"/>
                      <a:pt x="511" y="238"/>
                      <a:pt x="519" y="250"/>
                    </a:cubicBezTo>
                    <a:cubicBezTo>
                      <a:pt x="514" y="263"/>
                      <a:pt x="503" y="272"/>
                      <a:pt x="502" y="287"/>
                    </a:cubicBezTo>
                    <a:cubicBezTo>
                      <a:pt x="496" y="303"/>
                      <a:pt x="508" y="321"/>
                      <a:pt x="493" y="335"/>
                    </a:cubicBezTo>
                    <a:cubicBezTo>
                      <a:pt x="483" y="344"/>
                      <a:pt x="476" y="357"/>
                      <a:pt x="463" y="362"/>
                    </a:cubicBezTo>
                    <a:cubicBezTo>
                      <a:pt x="442" y="365"/>
                      <a:pt x="426" y="384"/>
                      <a:pt x="420" y="404"/>
                    </a:cubicBezTo>
                    <a:cubicBezTo>
                      <a:pt x="414" y="419"/>
                      <a:pt x="405" y="432"/>
                      <a:pt x="391" y="440"/>
                    </a:cubicBezTo>
                    <a:cubicBezTo>
                      <a:pt x="380" y="447"/>
                      <a:pt x="384" y="462"/>
                      <a:pt x="386" y="473"/>
                    </a:cubicBezTo>
                    <a:cubicBezTo>
                      <a:pt x="390" y="485"/>
                      <a:pt x="382" y="496"/>
                      <a:pt x="384" y="508"/>
                    </a:cubicBezTo>
                    <a:cubicBezTo>
                      <a:pt x="382" y="520"/>
                      <a:pt x="390" y="534"/>
                      <a:pt x="382" y="544"/>
                    </a:cubicBezTo>
                    <a:cubicBezTo>
                      <a:pt x="375" y="555"/>
                      <a:pt x="369" y="567"/>
                      <a:pt x="363" y="578"/>
                    </a:cubicBezTo>
                    <a:cubicBezTo>
                      <a:pt x="357" y="587"/>
                      <a:pt x="343" y="582"/>
                      <a:pt x="335" y="589"/>
                    </a:cubicBezTo>
                    <a:cubicBezTo>
                      <a:pt x="330" y="597"/>
                      <a:pt x="331" y="611"/>
                      <a:pt x="318" y="607"/>
                    </a:cubicBezTo>
                    <a:cubicBezTo>
                      <a:pt x="305" y="611"/>
                      <a:pt x="300" y="627"/>
                      <a:pt x="289" y="635"/>
                    </a:cubicBezTo>
                    <a:cubicBezTo>
                      <a:pt x="284" y="649"/>
                      <a:pt x="269" y="657"/>
                      <a:pt x="257" y="650"/>
                    </a:cubicBezTo>
                    <a:cubicBezTo>
                      <a:pt x="244" y="654"/>
                      <a:pt x="256" y="634"/>
                      <a:pt x="247" y="629"/>
                    </a:cubicBezTo>
                    <a:cubicBezTo>
                      <a:pt x="251" y="623"/>
                      <a:pt x="259" y="617"/>
                      <a:pt x="250" y="612"/>
                    </a:cubicBezTo>
                    <a:cubicBezTo>
                      <a:pt x="248" y="598"/>
                      <a:pt x="233" y="619"/>
                      <a:pt x="224" y="615"/>
                    </a:cubicBezTo>
                    <a:cubicBezTo>
                      <a:pt x="218" y="622"/>
                      <a:pt x="211" y="625"/>
                      <a:pt x="205" y="617"/>
                    </a:cubicBezTo>
                    <a:cubicBezTo>
                      <a:pt x="192" y="619"/>
                      <a:pt x="204" y="641"/>
                      <a:pt x="190" y="643"/>
                    </a:cubicBezTo>
                    <a:cubicBezTo>
                      <a:pt x="182" y="639"/>
                      <a:pt x="180" y="653"/>
                      <a:pt x="173" y="649"/>
                    </a:cubicBezTo>
                    <a:cubicBezTo>
                      <a:pt x="169" y="641"/>
                      <a:pt x="157" y="638"/>
                      <a:pt x="154" y="629"/>
                    </a:cubicBezTo>
                    <a:cubicBezTo>
                      <a:pt x="153" y="630"/>
                      <a:pt x="151" y="631"/>
                      <a:pt x="150" y="631"/>
                    </a:cubicBezTo>
                    <a:cubicBezTo>
                      <a:pt x="140" y="632"/>
                      <a:pt x="135" y="605"/>
                      <a:pt x="123" y="619"/>
                    </a:cubicBezTo>
                    <a:cubicBezTo>
                      <a:pt x="119" y="634"/>
                      <a:pt x="95" y="623"/>
                      <a:pt x="96" y="641"/>
                    </a:cubicBezTo>
                    <a:cubicBezTo>
                      <a:pt x="91" y="649"/>
                      <a:pt x="81" y="640"/>
                      <a:pt x="80" y="652"/>
                    </a:cubicBezTo>
                    <a:cubicBezTo>
                      <a:pt x="78" y="657"/>
                      <a:pt x="70" y="661"/>
                      <a:pt x="66" y="664"/>
                    </a:cubicBezTo>
                    <a:cubicBezTo>
                      <a:pt x="66" y="664"/>
                      <a:pt x="66" y="664"/>
                      <a:pt x="66" y="664"/>
                    </a:cubicBezTo>
                    <a:cubicBezTo>
                      <a:pt x="61" y="655"/>
                      <a:pt x="57" y="646"/>
                      <a:pt x="53" y="637"/>
                    </a:cubicBezTo>
                    <a:cubicBezTo>
                      <a:pt x="50" y="629"/>
                      <a:pt x="44" y="623"/>
                      <a:pt x="37" y="617"/>
                    </a:cubicBezTo>
                    <a:cubicBezTo>
                      <a:pt x="29" y="610"/>
                      <a:pt x="22" y="602"/>
                      <a:pt x="16" y="592"/>
                    </a:cubicBezTo>
                    <a:cubicBezTo>
                      <a:pt x="12" y="589"/>
                      <a:pt x="6" y="587"/>
                      <a:pt x="0" y="584"/>
                    </a:cubicBezTo>
                    <a:cubicBezTo>
                      <a:pt x="4" y="578"/>
                      <a:pt x="4" y="578"/>
                      <a:pt x="4" y="578"/>
                    </a:cubicBezTo>
                    <a:cubicBezTo>
                      <a:pt x="6" y="561"/>
                      <a:pt x="20" y="555"/>
                      <a:pt x="32" y="548"/>
                    </a:cubicBezTo>
                    <a:cubicBezTo>
                      <a:pt x="41" y="553"/>
                      <a:pt x="48" y="570"/>
                      <a:pt x="60" y="561"/>
                    </a:cubicBezTo>
                    <a:cubicBezTo>
                      <a:pt x="61" y="562"/>
                      <a:pt x="61" y="562"/>
                      <a:pt x="61" y="560"/>
                    </a:cubicBezTo>
                    <a:cubicBezTo>
                      <a:pt x="61" y="560"/>
                      <a:pt x="60" y="561"/>
                      <a:pt x="60" y="561"/>
                    </a:cubicBezTo>
                    <a:cubicBezTo>
                      <a:pt x="59" y="558"/>
                      <a:pt x="55" y="547"/>
                      <a:pt x="60" y="541"/>
                    </a:cubicBezTo>
                    <a:cubicBezTo>
                      <a:pt x="76" y="528"/>
                      <a:pt x="42" y="530"/>
                      <a:pt x="46" y="516"/>
                    </a:cubicBezTo>
                    <a:cubicBezTo>
                      <a:pt x="54" y="512"/>
                      <a:pt x="52" y="507"/>
                      <a:pt x="45" y="502"/>
                    </a:cubicBezTo>
                    <a:cubicBezTo>
                      <a:pt x="44" y="492"/>
                      <a:pt x="33" y="502"/>
                      <a:pt x="34" y="495"/>
                    </a:cubicBezTo>
                    <a:cubicBezTo>
                      <a:pt x="43" y="487"/>
                      <a:pt x="40" y="477"/>
                      <a:pt x="38" y="467"/>
                    </a:cubicBezTo>
                    <a:cubicBezTo>
                      <a:pt x="33" y="453"/>
                      <a:pt x="47" y="466"/>
                      <a:pt x="52" y="463"/>
                    </a:cubicBezTo>
                    <a:cubicBezTo>
                      <a:pt x="63" y="453"/>
                      <a:pt x="72" y="470"/>
                      <a:pt x="84" y="463"/>
                    </a:cubicBezTo>
                    <a:cubicBezTo>
                      <a:pt x="95" y="462"/>
                      <a:pt x="108" y="459"/>
                      <a:pt x="106" y="444"/>
                    </a:cubicBezTo>
                    <a:cubicBezTo>
                      <a:pt x="110" y="447"/>
                      <a:pt x="94" y="428"/>
                      <a:pt x="105" y="427"/>
                    </a:cubicBezTo>
                    <a:cubicBezTo>
                      <a:pt x="111" y="417"/>
                      <a:pt x="127" y="421"/>
                      <a:pt x="132" y="432"/>
                    </a:cubicBezTo>
                    <a:cubicBezTo>
                      <a:pt x="132" y="444"/>
                      <a:pt x="146" y="448"/>
                      <a:pt x="144" y="459"/>
                    </a:cubicBezTo>
                    <a:cubicBezTo>
                      <a:pt x="146" y="459"/>
                      <a:pt x="160" y="462"/>
                      <a:pt x="167" y="464"/>
                    </a:cubicBezTo>
                    <a:cubicBezTo>
                      <a:pt x="180" y="471"/>
                      <a:pt x="189" y="457"/>
                      <a:pt x="197" y="449"/>
                    </a:cubicBezTo>
                    <a:cubicBezTo>
                      <a:pt x="200" y="434"/>
                      <a:pt x="206" y="449"/>
                      <a:pt x="209" y="456"/>
                    </a:cubicBezTo>
                    <a:cubicBezTo>
                      <a:pt x="218" y="459"/>
                      <a:pt x="201" y="473"/>
                      <a:pt x="215" y="470"/>
                    </a:cubicBezTo>
                    <a:cubicBezTo>
                      <a:pt x="226" y="476"/>
                      <a:pt x="231" y="463"/>
                      <a:pt x="237" y="459"/>
                    </a:cubicBezTo>
                    <a:cubicBezTo>
                      <a:pt x="225" y="451"/>
                      <a:pt x="243" y="444"/>
                      <a:pt x="239" y="433"/>
                    </a:cubicBezTo>
                    <a:cubicBezTo>
                      <a:pt x="246" y="428"/>
                      <a:pt x="254" y="426"/>
                      <a:pt x="251" y="414"/>
                    </a:cubicBezTo>
                    <a:cubicBezTo>
                      <a:pt x="257" y="410"/>
                      <a:pt x="248" y="409"/>
                      <a:pt x="250" y="403"/>
                    </a:cubicBezTo>
                    <a:cubicBezTo>
                      <a:pt x="259" y="397"/>
                      <a:pt x="253" y="387"/>
                      <a:pt x="255" y="378"/>
                    </a:cubicBezTo>
                    <a:cubicBezTo>
                      <a:pt x="251" y="366"/>
                      <a:pt x="250" y="354"/>
                      <a:pt x="254" y="342"/>
                    </a:cubicBezTo>
                    <a:cubicBezTo>
                      <a:pt x="260" y="331"/>
                      <a:pt x="255" y="317"/>
                      <a:pt x="242" y="316"/>
                    </a:cubicBezTo>
                    <a:cubicBezTo>
                      <a:pt x="228" y="321"/>
                      <a:pt x="233" y="299"/>
                      <a:pt x="220" y="301"/>
                    </a:cubicBezTo>
                    <a:cubicBezTo>
                      <a:pt x="206" y="306"/>
                      <a:pt x="206" y="292"/>
                      <a:pt x="214" y="284"/>
                    </a:cubicBezTo>
                    <a:cubicBezTo>
                      <a:pt x="209" y="273"/>
                      <a:pt x="209" y="257"/>
                      <a:pt x="223" y="251"/>
                    </a:cubicBezTo>
                    <a:cubicBezTo>
                      <a:pt x="222" y="239"/>
                      <a:pt x="233" y="242"/>
                      <a:pt x="240" y="240"/>
                    </a:cubicBezTo>
                    <a:cubicBezTo>
                      <a:pt x="244" y="231"/>
                      <a:pt x="254" y="225"/>
                      <a:pt x="254" y="215"/>
                    </a:cubicBezTo>
                    <a:cubicBezTo>
                      <a:pt x="248" y="204"/>
                      <a:pt x="240" y="194"/>
                      <a:pt x="238" y="181"/>
                    </a:cubicBezTo>
                    <a:cubicBezTo>
                      <a:pt x="226" y="177"/>
                      <a:pt x="209" y="170"/>
                      <a:pt x="197" y="179"/>
                    </a:cubicBezTo>
                    <a:cubicBezTo>
                      <a:pt x="187" y="187"/>
                      <a:pt x="175" y="182"/>
                      <a:pt x="164" y="190"/>
                    </a:cubicBezTo>
                    <a:cubicBezTo>
                      <a:pt x="153" y="192"/>
                      <a:pt x="159" y="186"/>
                      <a:pt x="162" y="180"/>
                    </a:cubicBezTo>
                    <a:cubicBezTo>
                      <a:pt x="161" y="169"/>
                      <a:pt x="149" y="161"/>
                      <a:pt x="156" y="150"/>
                    </a:cubicBezTo>
                    <a:cubicBezTo>
                      <a:pt x="155" y="137"/>
                      <a:pt x="165" y="130"/>
                      <a:pt x="166" y="119"/>
                    </a:cubicBezTo>
                    <a:cubicBezTo>
                      <a:pt x="180" y="119"/>
                      <a:pt x="195" y="119"/>
                      <a:pt x="210" y="119"/>
                    </a:cubicBezTo>
                    <a:cubicBezTo>
                      <a:pt x="225" y="120"/>
                      <a:pt x="240" y="118"/>
                      <a:pt x="254" y="120"/>
                    </a:cubicBezTo>
                    <a:cubicBezTo>
                      <a:pt x="265" y="114"/>
                      <a:pt x="271" y="123"/>
                      <a:pt x="280" y="127"/>
                    </a:cubicBezTo>
                    <a:cubicBezTo>
                      <a:pt x="284" y="121"/>
                      <a:pt x="287" y="126"/>
                      <a:pt x="287" y="131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grpSp>
          <p:nvGrpSpPr>
            <p:cNvPr id="158" name="Congo, Democratic Republic of the Congo"/>
            <p:cNvGrpSpPr/>
            <p:nvPr/>
          </p:nvGrpSpPr>
          <p:grpSpPr>
            <a:xfrm>
              <a:off x="4551422" y="4378636"/>
              <a:ext cx="524644" cy="618371"/>
              <a:chOff x="4551422" y="4378636"/>
              <a:chExt cx="524644" cy="618371"/>
            </a:xfrm>
            <a:grpFill/>
          </p:grpSpPr>
          <p:sp>
            <p:nvSpPr>
              <p:cNvPr id="265" name="Democratic Republic of the Congo"/>
              <p:cNvSpPr>
                <a:spLocks/>
              </p:cNvSpPr>
              <p:nvPr/>
            </p:nvSpPr>
            <p:spPr bwMode="auto">
              <a:xfrm>
                <a:off x="4575334" y="4746655"/>
                <a:ext cx="2110" cy="0"/>
              </a:xfrm>
              <a:custGeom>
                <a:avLst/>
                <a:gdLst>
                  <a:gd name="T0" fmla="*/ 0 w 5"/>
                  <a:gd name="T1" fmla="*/ 0 h 1"/>
                  <a:gd name="T2" fmla="*/ 5 w 5"/>
                  <a:gd name="T3" fmla="*/ 0 h 1"/>
                  <a:gd name="T4" fmla="*/ 0 w 5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">
                    <a:moveTo>
                      <a:pt x="0" y="0"/>
                    </a:moveTo>
                    <a:cubicBezTo>
                      <a:pt x="2" y="0"/>
                      <a:pt x="4" y="0"/>
                      <a:pt x="5" y="0"/>
                    </a:cubicBezTo>
                    <a:cubicBezTo>
                      <a:pt x="4" y="1"/>
                      <a:pt x="2" y="1"/>
                      <a:pt x="0" y="0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66" name="Democratic Republic of the Congo"/>
              <p:cNvSpPr>
                <a:spLocks noEditPoints="1"/>
              </p:cNvSpPr>
              <p:nvPr/>
            </p:nvSpPr>
            <p:spPr bwMode="auto">
              <a:xfrm>
                <a:off x="4551422" y="4378636"/>
                <a:ext cx="524644" cy="618371"/>
              </a:xfrm>
              <a:custGeom>
                <a:avLst/>
                <a:gdLst>
                  <a:gd name="T0" fmla="*/ 19 w 1444"/>
                  <a:gd name="T1" fmla="*/ 866 h 1435"/>
                  <a:gd name="T2" fmla="*/ 0 w 1444"/>
                  <a:gd name="T3" fmla="*/ 848 h 1435"/>
                  <a:gd name="T4" fmla="*/ 21 w 1444"/>
                  <a:gd name="T5" fmla="*/ 793 h 1435"/>
                  <a:gd name="T6" fmla="*/ 71 w 1444"/>
                  <a:gd name="T7" fmla="*/ 756 h 1435"/>
                  <a:gd name="T8" fmla="*/ 141 w 1444"/>
                  <a:gd name="T9" fmla="*/ 742 h 1435"/>
                  <a:gd name="T10" fmla="*/ 206 w 1444"/>
                  <a:gd name="T11" fmla="*/ 762 h 1435"/>
                  <a:gd name="T12" fmla="*/ 299 w 1444"/>
                  <a:gd name="T13" fmla="*/ 671 h 1435"/>
                  <a:gd name="T14" fmla="*/ 337 w 1444"/>
                  <a:gd name="T15" fmla="*/ 531 h 1435"/>
                  <a:gd name="T16" fmla="*/ 436 w 1444"/>
                  <a:gd name="T17" fmla="*/ 377 h 1435"/>
                  <a:gd name="T18" fmla="*/ 454 w 1444"/>
                  <a:gd name="T19" fmla="*/ 228 h 1435"/>
                  <a:gd name="T20" fmla="*/ 483 w 1444"/>
                  <a:gd name="T21" fmla="*/ 131 h 1435"/>
                  <a:gd name="T22" fmla="*/ 567 w 1444"/>
                  <a:gd name="T23" fmla="*/ 21 h 1435"/>
                  <a:gd name="T24" fmla="*/ 710 w 1444"/>
                  <a:gd name="T25" fmla="*/ 85 h 1435"/>
                  <a:gd name="T26" fmla="*/ 817 w 1444"/>
                  <a:gd name="T27" fmla="*/ 51 h 1435"/>
                  <a:gd name="T28" fmla="*/ 917 w 1444"/>
                  <a:gd name="T29" fmla="*/ 28 h 1435"/>
                  <a:gd name="T30" fmla="*/ 965 w 1444"/>
                  <a:gd name="T31" fmla="*/ 33 h 1435"/>
                  <a:gd name="T32" fmla="*/ 1046 w 1444"/>
                  <a:gd name="T33" fmla="*/ 13 h 1435"/>
                  <a:gd name="T34" fmla="*/ 1147 w 1444"/>
                  <a:gd name="T35" fmla="*/ 26 h 1435"/>
                  <a:gd name="T36" fmla="*/ 1199 w 1444"/>
                  <a:gd name="T37" fmla="*/ 73 h 1435"/>
                  <a:gd name="T38" fmla="*/ 1302 w 1444"/>
                  <a:gd name="T39" fmla="*/ 54 h 1435"/>
                  <a:gd name="T40" fmla="*/ 1392 w 1444"/>
                  <a:gd name="T41" fmla="*/ 132 h 1435"/>
                  <a:gd name="T42" fmla="*/ 1404 w 1444"/>
                  <a:gd name="T43" fmla="*/ 196 h 1435"/>
                  <a:gd name="T44" fmla="*/ 1426 w 1444"/>
                  <a:gd name="T45" fmla="*/ 265 h 1435"/>
                  <a:gd name="T46" fmla="*/ 1328 w 1444"/>
                  <a:gd name="T47" fmla="*/ 395 h 1435"/>
                  <a:gd name="T48" fmla="*/ 1312 w 1444"/>
                  <a:gd name="T49" fmla="*/ 514 h 1435"/>
                  <a:gd name="T50" fmla="*/ 1261 w 1444"/>
                  <a:gd name="T51" fmla="*/ 614 h 1435"/>
                  <a:gd name="T52" fmla="*/ 1282 w 1444"/>
                  <a:gd name="T53" fmla="*/ 666 h 1435"/>
                  <a:gd name="T54" fmla="*/ 1296 w 1444"/>
                  <a:gd name="T55" fmla="*/ 749 h 1435"/>
                  <a:gd name="T56" fmla="*/ 1308 w 1444"/>
                  <a:gd name="T57" fmla="*/ 898 h 1435"/>
                  <a:gd name="T58" fmla="*/ 1387 w 1444"/>
                  <a:gd name="T59" fmla="*/ 1034 h 1435"/>
                  <a:gd name="T60" fmla="*/ 1216 w 1444"/>
                  <a:gd name="T61" fmla="*/ 1119 h 1435"/>
                  <a:gd name="T62" fmla="*/ 1207 w 1444"/>
                  <a:gd name="T63" fmla="*/ 1274 h 1435"/>
                  <a:gd name="T64" fmla="*/ 1284 w 1444"/>
                  <a:gd name="T65" fmla="*/ 1341 h 1435"/>
                  <a:gd name="T66" fmla="*/ 1295 w 1444"/>
                  <a:gd name="T67" fmla="*/ 1419 h 1435"/>
                  <a:gd name="T68" fmla="*/ 1199 w 1444"/>
                  <a:gd name="T69" fmla="*/ 1355 h 1435"/>
                  <a:gd name="T70" fmla="*/ 1104 w 1444"/>
                  <a:gd name="T71" fmla="*/ 1301 h 1435"/>
                  <a:gd name="T72" fmla="*/ 982 w 1444"/>
                  <a:gd name="T73" fmla="*/ 1292 h 1435"/>
                  <a:gd name="T74" fmla="*/ 893 w 1444"/>
                  <a:gd name="T75" fmla="*/ 1245 h 1435"/>
                  <a:gd name="T76" fmla="*/ 798 w 1444"/>
                  <a:gd name="T77" fmla="*/ 1247 h 1435"/>
                  <a:gd name="T78" fmla="*/ 751 w 1444"/>
                  <a:gd name="T79" fmla="*/ 1256 h 1435"/>
                  <a:gd name="T80" fmla="*/ 721 w 1444"/>
                  <a:gd name="T81" fmla="*/ 1116 h 1435"/>
                  <a:gd name="T82" fmla="*/ 702 w 1444"/>
                  <a:gd name="T83" fmla="*/ 961 h 1435"/>
                  <a:gd name="T84" fmla="*/ 552 w 1444"/>
                  <a:gd name="T85" fmla="*/ 939 h 1435"/>
                  <a:gd name="T86" fmla="*/ 487 w 1444"/>
                  <a:gd name="T87" fmla="*/ 1009 h 1435"/>
                  <a:gd name="T88" fmla="*/ 375 w 1444"/>
                  <a:gd name="T89" fmla="*/ 978 h 1435"/>
                  <a:gd name="T90" fmla="*/ 332 w 1444"/>
                  <a:gd name="T91" fmla="*/ 867 h 1435"/>
                  <a:gd name="T92" fmla="*/ 131 w 1444"/>
                  <a:gd name="T93" fmla="*/ 851 h 1435"/>
                  <a:gd name="T94" fmla="*/ 72 w 1444"/>
                  <a:gd name="T95" fmla="*/ 853 h 1435"/>
                  <a:gd name="T96" fmla="*/ 49 w 1444"/>
                  <a:gd name="T97" fmla="*/ 851 h 1435"/>
                  <a:gd name="T98" fmla="*/ 20 w 1444"/>
                  <a:gd name="T99" fmla="*/ 866 h 1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444" h="1435">
                    <a:moveTo>
                      <a:pt x="905" y="35"/>
                    </a:moveTo>
                    <a:cubicBezTo>
                      <a:pt x="906" y="35"/>
                      <a:pt x="906" y="35"/>
                      <a:pt x="907" y="35"/>
                    </a:cubicBezTo>
                    <a:cubicBezTo>
                      <a:pt x="907" y="35"/>
                      <a:pt x="906" y="35"/>
                      <a:pt x="905" y="35"/>
                    </a:cubicBezTo>
                    <a:close/>
                    <a:moveTo>
                      <a:pt x="19" y="866"/>
                    </a:moveTo>
                    <a:cubicBezTo>
                      <a:pt x="14" y="866"/>
                      <a:pt x="21" y="865"/>
                      <a:pt x="20" y="862"/>
                    </a:cubicBezTo>
                    <a:cubicBezTo>
                      <a:pt x="20" y="860"/>
                      <a:pt x="14" y="859"/>
                      <a:pt x="15" y="863"/>
                    </a:cubicBezTo>
                    <a:cubicBezTo>
                      <a:pt x="14" y="862"/>
                      <a:pt x="12" y="859"/>
                      <a:pt x="11" y="858"/>
                    </a:cubicBezTo>
                    <a:cubicBezTo>
                      <a:pt x="7" y="855"/>
                      <a:pt x="3" y="852"/>
                      <a:pt x="0" y="848"/>
                    </a:cubicBezTo>
                    <a:cubicBezTo>
                      <a:pt x="0" y="848"/>
                      <a:pt x="0" y="848"/>
                      <a:pt x="0" y="848"/>
                    </a:cubicBezTo>
                    <a:cubicBezTo>
                      <a:pt x="3" y="845"/>
                      <a:pt x="8" y="843"/>
                      <a:pt x="12" y="843"/>
                    </a:cubicBezTo>
                    <a:cubicBezTo>
                      <a:pt x="24" y="847"/>
                      <a:pt x="28" y="837"/>
                      <a:pt x="25" y="827"/>
                    </a:cubicBezTo>
                    <a:cubicBezTo>
                      <a:pt x="23" y="815"/>
                      <a:pt x="31" y="800"/>
                      <a:pt x="21" y="793"/>
                    </a:cubicBezTo>
                    <a:cubicBezTo>
                      <a:pt x="28" y="791"/>
                      <a:pt x="32" y="784"/>
                      <a:pt x="39" y="780"/>
                    </a:cubicBezTo>
                    <a:cubicBezTo>
                      <a:pt x="44" y="766"/>
                      <a:pt x="57" y="766"/>
                      <a:pt x="68" y="760"/>
                    </a:cubicBezTo>
                    <a:cubicBezTo>
                      <a:pt x="67" y="758"/>
                      <a:pt x="67" y="758"/>
                      <a:pt x="67" y="758"/>
                    </a:cubicBezTo>
                    <a:cubicBezTo>
                      <a:pt x="68" y="758"/>
                      <a:pt x="70" y="757"/>
                      <a:pt x="71" y="756"/>
                    </a:cubicBezTo>
                    <a:cubicBezTo>
                      <a:pt x="74" y="765"/>
                      <a:pt x="86" y="768"/>
                      <a:pt x="90" y="776"/>
                    </a:cubicBezTo>
                    <a:cubicBezTo>
                      <a:pt x="97" y="780"/>
                      <a:pt x="99" y="766"/>
                      <a:pt x="107" y="770"/>
                    </a:cubicBezTo>
                    <a:cubicBezTo>
                      <a:pt x="121" y="768"/>
                      <a:pt x="109" y="746"/>
                      <a:pt x="122" y="744"/>
                    </a:cubicBezTo>
                    <a:cubicBezTo>
                      <a:pt x="128" y="752"/>
                      <a:pt x="135" y="749"/>
                      <a:pt x="141" y="742"/>
                    </a:cubicBezTo>
                    <a:cubicBezTo>
                      <a:pt x="150" y="746"/>
                      <a:pt x="165" y="725"/>
                      <a:pt x="167" y="739"/>
                    </a:cubicBezTo>
                    <a:cubicBezTo>
                      <a:pt x="176" y="744"/>
                      <a:pt x="168" y="750"/>
                      <a:pt x="164" y="756"/>
                    </a:cubicBezTo>
                    <a:cubicBezTo>
                      <a:pt x="173" y="761"/>
                      <a:pt x="161" y="781"/>
                      <a:pt x="174" y="777"/>
                    </a:cubicBezTo>
                    <a:cubicBezTo>
                      <a:pt x="186" y="784"/>
                      <a:pt x="201" y="776"/>
                      <a:pt x="206" y="762"/>
                    </a:cubicBezTo>
                    <a:cubicBezTo>
                      <a:pt x="217" y="754"/>
                      <a:pt x="222" y="738"/>
                      <a:pt x="235" y="734"/>
                    </a:cubicBezTo>
                    <a:cubicBezTo>
                      <a:pt x="248" y="738"/>
                      <a:pt x="247" y="724"/>
                      <a:pt x="252" y="716"/>
                    </a:cubicBezTo>
                    <a:cubicBezTo>
                      <a:pt x="260" y="709"/>
                      <a:pt x="274" y="714"/>
                      <a:pt x="280" y="705"/>
                    </a:cubicBezTo>
                    <a:cubicBezTo>
                      <a:pt x="286" y="694"/>
                      <a:pt x="292" y="682"/>
                      <a:pt x="299" y="671"/>
                    </a:cubicBezTo>
                    <a:cubicBezTo>
                      <a:pt x="307" y="661"/>
                      <a:pt x="299" y="647"/>
                      <a:pt x="301" y="635"/>
                    </a:cubicBezTo>
                    <a:cubicBezTo>
                      <a:pt x="299" y="623"/>
                      <a:pt x="307" y="612"/>
                      <a:pt x="303" y="600"/>
                    </a:cubicBezTo>
                    <a:cubicBezTo>
                      <a:pt x="301" y="589"/>
                      <a:pt x="297" y="574"/>
                      <a:pt x="308" y="567"/>
                    </a:cubicBezTo>
                    <a:cubicBezTo>
                      <a:pt x="322" y="559"/>
                      <a:pt x="331" y="546"/>
                      <a:pt x="337" y="531"/>
                    </a:cubicBezTo>
                    <a:cubicBezTo>
                      <a:pt x="343" y="511"/>
                      <a:pt x="359" y="492"/>
                      <a:pt x="380" y="489"/>
                    </a:cubicBezTo>
                    <a:cubicBezTo>
                      <a:pt x="393" y="484"/>
                      <a:pt x="400" y="471"/>
                      <a:pt x="410" y="462"/>
                    </a:cubicBezTo>
                    <a:cubicBezTo>
                      <a:pt x="425" y="448"/>
                      <a:pt x="413" y="430"/>
                      <a:pt x="419" y="414"/>
                    </a:cubicBezTo>
                    <a:cubicBezTo>
                      <a:pt x="420" y="399"/>
                      <a:pt x="431" y="390"/>
                      <a:pt x="436" y="377"/>
                    </a:cubicBezTo>
                    <a:cubicBezTo>
                      <a:pt x="428" y="365"/>
                      <a:pt x="432" y="353"/>
                      <a:pt x="429" y="340"/>
                    </a:cubicBezTo>
                    <a:cubicBezTo>
                      <a:pt x="426" y="329"/>
                      <a:pt x="437" y="320"/>
                      <a:pt x="437" y="309"/>
                    </a:cubicBezTo>
                    <a:cubicBezTo>
                      <a:pt x="442" y="299"/>
                      <a:pt x="446" y="287"/>
                      <a:pt x="443" y="276"/>
                    </a:cubicBezTo>
                    <a:cubicBezTo>
                      <a:pt x="444" y="259"/>
                      <a:pt x="441" y="240"/>
                      <a:pt x="454" y="228"/>
                    </a:cubicBezTo>
                    <a:cubicBezTo>
                      <a:pt x="458" y="215"/>
                      <a:pt x="470" y="206"/>
                      <a:pt x="472" y="191"/>
                    </a:cubicBezTo>
                    <a:cubicBezTo>
                      <a:pt x="479" y="177"/>
                      <a:pt x="491" y="164"/>
                      <a:pt x="485" y="147"/>
                    </a:cubicBezTo>
                    <a:cubicBezTo>
                      <a:pt x="483" y="145"/>
                      <a:pt x="483" y="145"/>
                      <a:pt x="483" y="145"/>
                    </a:cubicBezTo>
                    <a:cubicBezTo>
                      <a:pt x="485" y="145"/>
                      <a:pt x="484" y="135"/>
                      <a:pt x="483" y="131"/>
                    </a:cubicBezTo>
                    <a:cubicBezTo>
                      <a:pt x="481" y="117"/>
                      <a:pt x="492" y="101"/>
                      <a:pt x="481" y="89"/>
                    </a:cubicBezTo>
                    <a:cubicBezTo>
                      <a:pt x="473" y="78"/>
                      <a:pt x="488" y="81"/>
                      <a:pt x="493" y="78"/>
                    </a:cubicBezTo>
                    <a:cubicBezTo>
                      <a:pt x="501" y="64"/>
                      <a:pt x="512" y="51"/>
                      <a:pt x="521" y="37"/>
                    </a:cubicBezTo>
                    <a:cubicBezTo>
                      <a:pt x="536" y="29"/>
                      <a:pt x="549" y="16"/>
                      <a:pt x="567" y="21"/>
                    </a:cubicBezTo>
                    <a:cubicBezTo>
                      <a:pt x="578" y="30"/>
                      <a:pt x="592" y="35"/>
                      <a:pt x="603" y="44"/>
                    </a:cubicBezTo>
                    <a:cubicBezTo>
                      <a:pt x="617" y="48"/>
                      <a:pt x="621" y="62"/>
                      <a:pt x="627" y="72"/>
                    </a:cubicBezTo>
                    <a:cubicBezTo>
                      <a:pt x="642" y="81"/>
                      <a:pt x="663" y="65"/>
                      <a:pt x="675" y="83"/>
                    </a:cubicBezTo>
                    <a:cubicBezTo>
                      <a:pt x="686" y="81"/>
                      <a:pt x="699" y="93"/>
                      <a:pt x="710" y="85"/>
                    </a:cubicBezTo>
                    <a:cubicBezTo>
                      <a:pt x="725" y="86"/>
                      <a:pt x="741" y="88"/>
                      <a:pt x="755" y="96"/>
                    </a:cubicBezTo>
                    <a:cubicBezTo>
                      <a:pt x="771" y="104"/>
                      <a:pt x="785" y="87"/>
                      <a:pt x="784" y="72"/>
                    </a:cubicBezTo>
                    <a:cubicBezTo>
                      <a:pt x="795" y="72"/>
                      <a:pt x="790" y="52"/>
                      <a:pt x="803" y="52"/>
                    </a:cubicBezTo>
                    <a:cubicBezTo>
                      <a:pt x="804" y="44"/>
                      <a:pt x="814" y="41"/>
                      <a:pt x="817" y="51"/>
                    </a:cubicBezTo>
                    <a:cubicBezTo>
                      <a:pt x="827" y="50"/>
                      <a:pt x="832" y="58"/>
                      <a:pt x="841" y="62"/>
                    </a:cubicBezTo>
                    <a:cubicBezTo>
                      <a:pt x="852" y="55"/>
                      <a:pt x="863" y="47"/>
                      <a:pt x="877" y="45"/>
                    </a:cubicBezTo>
                    <a:cubicBezTo>
                      <a:pt x="887" y="43"/>
                      <a:pt x="896" y="36"/>
                      <a:pt x="905" y="35"/>
                    </a:cubicBezTo>
                    <a:cubicBezTo>
                      <a:pt x="901" y="35"/>
                      <a:pt x="915" y="32"/>
                      <a:pt x="917" y="28"/>
                    </a:cubicBezTo>
                    <a:cubicBezTo>
                      <a:pt x="921" y="30"/>
                      <a:pt x="931" y="26"/>
                      <a:pt x="935" y="30"/>
                    </a:cubicBezTo>
                    <a:cubicBezTo>
                      <a:pt x="940" y="44"/>
                      <a:pt x="954" y="32"/>
                      <a:pt x="964" y="32"/>
                    </a:cubicBezTo>
                    <a:cubicBezTo>
                      <a:pt x="964" y="32"/>
                      <a:pt x="964" y="32"/>
                      <a:pt x="964" y="32"/>
                    </a:cubicBezTo>
                    <a:cubicBezTo>
                      <a:pt x="965" y="33"/>
                      <a:pt x="965" y="33"/>
                      <a:pt x="965" y="33"/>
                    </a:cubicBezTo>
                    <a:cubicBezTo>
                      <a:pt x="959" y="35"/>
                      <a:pt x="993" y="31"/>
                      <a:pt x="988" y="17"/>
                    </a:cubicBezTo>
                    <a:cubicBezTo>
                      <a:pt x="989" y="0"/>
                      <a:pt x="1011" y="0"/>
                      <a:pt x="1018" y="11"/>
                    </a:cubicBezTo>
                    <a:cubicBezTo>
                      <a:pt x="1028" y="11"/>
                      <a:pt x="1020" y="13"/>
                      <a:pt x="1030" y="15"/>
                    </a:cubicBezTo>
                    <a:cubicBezTo>
                      <a:pt x="1024" y="17"/>
                      <a:pt x="1040" y="16"/>
                      <a:pt x="1046" y="13"/>
                    </a:cubicBezTo>
                    <a:cubicBezTo>
                      <a:pt x="1055" y="13"/>
                      <a:pt x="1066" y="20"/>
                      <a:pt x="1074" y="25"/>
                    </a:cubicBezTo>
                    <a:cubicBezTo>
                      <a:pt x="1085" y="26"/>
                      <a:pt x="1094" y="21"/>
                      <a:pt x="1104" y="26"/>
                    </a:cubicBezTo>
                    <a:cubicBezTo>
                      <a:pt x="1112" y="9"/>
                      <a:pt x="1130" y="16"/>
                      <a:pt x="1144" y="23"/>
                    </a:cubicBezTo>
                    <a:cubicBezTo>
                      <a:pt x="1145" y="26"/>
                      <a:pt x="1147" y="26"/>
                      <a:pt x="1147" y="26"/>
                    </a:cubicBezTo>
                    <a:cubicBezTo>
                      <a:pt x="1148" y="28"/>
                      <a:pt x="1148" y="28"/>
                      <a:pt x="1148" y="28"/>
                    </a:cubicBezTo>
                    <a:cubicBezTo>
                      <a:pt x="1154" y="37"/>
                      <a:pt x="1165" y="36"/>
                      <a:pt x="1169" y="46"/>
                    </a:cubicBezTo>
                    <a:cubicBezTo>
                      <a:pt x="1174" y="51"/>
                      <a:pt x="1174" y="68"/>
                      <a:pt x="1187" y="62"/>
                    </a:cubicBezTo>
                    <a:cubicBezTo>
                      <a:pt x="1195" y="62"/>
                      <a:pt x="1190" y="75"/>
                      <a:pt x="1199" y="73"/>
                    </a:cubicBezTo>
                    <a:cubicBezTo>
                      <a:pt x="1203" y="81"/>
                      <a:pt x="1225" y="89"/>
                      <a:pt x="1221" y="83"/>
                    </a:cubicBezTo>
                    <a:cubicBezTo>
                      <a:pt x="1230" y="78"/>
                      <a:pt x="1239" y="71"/>
                      <a:pt x="1246" y="63"/>
                    </a:cubicBezTo>
                    <a:cubicBezTo>
                      <a:pt x="1254" y="72"/>
                      <a:pt x="1270" y="65"/>
                      <a:pt x="1278" y="77"/>
                    </a:cubicBezTo>
                    <a:cubicBezTo>
                      <a:pt x="1291" y="80"/>
                      <a:pt x="1297" y="60"/>
                      <a:pt x="1302" y="54"/>
                    </a:cubicBezTo>
                    <a:cubicBezTo>
                      <a:pt x="1313" y="55"/>
                      <a:pt x="1329" y="60"/>
                      <a:pt x="1324" y="74"/>
                    </a:cubicBezTo>
                    <a:cubicBezTo>
                      <a:pt x="1328" y="81"/>
                      <a:pt x="1337" y="78"/>
                      <a:pt x="1339" y="88"/>
                    </a:cubicBezTo>
                    <a:cubicBezTo>
                      <a:pt x="1350" y="99"/>
                      <a:pt x="1358" y="112"/>
                      <a:pt x="1376" y="114"/>
                    </a:cubicBezTo>
                    <a:cubicBezTo>
                      <a:pt x="1389" y="115"/>
                      <a:pt x="1376" y="142"/>
                      <a:pt x="1392" y="132"/>
                    </a:cubicBezTo>
                    <a:cubicBezTo>
                      <a:pt x="1400" y="125"/>
                      <a:pt x="1402" y="141"/>
                      <a:pt x="1405" y="141"/>
                    </a:cubicBezTo>
                    <a:cubicBezTo>
                      <a:pt x="1405" y="143"/>
                      <a:pt x="1405" y="143"/>
                      <a:pt x="1405" y="143"/>
                    </a:cubicBezTo>
                    <a:cubicBezTo>
                      <a:pt x="1418" y="141"/>
                      <a:pt x="1402" y="160"/>
                      <a:pt x="1401" y="165"/>
                    </a:cubicBezTo>
                    <a:cubicBezTo>
                      <a:pt x="1390" y="177"/>
                      <a:pt x="1412" y="184"/>
                      <a:pt x="1404" y="196"/>
                    </a:cubicBezTo>
                    <a:cubicBezTo>
                      <a:pt x="1401" y="204"/>
                      <a:pt x="1389" y="221"/>
                      <a:pt x="1401" y="224"/>
                    </a:cubicBezTo>
                    <a:cubicBezTo>
                      <a:pt x="1404" y="238"/>
                      <a:pt x="1413" y="222"/>
                      <a:pt x="1418" y="229"/>
                    </a:cubicBezTo>
                    <a:cubicBezTo>
                      <a:pt x="1419" y="239"/>
                      <a:pt x="1431" y="230"/>
                      <a:pt x="1431" y="239"/>
                    </a:cubicBezTo>
                    <a:cubicBezTo>
                      <a:pt x="1444" y="246"/>
                      <a:pt x="1432" y="257"/>
                      <a:pt x="1426" y="265"/>
                    </a:cubicBezTo>
                    <a:cubicBezTo>
                      <a:pt x="1416" y="282"/>
                      <a:pt x="1395" y="289"/>
                      <a:pt x="1385" y="306"/>
                    </a:cubicBezTo>
                    <a:cubicBezTo>
                      <a:pt x="1381" y="320"/>
                      <a:pt x="1363" y="316"/>
                      <a:pt x="1358" y="326"/>
                    </a:cubicBezTo>
                    <a:cubicBezTo>
                      <a:pt x="1362" y="345"/>
                      <a:pt x="1333" y="339"/>
                      <a:pt x="1338" y="357"/>
                    </a:cubicBezTo>
                    <a:cubicBezTo>
                      <a:pt x="1342" y="372"/>
                      <a:pt x="1329" y="380"/>
                      <a:pt x="1328" y="395"/>
                    </a:cubicBezTo>
                    <a:cubicBezTo>
                      <a:pt x="1317" y="403"/>
                      <a:pt x="1321" y="420"/>
                      <a:pt x="1317" y="432"/>
                    </a:cubicBezTo>
                    <a:cubicBezTo>
                      <a:pt x="1316" y="446"/>
                      <a:pt x="1314" y="460"/>
                      <a:pt x="1314" y="474"/>
                    </a:cubicBezTo>
                    <a:cubicBezTo>
                      <a:pt x="1307" y="484"/>
                      <a:pt x="1310" y="498"/>
                      <a:pt x="1311" y="510"/>
                    </a:cubicBezTo>
                    <a:cubicBezTo>
                      <a:pt x="1311" y="512"/>
                      <a:pt x="1312" y="513"/>
                      <a:pt x="1312" y="514"/>
                    </a:cubicBezTo>
                    <a:cubicBezTo>
                      <a:pt x="1311" y="515"/>
                      <a:pt x="1311" y="515"/>
                      <a:pt x="1311" y="515"/>
                    </a:cubicBezTo>
                    <a:cubicBezTo>
                      <a:pt x="1297" y="523"/>
                      <a:pt x="1286" y="533"/>
                      <a:pt x="1278" y="547"/>
                    </a:cubicBezTo>
                    <a:cubicBezTo>
                      <a:pt x="1273" y="560"/>
                      <a:pt x="1286" y="582"/>
                      <a:pt x="1265" y="586"/>
                    </a:cubicBezTo>
                    <a:cubicBezTo>
                      <a:pt x="1253" y="589"/>
                      <a:pt x="1254" y="607"/>
                      <a:pt x="1261" y="614"/>
                    </a:cubicBezTo>
                    <a:cubicBezTo>
                      <a:pt x="1263" y="616"/>
                      <a:pt x="1265" y="617"/>
                      <a:pt x="1266" y="617"/>
                    </a:cubicBezTo>
                    <a:cubicBezTo>
                      <a:pt x="1267" y="619"/>
                      <a:pt x="1267" y="619"/>
                      <a:pt x="1267" y="619"/>
                    </a:cubicBezTo>
                    <a:cubicBezTo>
                      <a:pt x="1262" y="624"/>
                      <a:pt x="1272" y="628"/>
                      <a:pt x="1274" y="634"/>
                    </a:cubicBezTo>
                    <a:cubicBezTo>
                      <a:pt x="1288" y="640"/>
                      <a:pt x="1280" y="655"/>
                      <a:pt x="1282" y="666"/>
                    </a:cubicBezTo>
                    <a:cubicBezTo>
                      <a:pt x="1285" y="678"/>
                      <a:pt x="1283" y="690"/>
                      <a:pt x="1282" y="701"/>
                    </a:cubicBezTo>
                    <a:cubicBezTo>
                      <a:pt x="1284" y="715"/>
                      <a:pt x="1298" y="725"/>
                      <a:pt x="1294" y="740"/>
                    </a:cubicBezTo>
                    <a:cubicBezTo>
                      <a:pt x="1294" y="743"/>
                      <a:pt x="1296" y="746"/>
                      <a:pt x="1297" y="747"/>
                    </a:cubicBezTo>
                    <a:cubicBezTo>
                      <a:pt x="1296" y="749"/>
                      <a:pt x="1296" y="749"/>
                      <a:pt x="1296" y="749"/>
                    </a:cubicBezTo>
                    <a:cubicBezTo>
                      <a:pt x="1299" y="762"/>
                      <a:pt x="1285" y="773"/>
                      <a:pt x="1290" y="786"/>
                    </a:cubicBezTo>
                    <a:cubicBezTo>
                      <a:pt x="1291" y="797"/>
                      <a:pt x="1299" y="805"/>
                      <a:pt x="1300" y="816"/>
                    </a:cubicBezTo>
                    <a:cubicBezTo>
                      <a:pt x="1302" y="828"/>
                      <a:pt x="1314" y="840"/>
                      <a:pt x="1308" y="852"/>
                    </a:cubicBezTo>
                    <a:cubicBezTo>
                      <a:pt x="1294" y="864"/>
                      <a:pt x="1300" y="885"/>
                      <a:pt x="1308" y="898"/>
                    </a:cubicBezTo>
                    <a:cubicBezTo>
                      <a:pt x="1312" y="915"/>
                      <a:pt x="1326" y="924"/>
                      <a:pt x="1340" y="931"/>
                    </a:cubicBezTo>
                    <a:cubicBezTo>
                      <a:pt x="1356" y="945"/>
                      <a:pt x="1366" y="965"/>
                      <a:pt x="1367" y="985"/>
                    </a:cubicBezTo>
                    <a:cubicBezTo>
                      <a:pt x="1373" y="1002"/>
                      <a:pt x="1389" y="1015"/>
                      <a:pt x="1389" y="1033"/>
                    </a:cubicBezTo>
                    <a:cubicBezTo>
                      <a:pt x="1388" y="1033"/>
                      <a:pt x="1387" y="1033"/>
                      <a:pt x="1387" y="1034"/>
                    </a:cubicBezTo>
                    <a:cubicBezTo>
                      <a:pt x="1377" y="1038"/>
                      <a:pt x="1363" y="1037"/>
                      <a:pt x="1352" y="1040"/>
                    </a:cubicBezTo>
                    <a:cubicBezTo>
                      <a:pt x="1318" y="1045"/>
                      <a:pt x="1284" y="1050"/>
                      <a:pt x="1251" y="1055"/>
                    </a:cubicBezTo>
                    <a:cubicBezTo>
                      <a:pt x="1262" y="1072"/>
                      <a:pt x="1242" y="1087"/>
                      <a:pt x="1232" y="1098"/>
                    </a:cubicBezTo>
                    <a:cubicBezTo>
                      <a:pt x="1227" y="1105"/>
                      <a:pt x="1200" y="1112"/>
                      <a:pt x="1216" y="1119"/>
                    </a:cubicBezTo>
                    <a:cubicBezTo>
                      <a:pt x="1224" y="1129"/>
                      <a:pt x="1226" y="1142"/>
                      <a:pt x="1231" y="1154"/>
                    </a:cubicBezTo>
                    <a:cubicBezTo>
                      <a:pt x="1227" y="1169"/>
                      <a:pt x="1222" y="1184"/>
                      <a:pt x="1226" y="1199"/>
                    </a:cubicBezTo>
                    <a:cubicBezTo>
                      <a:pt x="1226" y="1211"/>
                      <a:pt x="1234" y="1223"/>
                      <a:pt x="1221" y="1230"/>
                    </a:cubicBezTo>
                    <a:cubicBezTo>
                      <a:pt x="1215" y="1245"/>
                      <a:pt x="1214" y="1260"/>
                      <a:pt x="1207" y="1274"/>
                    </a:cubicBezTo>
                    <a:cubicBezTo>
                      <a:pt x="1198" y="1286"/>
                      <a:pt x="1209" y="1302"/>
                      <a:pt x="1216" y="1313"/>
                    </a:cubicBezTo>
                    <a:cubicBezTo>
                      <a:pt x="1228" y="1320"/>
                      <a:pt x="1238" y="1329"/>
                      <a:pt x="1246" y="1341"/>
                    </a:cubicBezTo>
                    <a:cubicBezTo>
                      <a:pt x="1251" y="1358"/>
                      <a:pt x="1270" y="1346"/>
                      <a:pt x="1281" y="1357"/>
                    </a:cubicBezTo>
                    <a:cubicBezTo>
                      <a:pt x="1294" y="1356"/>
                      <a:pt x="1274" y="1347"/>
                      <a:pt x="1284" y="1341"/>
                    </a:cubicBezTo>
                    <a:cubicBezTo>
                      <a:pt x="1291" y="1336"/>
                      <a:pt x="1300" y="1338"/>
                      <a:pt x="1307" y="1336"/>
                    </a:cubicBezTo>
                    <a:cubicBezTo>
                      <a:pt x="1308" y="1353"/>
                      <a:pt x="1306" y="1371"/>
                      <a:pt x="1306" y="1389"/>
                    </a:cubicBezTo>
                    <a:cubicBezTo>
                      <a:pt x="1303" y="1403"/>
                      <a:pt x="1307" y="1423"/>
                      <a:pt x="1301" y="1433"/>
                    </a:cubicBezTo>
                    <a:cubicBezTo>
                      <a:pt x="1286" y="1429"/>
                      <a:pt x="1293" y="1425"/>
                      <a:pt x="1295" y="1419"/>
                    </a:cubicBezTo>
                    <a:cubicBezTo>
                      <a:pt x="1282" y="1408"/>
                      <a:pt x="1268" y="1435"/>
                      <a:pt x="1255" y="1427"/>
                    </a:cubicBezTo>
                    <a:cubicBezTo>
                      <a:pt x="1238" y="1431"/>
                      <a:pt x="1243" y="1411"/>
                      <a:pt x="1235" y="1402"/>
                    </a:cubicBezTo>
                    <a:cubicBezTo>
                      <a:pt x="1232" y="1394"/>
                      <a:pt x="1223" y="1381"/>
                      <a:pt x="1215" y="1388"/>
                    </a:cubicBezTo>
                    <a:cubicBezTo>
                      <a:pt x="1208" y="1377"/>
                      <a:pt x="1214" y="1362"/>
                      <a:pt x="1199" y="1355"/>
                    </a:cubicBezTo>
                    <a:cubicBezTo>
                      <a:pt x="1186" y="1353"/>
                      <a:pt x="1175" y="1349"/>
                      <a:pt x="1165" y="1341"/>
                    </a:cubicBezTo>
                    <a:cubicBezTo>
                      <a:pt x="1150" y="1350"/>
                      <a:pt x="1137" y="1333"/>
                      <a:pt x="1136" y="1318"/>
                    </a:cubicBezTo>
                    <a:cubicBezTo>
                      <a:pt x="1129" y="1310"/>
                      <a:pt x="1115" y="1305"/>
                      <a:pt x="1119" y="1292"/>
                    </a:cubicBezTo>
                    <a:cubicBezTo>
                      <a:pt x="1113" y="1282"/>
                      <a:pt x="1101" y="1292"/>
                      <a:pt x="1104" y="1301"/>
                    </a:cubicBezTo>
                    <a:cubicBezTo>
                      <a:pt x="1103" y="1317"/>
                      <a:pt x="1084" y="1322"/>
                      <a:pt x="1071" y="1318"/>
                    </a:cubicBezTo>
                    <a:cubicBezTo>
                      <a:pt x="1058" y="1312"/>
                      <a:pt x="1043" y="1314"/>
                      <a:pt x="1029" y="1312"/>
                    </a:cubicBezTo>
                    <a:cubicBezTo>
                      <a:pt x="1020" y="1303"/>
                      <a:pt x="1009" y="1305"/>
                      <a:pt x="999" y="1299"/>
                    </a:cubicBezTo>
                    <a:cubicBezTo>
                      <a:pt x="990" y="1307"/>
                      <a:pt x="991" y="1291"/>
                      <a:pt x="982" y="1292"/>
                    </a:cubicBezTo>
                    <a:cubicBezTo>
                      <a:pt x="974" y="1281"/>
                      <a:pt x="979" y="1269"/>
                      <a:pt x="980" y="1258"/>
                    </a:cubicBezTo>
                    <a:cubicBezTo>
                      <a:pt x="963" y="1266"/>
                      <a:pt x="943" y="1261"/>
                      <a:pt x="928" y="1272"/>
                    </a:cubicBezTo>
                    <a:cubicBezTo>
                      <a:pt x="921" y="1281"/>
                      <a:pt x="910" y="1277"/>
                      <a:pt x="904" y="1271"/>
                    </a:cubicBezTo>
                    <a:cubicBezTo>
                      <a:pt x="919" y="1265"/>
                      <a:pt x="909" y="1240"/>
                      <a:pt x="893" y="1245"/>
                    </a:cubicBezTo>
                    <a:cubicBezTo>
                      <a:pt x="895" y="1238"/>
                      <a:pt x="883" y="1229"/>
                      <a:pt x="882" y="1235"/>
                    </a:cubicBezTo>
                    <a:cubicBezTo>
                      <a:pt x="880" y="1234"/>
                      <a:pt x="880" y="1234"/>
                      <a:pt x="880" y="1234"/>
                    </a:cubicBezTo>
                    <a:cubicBezTo>
                      <a:pt x="873" y="1251"/>
                      <a:pt x="854" y="1240"/>
                      <a:pt x="841" y="1239"/>
                    </a:cubicBezTo>
                    <a:cubicBezTo>
                      <a:pt x="827" y="1244"/>
                      <a:pt x="813" y="1254"/>
                      <a:pt x="798" y="1247"/>
                    </a:cubicBezTo>
                    <a:cubicBezTo>
                      <a:pt x="792" y="1250"/>
                      <a:pt x="775" y="1248"/>
                      <a:pt x="772" y="1246"/>
                    </a:cubicBezTo>
                    <a:cubicBezTo>
                      <a:pt x="772" y="1246"/>
                      <a:pt x="772" y="1246"/>
                      <a:pt x="772" y="1246"/>
                    </a:cubicBezTo>
                    <a:cubicBezTo>
                      <a:pt x="770" y="1246"/>
                      <a:pt x="770" y="1246"/>
                      <a:pt x="772" y="1246"/>
                    </a:cubicBezTo>
                    <a:cubicBezTo>
                      <a:pt x="768" y="1251"/>
                      <a:pt x="756" y="1254"/>
                      <a:pt x="751" y="1256"/>
                    </a:cubicBezTo>
                    <a:cubicBezTo>
                      <a:pt x="753" y="1246"/>
                      <a:pt x="740" y="1235"/>
                      <a:pt x="749" y="1227"/>
                    </a:cubicBezTo>
                    <a:cubicBezTo>
                      <a:pt x="765" y="1221"/>
                      <a:pt x="750" y="1203"/>
                      <a:pt x="756" y="1192"/>
                    </a:cubicBezTo>
                    <a:cubicBezTo>
                      <a:pt x="747" y="1179"/>
                      <a:pt x="752" y="1159"/>
                      <a:pt x="735" y="1153"/>
                    </a:cubicBezTo>
                    <a:cubicBezTo>
                      <a:pt x="726" y="1142"/>
                      <a:pt x="717" y="1130"/>
                      <a:pt x="721" y="1116"/>
                    </a:cubicBezTo>
                    <a:cubicBezTo>
                      <a:pt x="725" y="1098"/>
                      <a:pt x="722" y="1079"/>
                      <a:pt x="729" y="1061"/>
                    </a:cubicBezTo>
                    <a:cubicBezTo>
                      <a:pt x="735" y="1043"/>
                      <a:pt x="721" y="1026"/>
                      <a:pt x="718" y="1009"/>
                    </a:cubicBezTo>
                    <a:cubicBezTo>
                      <a:pt x="718" y="996"/>
                      <a:pt x="727" y="985"/>
                      <a:pt x="725" y="972"/>
                    </a:cubicBezTo>
                    <a:cubicBezTo>
                      <a:pt x="726" y="959"/>
                      <a:pt x="711" y="960"/>
                      <a:pt x="702" y="961"/>
                    </a:cubicBezTo>
                    <a:cubicBezTo>
                      <a:pt x="677" y="960"/>
                      <a:pt x="652" y="961"/>
                      <a:pt x="627" y="961"/>
                    </a:cubicBezTo>
                    <a:cubicBezTo>
                      <a:pt x="622" y="950"/>
                      <a:pt x="644" y="928"/>
                      <a:pt x="621" y="933"/>
                    </a:cubicBezTo>
                    <a:cubicBezTo>
                      <a:pt x="611" y="929"/>
                      <a:pt x="609" y="944"/>
                      <a:pt x="598" y="939"/>
                    </a:cubicBezTo>
                    <a:cubicBezTo>
                      <a:pt x="583" y="939"/>
                      <a:pt x="568" y="939"/>
                      <a:pt x="552" y="939"/>
                    </a:cubicBezTo>
                    <a:cubicBezTo>
                      <a:pt x="551" y="950"/>
                      <a:pt x="545" y="961"/>
                      <a:pt x="551" y="973"/>
                    </a:cubicBezTo>
                    <a:cubicBezTo>
                      <a:pt x="552" y="983"/>
                      <a:pt x="534" y="981"/>
                      <a:pt x="541" y="992"/>
                    </a:cubicBezTo>
                    <a:cubicBezTo>
                      <a:pt x="537" y="1002"/>
                      <a:pt x="543" y="1020"/>
                      <a:pt x="526" y="1014"/>
                    </a:cubicBezTo>
                    <a:cubicBezTo>
                      <a:pt x="512" y="1014"/>
                      <a:pt x="498" y="1016"/>
                      <a:pt x="487" y="1009"/>
                    </a:cubicBezTo>
                    <a:cubicBezTo>
                      <a:pt x="475" y="1011"/>
                      <a:pt x="465" y="1018"/>
                      <a:pt x="452" y="1014"/>
                    </a:cubicBezTo>
                    <a:cubicBezTo>
                      <a:pt x="444" y="1015"/>
                      <a:pt x="442" y="1029"/>
                      <a:pt x="433" y="1019"/>
                    </a:cubicBezTo>
                    <a:cubicBezTo>
                      <a:pt x="423" y="1014"/>
                      <a:pt x="404" y="1029"/>
                      <a:pt x="399" y="1014"/>
                    </a:cubicBezTo>
                    <a:cubicBezTo>
                      <a:pt x="390" y="1003"/>
                      <a:pt x="384" y="989"/>
                      <a:pt x="375" y="978"/>
                    </a:cubicBezTo>
                    <a:cubicBezTo>
                      <a:pt x="372" y="972"/>
                      <a:pt x="375" y="971"/>
                      <a:pt x="368" y="968"/>
                    </a:cubicBezTo>
                    <a:cubicBezTo>
                      <a:pt x="364" y="962"/>
                      <a:pt x="351" y="951"/>
                      <a:pt x="359" y="943"/>
                    </a:cubicBezTo>
                    <a:cubicBezTo>
                      <a:pt x="358" y="929"/>
                      <a:pt x="344" y="918"/>
                      <a:pt x="342" y="903"/>
                    </a:cubicBezTo>
                    <a:cubicBezTo>
                      <a:pt x="336" y="891"/>
                      <a:pt x="346" y="876"/>
                      <a:pt x="332" y="867"/>
                    </a:cubicBezTo>
                    <a:cubicBezTo>
                      <a:pt x="333" y="848"/>
                      <a:pt x="308" y="853"/>
                      <a:pt x="295" y="852"/>
                    </a:cubicBezTo>
                    <a:cubicBezTo>
                      <a:pt x="270" y="853"/>
                      <a:pt x="246" y="852"/>
                      <a:pt x="222" y="853"/>
                    </a:cubicBezTo>
                    <a:cubicBezTo>
                      <a:pt x="208" y="853"/>
                      <a:pt x="193" y="853"/>
                      <a:pt x="180" y="856"/>
                    </a:cubicBezTo>
                    <a:cubicBezTo>
                      <a:pt x="164" y="855"/>
                      <a:pt x="146" y="854"/>
                      <a:pt x="131" y="851"/>
                    </a:cubicBezTo>
                    <a:cubicBezTo>
                      <a:pt x="119" y="853"/>
                      <a:pt x="107" y="853"/>
                      <a:pt x="95" y="852"/>
                    </a:cubicBezTo>
                    <a:cubicBezTo>
                      <a:pt x="88" y="854"/>
                      <a:pt x="81" y="854"/>
                      <a:pt x="74" y="853"/>
                    </a:cubicBezTo>
                    <a:cubicBezTo>
                      <a:pt x="74" y="853"/>
                      <a:pt x="74" y="853"/>
                      <a:pt x="73" y="853"/>
                    </a:cubicBezTo>
                    <a:cubicBezTo>
                      <a:pt x="73" y="853"/>
                      <a:pt x="73" y="853"/>
                      <a:pt x="72" y="853"/>
                    </a:cubicBezTo>
                    <a:cubicBezTo>
                      <a:pt x="71" y="853"/>
                      <a:pt x="69" y="853"/>
                      <a:pt x="67" y="853"/>
                    </a:cubicBezTo>
                    <a:cubicBezTo>
                      <a:pt x="66" y="853"/>
                      <a:pt x="66" y="852"/>
                      <a:pt x="65" y="852"/>
                    </a:cubicBezTo>
                    <a:cubicBezTo>
                      <a:pt x="62" y="853"/>
                      <a:pt x="60" y="850"/>
                      <a:pt x="56" y="850"/>
                    </a:cubicBezTo>
                    <a:cubicBezTo>
                      <a:pt x="54" y="848"/>
                      <a:pt x="51" y="851"/>
                      <a:pt x="49" y="851"/>
                    </a:cubicBezTo>
                    <a:cubicBezTo>
                      <a:pt x="47" y="852"/>
                      <a:pt x="43" y="852"/>
                      <a:pt x="42" y="854"/>
                    </a:cubicBezTo>
                    <a:cubicBezTo>
                      <a:pt x="40" y="856"/>
                      <a:pt x="41" y="859"/>
                      <a:pt x="39" y="861"/>
                    </a:cubicBezTo>
                    <a:cubicBezTo>
                      <a:pt x="35" y="864"/>
                      <a:pt x="30" y="860"/>
                      <a:pt x="27" y="863"/>
                    </a:cubicBezTo>
                    <a:cubicBezTo>
                      <a:pt x="25" y="864"/>
                      <a:pt x="23" y="866"/>
                      <a:pt x="20" y="866"/>
                    </a:cubicBezTo>
                    <a:cubicBezTo>
                      <a:pt x="20" y="866"/>
                      <a:pt x="20" y="866"/>
                      <a:pt x="19" y="866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159" name="Comoros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415372" y="4863425"/>
              <a:ext cx="55475" cy="6688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5"/>
                </a:cxn>
                <a:cxn ang="0">
                  <a:pos x="4" y="7"/>
                </a:cxn>
                <a:cxn ang="0">
                  <a:pos x="10" y="12"/>
                </a:cxn>
                <a:cxn ang="0">
                  <a:pos x="10" y="7"/>
                </a:cxn>
                <a:cxn ang="0">
                  <a:pos x="6" y="5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10" h="12">
                  <a:moveTo>
                    <a:pt x="0" y="0"/>
                  </a:moveTo>
                  <a:lnTo>
                    <a:pt x="4" y="5"/>
                  </a:lnTo>
                  <a:lnTo>
                    <a:pt x="4" y="7"/>
                  </a:lnTo>
                  <a:lnTo>
                    <a:pt x="10" y="12"/>
                  </a:lnTo>
                  <a:lnTo>
                    <a:pt x="10" y="7"/>
                  </a:lnTo>
                  <a:lnTo>
                    <a:pt x="6" y="5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60" name="Colombia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2170084" y="4148518"/>
              <a:ext cx="316208" cy="540623"/>
            </a:xfrm>
            <a:custGeom>
              <a:avLst/>
              <a:gdLst/>
              <a:ahLst/>
              <a:cxnLst>
                <a:cxn ang="0">
                  <a:pos x="0" y="63"/>
                </a:cxn>
                <a:cxn ang="0">
                  <a:pos x="3" y="59"/>
                </a:cxn>
                <a:cxn ang="0">
                  <a:pos x="7" y="59"/>
                </a:cxn>
                <a:cxn ang="0">
                  <a:pos x="9" y="52"/>
                </a:cxn>
                <a:cxn ang="0">
                  <a:pos x="7" y="50"/>
                </a:cxn>
                <a:cxn ang="0">
                  <a:pos x="7" y="34"/>
                </a:cxn>
                <a:cxn ang="0">
                  <a:pos x="7" y="30"/>
                </a:cxn>
                <a:cxn ang="0">
                  <a:pos x="9" y="27"/>
                </a:cxn>
                <a:cxn ang="0">
                  <a:pos x="9" y="25"/>
                </a:cxn>
                <a:cxn ang="0">
                  <a:pos x="11" y="27"/>
                </a:cxn>
                <a:cxn ang="0">
                  <a:pos x="11" y="25"/>
                </a:cxn>
                <a:cxn ang="0">
                  <a:pos x="17" y="18"/>
                </a:cxn>
                <a:cxn ang="0">
                  <a:pos x="17" y="9"/>
                </a:cxn>
                <a:cxn ang="0">
                  <a:pos x="23" y="9"/>
                </a:cxn>
                <a:cxn ang="0">
                  <a:pos x="26" y="9"/>
                </a:cxn>
                <a:cxn ang="0">
                  <a:pos x="38" y="0"/>
                </a:cxn>
                <a:cxn ang="0">
                  <a:pos x="38" y="3"/>
                </a:cxn>
                <a:cxn ang="0">
                  <a:pos x="34" y="7"/>
                </a:cxn>
                <a:cxn ang="0">
                  <a:pos x="32" y="9"/>
                </a:cxn>
                <a:cxn ang="0">
                  <a:pos x="30" y="18"/>
                </a:cxn>
                <a:cxn ang="0">
                  <a:pos x="32" y="27"/>
                </a:cxn>
                <a:cxn ang="0">
                  <a:pos x="32" y="30"/>
                </a:cxn>
                <a:cxn ang="0">
                  <a:pos x="34" y="30"/>
                </a:cxn>
                <a:cxn ang="0">
                  <a:pos x="42" y="34"/>
                </a:cxn>
                <a:cxn ang="0">
                  <a:pos x="46" y="36"/>
                </a:cxn>
                <a:cxn ang="0">
                  <a:pos x="55" y="36"/>
                </a:cxn>
                <a:cxn ang="0">
                  <a:pos x="51" y="45"/>
                </a:cxn>
                <a:cxn ang="0">
                  <a:pos x="55" y="54"/>
                </a:cxn>
                <a:cxn ang="0">
                  <a:pos x="51" y="54"/>
                </a:cxn>
                <a:cxn ang="0">
                  <a:pos x="57" y="63"/>
                </a:cxn>
                <a:cxn ang="0">
                  <a:pos x="55" y="61"/>
                </a:cxn>
                <a:cxn ang="0">
                  <a:pos x="42" y="63"/>
                </a:cxn>
                <a:cxn ang="0">
                  <a:pos x="42" y="68"/>
                </a:cxn>
                <a:cxn ang="0">
                  <a:pos x="46" y="70"/>
                </a:cxn>
                <a:cxn ang="0">
                  <a:pos x="40" y="70"/>
                </a:cxn>
                <a:cxn ang="0">
                  <a:pos x="42" y="79"/>
                </a:cxn>
                <a:cxn ang="0">
                  <a:pos x="42" y="97"/>
                </a:cxn>
                <a:cxn ang="0">
                  <a:pos x="40" y="95"/>
                </a:cxn>
                <a:cxn ang="0">
                  <a:pos x="40" y="88"/>
                </a:cxn>
                <a:cxn ang="0">
                  <a:pos x="38" y="86"/>
                </a:cxn>
                <a:cxn ang="0">
                  <a:pos x="26" y="88"/>
                </a:cxn>
                <a:cxn ang="0">
                  <a:pos x="23" y="79"/>
                </a:cxn>
                <a:cxn ang="0">
                  <a:pos x="17" y="72"/>
                </a:cxn>
                <a:cxn ang="0">
                  <a:pos x="15" y="70"/>
                </a:cxn>
                <a:cxn ang="0">
                  <a:pos x="7" y="72"/>
                </a:cxn>
                <a:cxn ang="0">
                  <a:pos x="3" y="68"/>
                </a:cxn>
                <a:cxn ang="0">
                  <a:pos x="0" y="63"/>
                </a:cxn>
              </a:cxnLst>
              <a:rect l="0" t="0" r="r" b="b"/>
              <a:pathLst>
                <a:path w="57" h="97">
                  <a:moveTo>
                    <a:pt x="0" y="63"/>
                  </a:moveTo>
                  <a:lnTo>
                    <a:pt x="3" y="59"/>
                  </a:lnTo>
                  <a:lnTo>
                    <a:pt x="7" y="59"/>
                  </a:lnTo>
                  <a:lnTo>
                    <a:pt x="9" y="52"/>
                  </a:lnTo>
                  <a:lnTo>
                    <a:pt x="7" y="50"/>
                  </a:lnTo>
                  <a:lnTo>
                    <a:pt x="7" y="34"/>
                  </a:lnTo>
                  <a:lnTo>
                    <a:pt x="7" y="30"/>
                  </a:lnTo>
                  <a:lnTo>
                    <a:pt x="9" y="27"/>
                  </a:lnTo>
                  <a:lnTo>
                    <a:pt x="9" y="25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7" y="18"/>
                  </a:lnTo>
                  <a:lnTo>
                    <a:pt x="17" y="9"/>
                  </a:lnTo>
                  <a:lnTo>
                    <a:pt x="23" y="9"/>
                  </a:lnTo>
                  <a:lnTo>
                    <a:pt x="26" y="9"/>
                  </a:lnTo>
                  <a:lnTo>
                    <a:pt x="38" y="0"/>
                  </a:lnTo>
                  <a:lnTo>
                    <a:pt x="38" y="3"/>
                  </a:lnTo>
                  <a:lnTo>
                    <a:pt x="34" y="7"/>
                  </a:lnTo>
                  <a:lnTo>
                    <a:pt x="32" y="9"/>
                  </a:lnTo>
                  <a:lnTo>
                    <a:pt x="30" y="18"/>
                  </a:lnTo>
                  <a:lnTo>
                    <a:pt x="32" y="27"/>
                  </a:lnTo>
                  <a:lnTo>
                    <a:pt x="32" y="30"/>
                  </a:lnTo>
                  <a:lnTo>
                    <a:pt x="34" y="30"/>
                  </a:lnTo>
                  <a:lnTo>
                    <a:pt x="42" y="34"/>
                  </a:lnTo>
                  <a:lnTo>
                    <a:pt x="46" y="36"/>
                  </a:lnTo>
                  <a:lnTo>
                    <a:pt x="55" y="36"/>
                  </a:lnTo>
                  <a:lnTo>
                    <a:pt x="51" y="45"/>
                  </a:lnTo>
                  <a:lnTo>
                    <a:pt x="55" y="54"/>
                  </a:lnTo>
                  <a:lnTo>
                    <a:pt x="51" y="54"/>
                  </a:lnTo>
                  <a:lnTo>
                    <a:pt x="57" y="63"/>
                  </a:lnTo>
                  <a:lnTo>
                    <a:pt x="55" y="61"/>
                  </a:lnTo>
                  <a:lnTo>
                    <a:pt x="42" y="63"/>
                  </a:lnTo>
                  <a:lnTo>
                    <a:pt x="42" y="68"/>
                  </a:lnTo>
                  <a:lnTo>
                    <a:pt x="46" y="70"/>
                  </a:lnTo>
                  <a:lnTo>
                    <a:pt x="40" y="70"/>
                  </a:lnTo>
                  <a:lnTo>
                    <a:pt x="42" y="79"/>
                  </a:lnTo>
                  <a:lnTo>
                    <a:pt x="42" y="97"/>
                  </a:lnTo>
                  <a:lnTo>
                    <a:pt x="40" y="95"/>
                  </a:lnTo>
                  <a:lnTo>
                    <a:pt x="40" y="88"/>
                  </a:lnTo>
                  <a:lnTo>
                    <a:pt x="38" y="86"/>
                  </a:lnTo>
                  <a:lnTo>
                    <a:pt x="26" y="88"/>
                  </a:lnTo>
                  <a:lnTo>
                    <a:pt x="23" y="79"/>
                  </a:lnTo>
                  <a:lnTo>
                    <a:pt x="17" y="72"/>
                  </a:lnTo>
                  <a:lnTo>
                    <a:pt x="15" y="70"/>
                  </a:lnTo>
                  <a:lnTo>
                    <a:pt x="7" y="72"/>
                  </a:lnTo>
                  <a:lnTo>
                    <a:pt x="3" y="68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161" name="China"/>
            <p:cNvGrpSpPr/>
            <p:nvPr/>
          </p:nvGrpSpPr>
          <p:grpSpPr>
            <a:xfrm>
              <a:off x="6053334" y="2833187"/>
              <a:ext cx="1353590" cy="1131408"/>
              <a:chOff x="6053334" y="2833187"/>
              <a:chExt cx="1353590" cy="1131408"/>
            </a:xfrm>
            <a:grpFill/>
          </p:grpSpPr>
          <p:sp>
            <p:nvSpPr>
              <p:cNvPr id="263" name="China"/>
              <p:cNvSpPr>
                <a:spLocks/>
              </p:cNvSpPr>
              <p:nvPr>
                <p:custDataLst>
                  <p:tags r:id="rId172"/>
                </p:custDataLst>
              </p:nvPr>
            </p:nvSpPr>
            <p:spPr bwMode="auto">
              <a:xfrm>
                <a:off x="7046337" y="3914434"/>
                <a:ext cx="55475" cy="50161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9"/>
                  </a:cxn>
                  <a:cxn ang="0">
                    <a:pos x="4" y="9"/>
                  </a:cxn>
                  <a:cxn ang="0">
                    <a:pos x="10" y="6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10" h="9">
                    <a:moveTo>
                      <a:pt x="0" y="2"/>
                    </a:moveTo>
                    <a:lnTo>
                      <a:pt x="2" y="9"/>
                    </a:lnTo>
                    <a:lnTo>
                      <a:pt x="4" y="9"/>
                    </a:lnTo>
                    <a:lnTo>
                      <a:pt x="10" y="6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64" name="China"/>
              <p:cNvSpPr>
                <a:spLocks/>
              </p:cNvSpPr>
              <p:nvPr>
                <p:custDataLst>
                  <p:tags r:id="rId173"/>
                </p:custDataLst>
              </p:nvPr>
            </p:nvSpPr>
            <p:spPr bwMode="auto">
              <a:xfrm>
                <a:off x="6053334" y="2833187"/>
                <a:ext cx="1353590" cy="1064527"/>
              </a:xfrm>
              <a:custGeom>
                <a:avLst/>
                <a:gdLst/>
                <a:ahLst/>
                <a:cxnLst>
                  <a:cxn ang="0">
                    <a:pos x="48" y="31"/>
                  </a:cxn>
                  <a:cxn ang="0">
                    <a:pos x="62" y="47"/>
                  </a:cxn>
                  <a:cxn ang="0">
                    <a:pos x="110" y="63"/>
                  </a:cxn>
                  <a:cxn ang="0">
                    <a:pos x="150" y="63"/>
                  </a:cxn>
                  <a:cxn ang="0">
                    <a:pos x="156" y="49"/>
                  </a:cxn>
                  <a:cxn ang="0">
                    <a:pos x="167" y="43"/>
                  </a:cxn>
                  <a:cxn ang="0">
                    <a:pos x="175" y="34"/>
                  </a:cxn>
                  <a:cxn ang="0">
                    <a:pos x="160" y="34"/>
                  </a:cxn>
                  <a:cxn ang="0">
                    <a:pos x="164" y="22"/>
                  </a:cxn>
                  <a:cxn ang="0">
                    <a:pos x="169" y="11"/>
                  </a:cxn>
                  <a:cxn ang="0">
                    <a:pos x="175" y="0"/>
                  </a:cxn>
                  <a:cxn ang="0">
                    <a:pos x="204" y="22"/>
                  </a:cxn>
                  <a:cxn ang="0">
                    <a:pos x="227" y="34"/>
                  </a:cxn>
                  <a:cxn ang="0">
                    <a:pos x="240" y="34"/>
                  </a:cxn>
                  <a:cxn ang="0">
                    <a:pos x="237" y="47"/>
                  </a:cxn>
                  <a:cxn ang="0">
                    <a:pos x="240" y="63"/>
                  </a:cxn>
                  <a:cxn ang="0">
                    <a:pos x="231" y="67"/>
                  </a:cxn>
                  <a:cxn ang="0">
                    <a:pos x="219" y="81"/>
                  </a:cxn>
                  <a:cxn ang="0">
                    <a:pos x="208" y="83"/>
                  </a:cxn>
                  <a:cxn ang="0">
                    <a:pos x="206" y="74"/>
                  </a:cxn>
                  <a:cxn ang="0">
                    <a:pos x="198" y="81"/>
                  </a:cxn>
                  <a:cxn ang="0">
                    <a:pos x="192" y="85"/>
                  </a:cxn>
                  <a:cxn ang="0">
                    <a:pos x="208" y="90"/>
                  </a:cxn>
                  <a:cxn ang="0">
                    <a:pos x="215" y="94"/>
                  </a:cxn>
                  <a:cxn ang="0">
                    <a:pos x="215" y="110"/>
                  </a:cxn>
                  <a:cxn ang="0">
                    <a:pos x="223" y="126"/>
                  </a:cxn>
                  <a:cxn ang="0">
                    <a:pos x="229" y="135"/>
                  </a:cxn>
                  <a:cxn ang="0">
                    <a:pos x="223" y="153"/>
                  </a:cxn>
                  <a:cxn ang="0">
                    <a:pos x="219" y="167"/>
                  </a:cxn>
                  <a:cxn ang="0">
                    <a:pos x="204" y="178"/>
                  </a:cxn>
                  <a:cxn ang="0">
                    <a:pos x="200" y="180"/>
                  </a:cxn>
                  <a:cxn ang="0">
                    <a:pos x="187" y="187"/>
                  </a:cxn>
                  <a:cxn ang="0">
                    <a:pos x="183" y="185"/>
                  </a:cxn>
                  <a:cxn ang="0">
                    <a:pos x="167" y="178"/>
                  </a:cxn>
                  <a:cxn ang="0">
                    <a:pos x="148" y="178"/>
                  </a:cxn>
                  <a:cxn ang="0">
                    <a:pos x="139" y="185"/>
                  </a:cxn>
                  <a:cxn ang="0">
                    <a:pos x="129" y="176"/>
                  </a:cxn>
                  <a:cxn ang="0">
                    <a:pos x="127" y="153"/>
                  </a:cxn>
                  <a:cxn ang="0">
                    <a:pos x="110" y="137"/>
                  </a:cxn>
                  <a:cxn ang="0">
                    <a:pos x="93" y="149"/>
                  </a:cxn>
                  <a:cxn ang="0">
                    <a:pos x="79" y="149"/>
                  </a:cxn>
                  <a:cxn ang="0">
                    <a:pos x="56" y="137"/>
                  </a:cxn>
                  <a:cxn ang="0">
                    <a:pos x="41" y="135"/>
                  </a:cxn>
                  <a:cxn ang="0">
                    <a:pos x="29" y="119"/>
                  </a:cxn>
                  <a:cxn ang="0">
                    <a:pos x="33" y="108"/>
                  </a:cxn>
                  <a:cxn ang="0">
                    <a:pos x="23" y="106"/>
                  </a:cxn>
                  <a:cxn ang="0">
                    <a:pos x="6" y="94"/>
                  </a:cxn>
                  <a:cxn ang="0">
                    <a:pos x="2" y="85"/>
                  </a:cxn>
                  <a:cxn ang="0">
                    <a:pos x="0" y="76"/>
                  </a:cxn>
                  <a:cxn ang="0">
                    <a:pos x="12" y="72"/>
                  </a:cxn>
                  <a:cxn ang="0">
                    <a:pos x="23" y="65"/>
                  </a:cxn>
                  <a:cxn ang="0">
                    <a:pos x="25" y="47"/>
                  </a:cxn>
                  <a:cxn ang="0">
                    <a:pos x="37" y="38"/>
                  </a:cxn>
                </a:cxnLst>
                <a:rect l="0" t="0" r="r" b="b"/>
                <a:pathLst>
                  <a:path w="244" h="191">
                    <a:moveTo>
                      <a:pt x="39" y="29"/>
                    </a:moveTo>
                    <a:lnTo>
                      <a:pt x="41" y="25"/>
                    </a:lnTo>
                    <a:lnTo>
                      <a:pt x="48" y="31"/>
                    </a:lnTo>
                    <a:lnTo>
                      <a:pt x="54" y="34"/>
                    </a:lnTo>
                    <a:lnTo>
                      <a:pt x="60" y="38"/>
                    </a:lnTo>
                    <a:lnTo>
                      <a:pt x="62" y="47"/>
                    </a:lnTo>
                    <a:lnTo>
                      <a:pt x="81" y="52"/>
                    </a:lnTo>
                    <a:lnTo>
                      <a:pt x="93" y="63"/>
                    </a:lnTo>
                    <a:lnTo>
                      <a:pt x="110" y="63"/>
                    </a:lnTo>
                    <a:lnTo>
                      <a:pt x="129" y="67"/>
                    </a:lnTo>
                    <a:lnTo>
                      <a:pt x="141" y="65"/>
                    </a:lnTo>
                    <a:lnTo>
                      <a:pt x="150" y="63"/>
                    </a:lnTo>
                    <a:lnTo>
                      <a:pt x="156" y="56"/>
                    </a:lnTo>
                    <a:lnTo>
                      <a:pt x="152" y="52"/>
                    </a:lnTo>
                    <a:lnTo>
                      <a:pt x="156" y="49"/>
                    </a:lnTo>
                    <a:lnTo>
                      <a:pt x="160" y="49"/>
                    </a:lnTo>
                    <a:lnTo>
                      <a:pt x="164" y="47"/>
                    </a:lnTo>
                    <a:lnTo>
                      <a:pt x="167" y="43"/>
                    </a:lnTo>
                    <a:lnTo>
                      <a:pt x="169" y="40"/>
                    </a:lnTo>
                    <a:lnTo>
                      <a:pt x="179" y="40"/>
                    </a:lnTo>
                    <a:lnTo>
                      <a:pt x="175" y="34"/>
                    </a:lnTo>
                    <a:lnTo>
                      <a:pt x="173" y="31"/>
                    </a:lnTo>
                    <a:lnTo>
                      <a:pt x="167" y="34"/>
                    </a:lnTo>
                    <a:lnTo>
                      <a:pt x="160" y="34"/>
                    </a:lnTo>
                    <a:lnTo>
                      <a:pt x="156" y="25"/>
                    </a:lnTo>
                    <a:lnTo>
                      <a:pt x="158" y="22"/>
                    </a:lnTo>
                    <a:lnTo>
                      <a:pt x="164" y="22"/>
                    </a:lnTo>
                    <a:lnTo>
                      <a:pt x="169" y="20"/>
                    </a:lnTo>
                    <a:lnTo>
                      <a:pt x="167" y="13"/>
                    </a:lnTo>
                    <a:lnTo>
                      <a:pt x="169" y="11"/>
                    </a:lnTo>
                    <a:lnTo>
                      <a:pt x="164" y="7"/>
                    </a:lnTo>
                    <a:lnTo>
                      <a:pt x="167" y="4"/>
                    </a:lnTo>
                    <a:lnTo>
                      <a:pt x="175" y="0"/>
                    </a:lnTo>
                    <a:lnTo>
                      <a:pt x="187" y="4"/>
                    </a:lnTo>
                    <a:lnTo>
                      <a:pt x="198" y="16"/>
                    </a:lnTo>
                    <a:lnTo>
                      <a:pt x="204" y="22"/>
                    </a:lnTo>
                    <a:lnTo>
                      <a:pt x="212" y="25"/>
                    </a:lnTo>
                    <a:lnTo>
                      <a:pt x="221" y="29"/>
                    </a:lnTo>
                    <a:lnTo>
                      <a:pt x="227" y="34"/>
                    </a:lnTo>
                    <a:lnTo>
                      <a:pt x="229" y="34"/>
                    </a:lnTo>
                    <a:lnTo>
                      <a:pt x="237" y="29"/>
                    </a:lnTo>
                    <a:lnTo>
                      <a:pt x="240" y="34"/>
                    </a:lnTo>
                    <a:lnTo>
                      <a:pt x="240" y="38"/>
                    </a:lnTo>
                    <a:lnTo>
                      <a:pt x="244" y="49"/>
                    </a:lnTo>
                    <a:lnTo>
                      <a:pt x="237" y="47"/>
                    </a:lnTo>
                    <a:lnTo>
                      <a:pt x="235" y="49"/>
                    </a:lnTo>
                    <a:lnTo>
                      <a:pt x="240" y="58"/>
                    </a:lnTo>
                    <a:lnTo>
                      <a:pt x="240" y="63"/>
                    </a:lnTo>
                    <a:lnTo>
                      <a:pt x="235" y="63"/>
                    </a:lnTo>
                    <a:lnTo>
                      <a:pt x="235" y="65"/>
                    </a:lnTo>
                    <a:lnTo>
                      <a:pt x="231" y="67"/>
                    </a:lnTo>
                    <a:lnTo>
                      <a:pt x="231" y="72"/>
                    </a:lnTo>
                    <a:lnTo>
                      <a:pt x="227" y="67"/>
                    </a:lnTo>
                    <a:lnTo>
                      <a:pt x="219" y="81"/>
                    </a:lnTo>
                    <a:lnTo>
                      <a:pt x="215" y="81"/>
                    </a:lnTo>
                    <a:lnTo>
                      <a:pt x="208" y="85"/>
                    </a:lnTo>
                    <a:lnTo>
                      <a:pt x="208" y="83"/>
                    </a:lnTo>
                    <a:lnTo>
                      <a:pt x="206" y="81"/>
                    </a:lnTo>
                    <a:lnTo>
                      <a:pt x="208" y="74"/>
                    </a:lnTo>
                    <a:lnTo>
                      <a:pt x="206" y="74"/>
                    </a:lnTo>
                    <a:lnTo>
                      <a:pt x="204" y="72"/>
                    </a:lnTo>
                    <a:lnTo>
                      <a:pt x="200" y="76"/>
                    </a:lnTo>
                    <a:lnTo>
                      <a:pt x="198" y="81"/>
                    </a:lnTo>
                    <a:lnTo>
                      <a:pt x="198" y="83"/>
                    </a:lnTo>
                    <a:lnTo>
                      <a:pt x="192" y="83"/>
                    </a:lnTo>
                    <a:lnTo>
                      <a:pt x="192" y="85"/>
                    </a:lnTo>
                    <a:lnTo>
                      <a:pt x="204" y="94"/>
                    </a:lnTo>
                    <a:lnTo>
                      <a:pt x="206" y="94"/>
                    </a:lnTo>
                    <a:lnTo>
                      <a:pt x="208" y="90"/>
                    </a:lnTo>
                    <a:lnTo>
                      <a:pt x="219" y="92"/>
                    </a:lnTo>
                    <a:lnTo>
                      <a:pt x="219" y="94"/>
                    </a:lnTo>
                    <a:lnTo>
                      <a:pt x="215" y="94"/>
                    </a:lnTo>
                    <a:lnTo>
                      <a:pt x="212" y="99"/>
                    </a:lnTo>
                    <a:lnTo>
                      <a:pt x="206" y="108"/>
                    </a:lnTo>
                    <a:lnTo>
                      <a:pt x="215" y="110"/>
                    </a:lnTo>
                    <a:lnTo>
                      <a:pt x="221" y="119"/>
                    </a:lnTo>
                    <a:lnTo>
                      <a:pt x="227" y="126"/>
                    </a:lnTo>
                    <a:lnTo>
                      <a:pt x="223" y="126"/>
                    </a:lnTo>
                    <a:lnTo>
                      <a:pt x="227" y="128"/>
                    </a:lnTo>
                    <a:lnTo>
                      <a:pt x="221" y="133"/>
                    </a:lnTo>
                    <a:lnTo>
                      <a:pt x="229" y="135"/>
                    </a:lnTo>
                    <a:lnTo>
                      <a:pt x="229" y="144"/>
                    </a:lnTo>
                    <a:lnTo>
                      <a:pt x="227" y="149"/>
                    </a:lnTo>
                    <a:lnTo>
                      <a:pt x="223" y="153"/>
                    </a:lnTo>
                    <a:lnTo>
                      <a:pt x="223" y="160"/>
                    </a:lnTo>
                    <a:lnTo>
                      <a:pt x="221" y="167"/>
                    </a:lnTo>
                    <a:lnTo>
                      <a:pt x="219" y="167"/>
                    </a:lnTo>
                    <a:lnTo>
                      <a:pt x="219" y="169"/>
                    </a:lnTo>
                    <a:lnTo>
                      <a:pt x="212" y="176"/>
                    </a:lnTo>
                    <a:lnTo>
                      <a:pt x="204" y="178"/>
                    </a:lnTo>
                    <a:lnTo>
                      <a:pt x="204" y="180"/>
                    </a:lnTo>
                    <a:lnTo>
                      <a:pt x="200" y="178"/>
                    </a:lnTo>
                    <a:lnTo>
                      <a:pt x="200" y="180"/>
                    </a:lnTo>
                    <a:lnTo>
                      <a:pt x="198" y="178"/>
                    </a:lnTo>
                    <a:lnTo>
                      <a:pt x="198" y="180"/>
                    </a:lnTo>
                    <a:lnTo>
                      <a:pt x="187" y="187"/>
                    </a:lnTo>
                    <a:lnTo>
                      <a:pt x="187" y="191"/>
                    </a:lnTo>
                    <a:lnTo>
                      <a:pt x="183" y="191"/>
                    </a:lnTo>
                    <a:lnTo>
                      <a:pt x="183" y="185"/>
                    </a:lnTo>
                    <a:lnTo>
                      <a:pt x="175" y="185"/>
                    </a:lnTo>
                    <a:lnTo>
                      <a:pt x="169" y="180"/>
                    </a:lnTo>
                    <a:lnTo>
                      <a:pt x="167" y="178"/>
                    </a:lnTo>
                    <a:lnTo>
                      <a:pt x="160" y="176"/>
                    </a:lnTo>
                    <a:lnTo>
                      <a:pt x="150" y="178"/>
                    </a:lnTo>
                    <a:lnTo>
                      <a:pt x="148" y="178"/>
                    </a:lnTo>
                    <a:lnTo>
                      <a:pt x="144" y="178"/>
                    </a:lnTo>
                    <a:lnTo>
                      <a:pt x="144" y="185"/>
                    </a:lnTo>
                    <a:lnTo>
                      <a:pt x="139" y="185"/>
                    </a:lnTo>
                    <a:lnTo>
                      <a:pt x="133" y="180"/>
                    </a:lnTo>
                    <a:lnTo>
                      <a:pt x="133" y="176"/>
                    </a:lnTo>
                    <a:lnTo>
                      <a:pt x="129" y="176"/>
                    </a:lnTo>
                    <a:lnTo>
                      <a:pt x="129" y="169"/>
                    </a:lnTo>
                    <a:lnTo>
                      <a:pt x="125" y="171"/>
                    </a:lnTo>
                    <a:lnTo>
                      <a:pt x="127" y="153"/>
                    </a:lnTo>
                    <a:lnTo>
                      <a:pt x="125" y="149"/>
                    </a:lnTo>
                    <a:lnTo>
                      <a:pt x="119" y="149"/>
                    </a:lnTo>
                    <a:lnTo>
                      <a:pt x="110" y="137"/>
                    </a:lnTo>
                    <a:lnTo>
                      <a:pt x="104" y="137"/>
                    </a:lnTo>
                    <a:lnTo>
                      <a:pt x="100" y="144"/>
                    </a:lnTo>
                    <a:lnTo>
                      <a:pt x="93" y="149"/>
                    </a:lnTo>
                    <a:lnTo>
                      <a:pt x="85" y="144"/>
                    </a:lnTo>
                    <a:lnTo>
                      <a:pt x="81" y="151"/>
                    </a:lnTo>
                    <a:lnTo>
                      <a:pt x="79" y="149"/>
                    </a:lnTo>
                    <a:lnTo>
                      <a:pt x="77" y="149"/>
                    </a:lnTo>
                    <a:lnTo>
                      <a:pt x="68" y="149"/>
                    </a:lnTo>
                    <a:lnTo>
                      <a:pt x="56" y="137"/>
                    </a:lnTo>
                    <a:lnTo>
                      <a:pt x="54" y="142"/>
                    </a:lnTo>
                    <a:lnTo>
                      <a:pt x="48" y="135"/>
                    </a:lnTo>
                    <a:lnTo>
                      <a:pt x="41" y="135"/>
                    </a:lnTo>
                    <a:lnTo>
                      <a:pt x="33" y="128"/>
                    </a:lnTo>
                    <a:lnTo>
                      <a:pt x="29" y="124"/>
                    </a:lnTo>
                    <a:lnTo>
                      <a:pt x="29" y="119"/>
                    </a:lnTo>
                    <a:lnTo>
                      <a:pt x="33" y="119"/>
                    </a:lnTo>
                    <a:lnTo>
                      <a:pt x="31" y="115"/>
                    </a:lnTo>
                    <a:lnTo>
                      <a:pt x="33" y="108"/>
                    </a:lnTo>
                    <a:lnTo>
                      <a:pt x="33" y="106"/>
                    </a:lnTo>
                    <a:lnTo>
                      <a:pt x="29" y="101"/>
                    </a:lnTo>
                    <a:lnTo>
                      <a:pt x="23" y="106"/>
                    </a:lnTo>
                    <a:lnTo>
                      <a:pt x="14" y="101"/>
                    </a:lnTo>
                    <a:lnTo>
                      <a:pt x="12" y="94"/>
                    </a:lnTo>
                    <a:lnTo>
                      <a:pt x="6" y="94"/>
                    </a:lnTo>
                    <a:lnTo>
                      <a:pt x="6" y="92"/>
                    </a:lnTo>
                    <a:lnTo>
                      <a:pt x="6" y="85"/>
                    </a:lnTo>
                    <a:lnTo>
                      <a:pt x="2" y="85"/>
                    </a:lnTo>
                    <a:lnTo>
                      <a:pt x="0" y="83"/>
                    </a:lnTo>
                    <a:lnTo>
                      <a:pt x="0" y="81"/>
                    </a:lnTo>
                    <a:lnTo>
                      <a:pt x="0" y="76"/>
                    </a:lnTo>
                    <a:lnTo>
                      <a:pt x="2" y="74"/>
                    </a:lnTo>
                    <a:lnTo>
                      <a:pt x="12" y="74"/>
                    </a:lnTo>
                    <a:lnTo>
                      <a:pt x="12" y="72"/>
                    </a:lnTo>
                    <a:lnTo>
                      <a:pt x="16" y="72"/>
                    </a:lnTo>
                    <a:lnTo>
                      <a:pt x="23" y="67"/>
                    </a:lnTo>
                    <a:lnTo>
                      <a:pt x="23" y="65"/>
                    </a:lnTo>
                    <a:lnTo>
                      <a:pt x="23" y="58"/>
                    </a:lnTo>
                    <a:lnTo>
                      <a:pt x="20" y="49"/>
                    </a:lnTo>
                    <a:lnTo>
                      <a:pt x="25" y="47"/>
                    </a:lnTo>
                    <a:lnTo>
                      <a:pt x="25" y="38"/>
                    </a:lnTo>
                    <a:lnTo>
                      <a:pt x="33" y="38"/>
                    </a:lnTo>
                    <a:lnTo>
                      <a:pt x="37" y="38"/>
                    </a:lnTo>
                    <a:lnTo>
                      <a:pt x="37" y="31"/>
                    </a:lnTo>
                    <a:lnTo>
                      <a:pt x="39" y="29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grpSp>
          <p:nvGrpSpPr>
            <p:cNvPr id="162" name="Chile"/>
            <p:cNvGrpSpPr/>
            <p:nvPr/>
          </p:nvGrpSpPr>
          <p:grpSpPr>
            <a:xfrm>
              <a:off x="2403080" y="5118296"/>
              <a:ext cx="327302" cy="1153702"/>
              <a:chOff x="2403080" y="5118296"/>
              <a:chExt cx="327302" cy="1153702"/>
            </a:xfrm>
            <a:grpFill/>
          </p:grpSpPr>
          <p:sp>
            <p:nvSpPr>
              <p:cNvPr id="261" name="Chile"/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auto">
              <a:xfrm>
                <a:off x="2486292" y="5909725"/>
                <a:ext cx="33285" cy="5016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9"/>
                  </a:cxn>
                  <a:cxn ang="0">
                    <a:pos x="6" y="9"/>
                  </a:cxn>
                  <a:cxn ang="0">
                    <a:pos x="6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6" h="9">
                    <a:moveTo>
                      <a:pt x="0" y="0"/>
                    </a:moveTo>
                    <a:lnTo>
                      <a:pt x="4" y="9"/>
                    </a:lnTo>
                    <a:lnTo>
                      <a:pt x="6" y="9"/>
                    </a:lnTo>
                    <a:lnTo>
                      <a:pt x="6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62" name="Chile"/>
              <p:cNvSpPr>
                <a:spLocks/>
              </p:cNvSpPr>
              <p:nvPr>
                <p:custDataLst>
                  <p:tags r:id="rId171"/>
                </p:custDataLst>
              </p:nvPr>
            </p:nvSpPr>
            <p:spPr bwMode="auto">
              <a:xfrm>
                <a:off x="2403080" y="5118296"/>
                <a:ext cx="327302" cy="115370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3" y="16"/>
                  </a:cxn>
                  <a:cxn ang="0">
                    <a:pos x="21" y="31"/>
                  </a:cxn>
                  <a:cxn ang="0">
                    <a:pos x="15" y="40"/>
                  </a:cxn>
                  <a:cxn ang="0">
                    <a:pos x="15" y="61"/>
                  </a:cxn>
                  <a:cxn ang="0">
                    <a:pos x="21" y="94"/>
                  </a:cxn>
                  <a:cxn ang="0">
                    <a:pos x="21" y="108"/>
                  </a:cxn>
                  <a:cxn ang="0">
                    <a:pos x="23" y="121"/>
                  </a:cxn>
                  <a:cxn ang="0">
                    <a:pos x="27" y="142"/>
                  </a:cxn>
                  <a:cxn ang="0">
                    <a:pos x="29" y="155"/>
                  </a:cxn>
                  <a:cxn ang="0">
                    <a:pos x="32" y="155"/>
                  </a:cxn>
                  <a:cxn ang="0">
                    <a:pos x="36" y="187"/>
                  </a:cxn>
                  <a:cxn ang="0">
                    <a:pos x="40" y="189"/>
                  </a:cxn>
                  <a:cxn ang="0">
                    <a:pos x="59" y="198"/>
                  </a:cxn>
                  <a:cxn ang="0">
                    <a:pos x="54" y="202"/>
                  </a:cxn>
                  <a:cxn ang="0">
                    <a:pos x="38" y="198"/>
                  </a:cxn>
                  <a:cxn ang="0">
                    <a:pos x="36" y="198"/>
                  </a:cxn>
                  <a:cxn ang="0">
                    <a:pos x="38" y="196"/>
                  </a:cxn>
                  <a:cxn ang="0">
                    <a:pos x="36" y="196"/>
                  </a:cxn>
                  <a:cxn ang="0">
                    <a:pos x="32" y="189"/>
                  </a:cxn>
                  <a:cxn ang="0">
                    <a:pos x="29" y="189"/>
                  </a:cxn>
                  <a:cxn ang="0">
                    <a:pos x="27" y="187"/>
                  </a:cxn>
                  <a:cxn ang="0">
                    <a:pos x="23" y="173"/>
                  </a:cxn>
                  <a:cxn ang="0">
                    <a:pos x="27" y="169"/>
                  </a:cxn>
                  <a:cxn ang="0">
                    <a:pos x="21" y="164"/>
                  </a:cxn>
                  <a:cxn ang="0">
                    <a:pos x="19" y="153"/>
                  </a:cxn>
                  <a:cxn ang="0">
                    <a:pos x="21" y="142"/>
                  </a:cxn>
                  <a:cxn ang="0">
                    <a:pos x="19" y="142"/>
                  </a:cxn>
                  <a:cxn ang="0">
                    <a:pos x="15" y="128"/>
                  </a:cxn>
                  <a:cxn ang="0">
                    <a:pos x="9" y="112"/>
                  </a:cxn>
                  <a:cxn ang="0">
                    <a:pos x="13" y="94"/>
                  </a:cxn>
                  <a:cxn ang="0">
                    <a:pos x="6" y="76"/>
                  </a:cxn>
                  <a:cxn ang="0">
                    <a:pos x="6" y="67"/>
                  </a:cxn>
                  <a:cxn ang="0">
                    <a:pos x="6" y="31"/>
                  </a:cxn>
                  <a:cxn ang="0">
                    <a:pos x="2" y="16"/>
                  </a:cxn>
                </a:cxnLst>
                <a:rect l="0" t="0" r="r" b="b"/>
                <a:pathLst>
                  <a:path w="59" h="207">
                    <a:moveTo>
                      <a:pt x="0" y="4"/>
                    </a:moveTo>
                    <a:lnTo>
                      <a:pt x="6" y="0"/>
                    </a:lnTo>
                    <a:lnTo>
                      <a:pt x="13" y="9"/>
                    </a:lnTo>
                    <a:lnTo>
                      <a:pt x="13" y="16"/>
                    </a:lnTo>
                    <a:lnTo>
                      <a:pt x="19" y="31"/>
                    </a:lnTo>
                    <a:lnTo>
                      <a:pt x="21" y="31"/>
                    </a:lnTo>
                    <a:lnTo>
                      <a:pt x="21" y="36"/>
                    </a:lnTo>
                    <a:lnTo>
                      <a:pt x="15" y="40"/>
                    </a:lnTo>
                    <a:lnTo>
                      <a:pt x="19" y="52"/>
                    </a:lnTo>
                    <a:lnTo>
                      <a:pt x="15" y="61"/>
                    </a:lnTo>
                    <a:lnTo>
                      <a:pt x="15" y="79"/>
                    </a:lnTo>
                    <a:lnTo>
                      <a:pt x="21" y="94"/>
                    </a:lnTo>
                    <a:lnTo>
                      <a:pt x="19" y="103"/>
                    </a:lnTo>
                    <a:lnTo>
                      <a:pt x="21" y="108"/>
                    </a:lnTo>
                    <a:lnTo>
                      <a:pt x="19" y="112"/>
                    </a:lnTo>
                    <a:lnTo>
                      <a:pt x="23" y="121"/>
                    </a:lnTo>
                    <a:lnTo>
                      <a:pt x="23" y="137"/>
                    </a:lnTo>
                    <a:lnTo>
                      <a:pt x="27" y="142"/>
                    </a:lnTo>
                    <a:lnTo>
                      <a:pt x="27" y="146"/>
                    </a:lnTo>
                    <a:lnTo>
                      <a:pt x="29" y="155"/>
                    </a:lnTo>
                    <a:lnTo>
                      <a:pt x="32" y="160"/>
                    </a:lnTo>
                    <a:lnTo>
                      <a:pt x="32" y="155"/>
                    </a:lnTo>
                    <a:lnTo>
                      <a:pt x="36" y="169"/>
                    </a:lnTo>
                    <a:lnTo>
                      <a:pt x="36" y="187"/>
                    </a:lnTo>
                    <a:lnTo>
                      <a:pt x="38" y="189"/>
                    </a:lnTo>
                    <a:lnTo>
                      <a:pt x="40" y="189"/>
                    </a:lnTo>
                    <a:lnTo>
                      <a:pt x="46" y="198"/>
                    </a:lnTo>
                    <a:lnTo>
                      <a:pt x="59" y="198"/>
                    </a:lnTo>
                    <a:lnTo>
                      <a:pt x="59" y="202"/>
                    </a:lnTo>
                    <a:lnTo>
                      <a:pt x="54" y="202"/>
                    </a:lnTo>
                    <a:lnTo>
                      <a:pt x="54" y="207"/>
                    </a:lnTo>
                    <a:lnTo>
                      <a:pt x="38" y="198"/>
                    </a:lnTo>
                    <a:lnTo>
                      <a:pt x="38" y="202"/>
                    </a:lnTo>
                    <a:lnTo>
                      <a:pt x="36" y="198"/>
                    </a:lnTo>
                    <a:lnTo>
                      <a:pt x="36" y="196"/>
                    </a:lnTo>
                    <a:lnTo>
                      <a:pt x="38" y="196"/>
                    </a:lnTo>
                    <a:lnTo>
                      <a:pt x="36" y="193"/>
                    </a:lnTo>
                    <a:lnTo>
                      <a:pt x="36" y="196"/>
                    </a:lnTo>
                    <a:lnTo>
                      <a:pt x="32" y="196"/>
                    </a:lnTo>
                    <a:lnTo>
                      <a:pt x="32" y="189"/>
                    </a:lnTo>
                    <a:lnTo>
                      <a:pt x="32" y="187"/>
                    </a:lnTo>
                    <a:lnTo>
                      <a:pt x="29" y="189"/>
                    </a:lnTo>
                    <a:lnTo>
                      <a:pt x="29" y="187"/>
                    </a:lnTo>
                    <a:lnTo>
                      <a:pt x="27" y="187"/>
                    </a:lnTo>
                    <a:lnTo>
                      <a:pt x="23" y="178"/>
                    </a:lnTo>
                    <a:lnTo>
                      <a:pt x="23" y="173"/>
                    </a:lnTo>
                    <a:lnTo>
                      <a:pt x="27" y="178"/>
                    </a:lnTo>
                    <a:lnTo>
                      <a:pt x="27" y="169"/>
                    </a:lnTo>
                    <a:lnTo>
                      <a:pt x="19" y="169"/>
                    </a:lnTo>
                    <a:lnTo>
                      <a:pt x="21" y="164"/>
                    </a:lnTo>
                    <a:lnTo>
                      <a:pt x="21" y="162"/>
                    </a:lnTo>
                    <a:lnTo>
                      <a:pt x="19" y="153"/>
                    </a:lnTo>
                    <a:lnTo>
                      <a:pt x="23" y="153"/>
                    </a:lnTo>
                    <a:lnTo>
                      <a:pt x="21" y="142"/>
                    </a:lnTo>
                    <a:lnTo>
                      <a:pt x="19" y="137"/>
                    </a:lnTo>
                    <a:lnTo>
                      <a:pt x="19" y="142"/>
                    </a:lnTo>
                    <a:lnTo>
                      <a:pt x="15" y="135"/>
                    </a:lnTo>
                    <a:lnTo>
                      <a:pt x="15" y="128"/>
                    </a:lnTo>
                    <a:lnTo>
                      <a:pt x="9" y="117"/>
                    </a:lnTo>
                    <a:lnTo>
                      <a:pt x="9" y="112"/>
                    </a:lnTo>
                    <a:lnTo>
                      <a:pt x="13" y="112"/>
                    </a:lnTo>
                    <a:lnTo>
                      <a:pt x="13" y="94"/>
                    </a:lnTo>
                    <a:lnTo>
                      <a:pt x="13" y="85"/>
                    </a:lnTo>
                    <a:lnTo>
                      <a:pt x="6" y="76"/>
                    </a:lnTo>
                    <a:lnTo>
                      <a:pt x="9" y="74"/>
                    </a:lnTo>
                    <a:lnTo>
                      <a:pt x="6" y="67"/>
                    </a:lnTo>
                    <a:lnTo>
                      <a:pt x="9" y="52"/>
                    </a:lnTo>
                    <a:lnTo>
                      <a:pt x="6" y="31"/>
                    </a:lnTo>
                    <a:lnTo>
                      <a:pt x="6" y="25"/>
                    </a:lnTo>
                    <a:lnTo>
                      <a:pt x="2" y="1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163" name="Chad"/>
            <p:cNvSpPr>
              <a:spLocks/>
            </p:cNvSpPr>
            <p:nvPr/>
          </p:nvSpPr>
          <p:spPr bwMode="auto">
            <a:xfrm>
              <a:off x="4584476" y="3795314"/>
              <a:ext cx="283421" cy="516561"/>
            </a:xfrm>
            <a:custGeom>
              <a:avLst/>
              <a:gdLst>
                <a:gd name="T0" fmla="*/ 780 w 780"/>
                <a:gd name="T1" fmla="*/ 570 h 1197"/>
                <a:gd name="T2" fmla="*/ 709 w 780"/>
                <a:gd name="T3" fmla="*/ 581 h 1197"/>
                <a:gd name="T4" fmla="*/ 685 w 780"/>
                <a:gd name="T5" fmla="*/ 640 h 1197"/>
                <a:gd name="T6" fmla="*/ 670 w 780"/>
                <a:gd name="T7" fmla="*/ 672 h 1197"/>
                <a:gd name="T8" fmla="*/ 652 w 780"/>
                <a:gd name="T9" fmla="*/ 709 h 1197"/>
                <a:gd name="T10" fmla="*/ 636 w 780"/>
                <a:gd name="T11" fmla="*/ 772 h 1197"/>
                <a:gd name="T12" fmla="*/ 673 w 780"/>
                <a:gd name="T13" fmla="*/ 809 h 1197"/>
                <a:gd name="T14" fmla="*/ 684 w 780"/>
                <a:gd name="T15" fmla="*/ 865 h 1197"/>
                <a:gd name="T16" fmla="*/ 711 w 780"/>
                <a:gd name="T17" fmla="*/ 922 h 1197"/>
                <a:gd name="T18" fmla="*/ 686 w 780"/>
                <a:gd name="T19" fmla="*/ 930 h 1197"/>
                <a:gd name="T20" fmla="*/ 631 w 780"/>
                <a:gd name="T21" fmla="*/ 953 h 1197"/>
                <a:gd name="T22" fmla="*/ 594 w 780"/>
                <a:gd name="T23" fmla="*/ 1006 h 1197"/>
                <a:gd name="T24" fmla="*/ 546 w 780"/>
                <a:gd name="T25" fmla="*/ 1053 h 1197"/>
                <a:gd name="T26" fmla="*/ 490 w 780"/>
                <a:gd name="T27" fmla="*/ 1076 h 1197"/>
                <a:gd name="T28" fmla="*/ 417 w 780"/>
                <a:gd name="T29" fmla="*/ 1097 h 1197"/>
                <a:gd name="T30" fmla="*/ 391 w 780"/>
                <a:gd name="T31" fmla="*/ 1151 h 1197"/>
                <a:gd name="T32" fmla="*/ 313 w 780"/>
                <a:gd name="T33" fmla="*/ 1161 h 1197"/>
                <a:gd name="T34" fmla="*/ 252 w 780"/>
                <a:gd name="T35" fmla="*/ 1186 h 1197"/>
                <a:gd name="T36" fmla="*/ 219 w 780"/>
                <a:gd name="T37" fmla="*/ 1182 h 1197"/>
                <a:gd name="T38" fmla="*/ 160 w 780"/>
                <a:gd name="T39" fmla="*/ 1191 h 1197"/>
                <a:gd name="T40" fmla="*/ 153 w 780"/>
                <a:gd name="T41" fmla="*/ 1163 h 1197"/>
                <a:gd name="T42" fmla="*/ 107 w 780"/>
                <a:gd name="T43" fmla="*/ 1095 h 1197"/>
                <a:gd name="T44" fmla="*/ 52 w 780"/>
                <a:gd name="T45" fmla="*/ 1041 h 1197"/>
                <a:gd name="T46" fmla="*/ 80 w 780"/>
                <a:gd name="T47" fmla="*/ 1006 h 1197"/>
                <a:gd name="T48" fmla="*/ 161 w 780"/>
                <a:gd name="T49" fmla="*/ 1009 h 1197"/>
                <a:gd name="T50" fmla="*/ 133 w 780"/>
                <a:gd name="T51" fmla="*/ 968 h 1197"/>
                <a:gd name="T52" fmla="*/ 125 w 780"/>
                <a:gd name="T53" fmla="*/ 901 h 1197"/>
                <a:gd name="T54" fmla="*/ 124 w 780"/>
                <a:gd name="T55" fmla="*/ 850 h 1197"/>
                <a:gd name="T56" fmla="*/ 100 w 780"/>
                <a:gd name="T57" fmla="*/ 802 h 1197"/>
                <a:gd name="T58" fmla="*/ 52 w 780"/>
                <a:gd name="T59" fmla="*/ 774 h 1197"/>
                <a:gd name="T60" fmla="*/ 8 w 780"/>
                <a:gd name="T61" fmla="*/ 679 h 1197"/>
                <a:gd name="T62" fmla="*/ 35 w 780"/>
                <a:gd name="T63" fmla="*/ 629 h 1197"/>
                <a:gd name="T64" fmla="*/ 156 w 780"/>
                <a:gd name="T65" fmla="*/ 487 h 1197"/>
                <a:gd name="T66" fmla="*/ 171 w 780"/>
                <a:gd name="T67" fmla="*/ 292 h 1197"/>
                <a:gd name="T68" fmla="*/ 175 w 780"/>
                <a:gd name="T69" fmla="*/ 211 h 1197"/>
                <a:gd name="T70" fmla="*/ 135 w 780"/>
                <a:gd name="T71" fmla="*/ 144 h 1197"/>
                <a:gd name="T72" fmla="*/ 120 w 780"/>
                <a:gd name="T73" fmla="*/ 34 h 1197"/>
                <a:gd name="T74" fmla="*/ 770 w 780"/>
                <a:gd name="T75" fmla="*/ 289 h 1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80" h="1197">
                  <a:moveTo>
                    <a:pt x="770" y="289"/>
                  </a:moveTo>
                  <a:cubicBezTo>
                    <a:pt x="773" y="364"/>
                    <a:pt x="778" y="496"/>
                    <a:pt x="780" y="570"/>
                  </a:cubicBezTo>
                  <a:cubicBezTo>
                    <a:pt x="774" y="577"/>
                    <a:pt x="759" y="565"/>
                    <a:pt x="748" y="571"/>
                  </a:cubicBezTo>
                  <a:cubicBezTo>
                    <a:pt x="736" y="581"/>
                    <a:pt x="719" y="567"/>
                    <a:pt x="709" y="581"/>
                  </a:cubicBezTo>
                  <a:cubicBezTo>
                    <a:pt x="696" y="586"/>
                    <a:pt x="708" y="595"/>
                    <a:pt x="708" y="603"/>
                  </a:cubicBezTo>
                  <a:cubicBezTo>
                    <a:pt x="709" y="620"/>
                    <a:pt x="689" y="625"/>
                    <a:pt x="685" y="640"/>
                  </a:cubicBezTo>
                  <a:cubicBezTo>
                    <a:pt x="689" y="649"/>
                    <a:pt x="683" y="654"/>
                    <a:pt x="674" y="654"/>
                  </a:cubicBezTo>
                  <a:cubicBezTo>
                    <a:pt x="661" y="656"/>
                    <a:pt x="666" y="665"/>
                    <a:pt x="670" y="672"/>
                  </a:cubicBezTo>
                  <a:cubicBezTo>
                    <a:pt x="667" y="680"/>
                    <a:pt x="672" y="685"/>
                    <a:pt x="678" y="687"/>
                  </a:cubicBezTo>
                  <a:cubicBezTo>
                    <a:pt x="677" y="700"/>
                    <a:pt x="659" y="699"/>
                    <a:pt x="652" y="709"/>
                  </a:cubicBezTo>
                  <a:cubicBezTo>
                    <a:pt x="638" y="718"/>
                    <a:pt x="652" y="730"/>
                    <a:pt x="655" y="741"/>
                  </a:cubicBezTo>
                  <a:cubicBezTo>
                    <a:pt x="667" y="755"/>
                    <a:pt x="646" y="765"/>
                    <a:pt x="636" y="772"/>
                  </a:cubicBezTo>
                  <a:cubicBezTo>
                    <a:pt x="625" y="783"/>
                    <a:pt x="624" y="810"/>
                    <a:pt x="646" y="805"/>
                  </a:cubicBezTo>
                  <a:cubicBezTo>
                    <a:pt x="654" y="796"/>
                    <a:pt x="667" y="800"/>
                    <a:pt x="673" y="809"/>
                  </a:cubicBezTo>
                  <a:cubicBezTo>
                    <a:pt x="664" y="822"/>
                    <a:pt x="680" y="837"/>
                    <a:pt x="677" y="849"/>
                  </a:cubicBezTo>
                  <a:cubicBezTo>
                    <a:pt x="692" y="842"/>
                    <a:pt x="684" y="857"/>
                    <a:pt x="684" y="865"/>
                  </a:cubicBezTo>
                  <a:cubicBezTo>
                    <a:pt x="678" y="880"/>
                    <a:pt x="688" y="890"/>
                    <a:pt x="700" y="896"/>
                  </a:cubicBezTo>
                  <a:cubicBezTo>
                    <a:pt x="714" y="895"/>
                    <a:pt x="716" y="911"/>
                    <a:pt x="711" y="922"/>
                  </a:cubicBezTo>
                  <a:cubicBezTo>
                    <a:pt x="711" y="931"/>
                    <a:pt x="707" y="933"/>
                    <a:pt x="702" y="933"/>
                  </a:cubicBezTo>
                  <a:cubicBezTo>
                    <a:pt x="697" y="933"/>
                    <a:pt x="691" y="931"/>
                    <a:pt x="686" y="930"/>
                  </a:cubicBezTo>
                  <a:cubicBezTo>
                    <a:pt x="675" y="927"/>
                    <a:pt x="662" y="933"/>
                    <a:pt x="655" y="941"/>
                  </a:cubicBezTo>
                  <a:cubicBezTo>
                    <a:pt x="643" y="938"/>
                    <a:pt x="642" y="951"/>
                    <a:pt x="631" y="953"/>
                  </a:cubicBezTo>
                  <a:cubicBezTo>
                    <a:pt x="609" y="954"/>
                    <a:pt x="633" y="980"/>
                    <a:pt x="615" y="988"/>
                  </a:cubicBezTo>
                  <a:cubicBezTo>
                    <a:pt x="601" y="985"/>
                    <a:pt x="604" y="1005"/>
                    <a:pt x="594" y="1006"/>
                  </a:cubicBezTo>
                  <a:cubicBezTo>
                    <a:pt x="581" y="1007"/>
                    <a:pt x="576" y="1022"/>
                    <a:pt x="569" y="1029"/>
                  </a:cubicBezTo>
                  <a:cubicBezTo>
                    <a:pt x="564" y="1038"/>
                    <a:pt x="556" y="1049"/>
                    <a:pt x="546" y="1053"/>
                  </a:cubicBezTo>
                  <a:cubicBezTo>
                    <a:pt x="543" y="1060"/>
                    <a:pt x="530" y="1053"/>
                    <a:pt x="531" y="1065"/>
                  </a:cubicBezTo>
                  <a:cubicBezTo>
                    <a:pt x="522" y="1080"/>
                    <a:pt x="502" y="1063"/>
                    <a:pt x="490" y="1076"/>
                  </a:cubicBezTo>
                  <a:cubicBezTo>
                    <a:pt x="474" y="1078"/>
                    <a:pt x="458" y="1081"/>
                    <a:pt x="442" y="1080"/>
                  </a:cubicBezTo>
                  <a:cubicBezTo>
                    <a:pt x="433" y="1076"/>
                    <a:pt x="401" y="1086"/>
                    <a:pt x="417" y="1097"/>
                  </a:cubicBezTo>
                  <a:cubicBezTo>
                    <a:pt x="433" y="1100"/>
                    <a:pt x="426" y="1114"/>
                    <a:pt x="417" y="1121"/>
                  </a:cubicBezTo>
                  <a:cubicBezTo>
                    <a:pt x="413" y="1136"/>
                    <a:pt x="394" y="1136"/>
                    <a:pt x="391" y="1151"/>
                  </a:cubicBezTo>
                  <a:cubicBezTo>
                    <a:pt x="380" y="1156"/>
                    <a:pt x="364" y="1153"/>
                    <a:pt x="351" y="1155"/>
                  </a:cubicBezTo>
                  <a:cubicBezTo>
                    <a:pt x="339" y="1162"/>
                    <a:pt x="325" y="1153"/>
                    <a:pt x="313" y="1161"/>
                  </a:cubicBezTo>
                  <a:cubicBezTo>
                    <a:pt x="297" y="1164"/>
                    <a:pt x="286" y="1175"/>
                    <a:pt x="273" y="1181"/>
                  </a:cubicBezTo>
                  <a:cubicBezTo>
                    <a:pt x="263" y="1178"/>
                    <a:pt x="260" y="1197"/>
                    <a:pt x="252" y="1186"/>
                  </a:cubicBezTo>
                  <a:cubicBezTo>
                    <a:pt x="242" y="1183"/>
                    <a:pt x="242" y="1168"/>
                    <a:pt x="234" y="1167"/>
                  </a:cubicBezTo>
                  <a:cubicBezTo>
                    <a:pt x="225" y="1171"/>
                    <a:pt x="228" y="1180"/>
                    <a:pt x="219" y="1182"/>
                  </a:cubicBezTo>
                  <a:cubicBezTo>
                    <a:pt x="203" y="1184"/>
                    <a:pt x="193" y="1197"/>
                    <a:pt x="177" y="1197"/>
                  </a:cubicBezTo>
                  <a:cubicBezTo>
                    <a:pt x="175" y="1189"/>
                    <a:pt x="161" y="1196"/>
                    <a:pt x="160" y="1191"/>
                  </a:cubicBezTo>
                  <a:cubicBezTo>
                    <a:pt x="160" y="1190"/>
                    <a:pt x="160" y="1190"/>
                    <a:pt x="160" y="1189"/>
                  </a:cubicBezTo>
                  <a:cubicBezTo>
                    <a:pt x="171" y="1177"/>
                    <a:pt x="156" y="1174"/>
                    <a:pt x="153" y="1163"/>
                  </a:cubicBezTo>
                  <a:cubicBezTo>
                    <a:pt x="150" y="1151"/>
                    <a:pt x="144" y="1140"/>
                    <a:pt x="139" y="1129"/>
                  </a:cubicBezTo>
                  <a:cubicBezTo>
                    <a:pt x="133" y="1114"/>
                    <a:pt x="120" y="1102"/>
                    <a:pt x="107" y="1095"/>
                  </a:cubicBezTo>
                  <a:cubicBezTo>
                    <a:pt x="98" y="1088"/>
                    <a:pt x="88" y="1081"/>
                    <a:pt x="79" y="1073"/>
                  </a:cubicBezTo>
                  <a:cubicBezTo>
                    <a:pt x="70" y="1063"/>
                    <a:pt x="62" y="1051"/>
                    <a:pt x="52" y="1041"/>
                  </a:cubicBezTo>
                  <a:cubicBezTo>
                    <a:pt x="43" y="1036"/>
                    <a:pt x="42" y="1024"/>
                    <a:pt x="53" y="1020"/>
                  </a:cubicBezTo>
                  <a:cubicBezTo>
                    <a:pt x="57" y="1007"/>
                    <a:pt x="68" y="1005"/>
                    <a:pt x="80" y="1006"/>
                  </a:cubicBezTo>
                  <a:cubicBezTo>
                    <a:pt x="94" y="1009"/>
                    <a:pt x="107" y="1011"/>
                    <a:pt x="121" y="1009"/>
                  </a:cubicBezTo>
                  <a:cubicBezTo>
                    <a:pt x="135" y="1003"/>
                    <a:pt x="147" y="1013"/>
                    <a:pt x="161" y="1009"/>
                  </a:cubicBezTo>
                  <a:cubicBezTo>
                    <a:pt x="174" y="1009"/>
                    <a:pt x="165" y="1002"/>
                    <a:pt x="159" y="998"/>
                  </a:cubicBezTo>
                  <a:cubicBezTo>
                    <a:pt x="148" y="990"/>
                    <a:pt x="142" y="977"/>
                    <a:pt x="133" y="968"/>
                  </a:cubicBezTo>
                  <a:cubicBezTo>
                    <a:pt x="130" y="957"/>
                    <a:pt x="125" y="946"/>
                    <a:pt x="124" y="934"/>
                  </a:cubicBezTo>
                  <a:cubicBezTo>
                    <a:pt x="120" y="923"/>
                    <a:pt x="122" y="912"/>
                    <a:pt x="125" y="901"/>
                  </a:cubicBezTo>
                  <a:cubicBezTo>
                    <a:pt x="134" y="891"/>
                    <a:pt x="122" y="883"/>
                    <a:pt x="127" y="871"/>
                  </a:cubicBezTo>
                  <a:cubicBezTo>
                    <a:pt x="122" y="865"/>
                    <a:pt x="126" y="858"/>
                    <a:pt x="124" y="850"/>
                  </a:cubicBezTo>
                  <a:cubicBezTo>
                    <a:pt x="108" y="848"/>
                    <a:pt x="116" y="830"/>
                    <a:pt x="110" y="818"/>
                  </a:cubicBezTo>
                  <a:cubicBezTo>
                    <a:pt x="112" y="809"/>
                    <a:pt x="100" y="808"/>
                    <a:pt x="100" y="802"/>
                  </a:cubicBezTo>
                  <a:cubicBezTo>
                    <a:pt x="90" y="801"/>
                    <a:pt x="84" y="794"/>
                    <a:pt x="84" y="783"/>
                  </a:cubicBezTo>
                  <a:cubicBezTo>
                    <a:pt x="81" y="768"/>
                    <a:pt x="63" y="776"/>
                    <a:pt x="52" y="774"/>
                  </a:cubicBezTo>
                  <a:cubicBezTo>
                    <a:pt x="41" y="758"/>
                    <a:pt x="30" y="742"/>
                    <a:pt x="19" y="726"/>
                  </a:cubicBezTo>
                  <a:cubicBezTo>
                    <a:pt x="15" y="710"/>
                    <a:pt x="12" y="695"/>
                    <a:pt x="8" y="679"/>
                  </a:cubicBezTo>
                  <a:cubicBezTo>
                    <a:pt x="0" y="664"/>
                    <a:pt x="28" y="670"/>
                    <a:pt x="23" y="656"/>
                  </a:cubicBezTo>
                  <a:cubicBezTo>
                    <a:pt x="35" y="651"/>
                    <a:pt x="27" y="637"/>
                    <a:pt x="35" y="629"/>
                  </a:cubicBezTo>
                  <a:cubicBezTo>
                    <a:pt x="48" y="613"/>
                    <a:pt x="60" y="596"/>
                    <a:pt x="71" y="579"/>
                  </a:cubicBezTo>
                  <a:cubicBezTo>
                    <a:pt x="98" y="547"/>
                    <a:pt x="128" y="518"/>
                    <a:pt x="156" y="487"/>
                  </a:cubicBezTo>
                  <a:cubicBezTo>
                    <a:pt x="158" y="458"/>
                    <a:pt x="160" y="428"/>
                    <a:pt x="161" y="399"/>
                  </a:cubicBezTo>
                  <a:cubicBezTo>
                    <a:pt x="163" y="363"/>
                    <a:pt x="166" y="327"/>
                    <a:pt x="171" y="292"/>
                  </a:cubicBezTo>
                  <a:cubicBezTo>
                    <a:pt x="173" y="275"/>
                    <a:pt x="174" y="258"/>
                    <a:pt x="184" y="244"/>
                  </a:cubicBezTo>
                  <a:cubicBezTo>
                    <a:pt x="199" y="231"/>
                    <a:pt x="183" y="220"/>
                    <a:pt x="175" y="211"/>
                  </a:cubicBezTo>
                  <a:cubicBezTo>
                    <a:pt x="167" y="205"/>
                    <a:pt x="152" y="193"/>
                    <a:pt x="165" y="185"/>
                  </a:cubicBezTo>
                  <a:cubicBezTo>
                    <a:pt x="155" y="171"/>
                    <a:pt x="147" y="156"/>
                    <a:pt x="135" y="144"/>
                  </a:cubicBezTo>
                  <a:cubicBezTo>
                    <a:pt x="133" y="127"/>
                    <a:pt x="136" y="109"/>
                    <a:pt x="131" y="93"/>
                  </a:cubicBezTo>
                  <a:cubicBezTo>
                    <a:pt x="128" y="73"/>
                    <a:pt x="124" y="53"/>
                    <a:pt x="120" y="34"/>
                  </a:cubicBezTo>
                  <a:cubicBezTo>
                    <a:pt x="144" y="22"/>
                    <a:pt x="167" y="11"/>
                    <a:pt x="191" y="0"/>
                  </a:cubicBezTo>
                  <a:cubicBezTo>
                    <a:pt x="386" y="93"/>
                    <a:pt x="579" y="189"/>
                    <a:pt x="770" y="289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64" name="Central African Republic"/>
            <p:cNvSpPr>
              <a:spLocks/>
            </p:cNvSpPr>
            <p:nvPr/>
          </p:nvSpPr>
          <p:spPr bwMode="auto">
            <a:xfrm>
              <a:off x="4609091" y="4195044"/>
              <a:ext cx="360078" cy="287071"/>
            </a:xfrm>
            <a:custGeom>
              <a:avLst/>
              <a:gdLst>
                <a:gd name="T0" fmla="*/ 143 w 990"/>
                <a:gd name="T1" fmla="*/ 665 h 665"/>
                <a:gd name="T2" fmla="*/ 141 w 990"/>
                <a:gd name="T3" fmla="*/ 663 h 665"/>
                <a:gd name="T4" fmla="*/ 115 w 990"/>
                <a:gd name="T5" fmla="*/ 598 h 665"/>
                <a:gd name="T6" fmla="*/ 56 w 990"/>
                <a:gd name="T7" fmla="*/ 532 h 665"/>
                <a:gd name="T8" fmla="*/ 35 w 990"/>
                <a:gd name="T9" fmla="*/ 488 h 665"/>
                <a:gd name="T10" fmla="*/ 23 w 990"/>
                <a:gd name="T11" fmla="*/ 419 h 665"/>
                <a:gd name="T12" fmla="*/ 28 w 990"/>
                <a:gd name="T13" fmla="*/ 363 h 665"/>
                <a:gd name="T14" fmla="*/ 65 w 990"/>
                <a:gd name="T15" fmla="*/ 301 h 665"/>
                <a:gd name="T16" fmla="*/ 92 w 990"/>
                <a:gd name="T17" fmla="*/ 264 h 665"/>
                <a:gd name="T18" fmla="*/ 151 w 990"/>
                <a:gd name="T19" fmla="*/ 255 h 665"/>
                <a:gd name="T20" fmla="*/ 184 w 990"/>
                <a:gd name="T21" fmla="*/ 259 h 665"/>
                <a:gd name="T22" fmla="*/ 245 w 990"/>
                <a:gd name="T23" fmla="*/ 234 h 665"/>
                <a:gd name="T24" fmla="*/ 323 w 990"/>
                <a:gd name="T25" fmla="*/ 224 h 665"/>
                <a:gd name="T26" fmla="*/ 349 w 990"/>
                <a:gd name="T27" fmla="*/ 170 h 665"/>
                <a:gd name="T28" fmla="*/ 422 w 990"/>
                <a:gd name="T29" fmla="*/ 149 h 665"/>
                <a:gd name="T30" fmla="*/ 478 w 990"/>
                <a:gd name="T31" fmla="*/ 126 h 665"/>
                <a:gd name="T32" fmla="*/ 526 w 990"/>
                <a:gd name="T33" fmla="*/ 79 h 665"/>
                <a:gd name="T34" fmla="*/ 563 w 990"/>
                <a:gd name="T35" fmla="*/ 26 h 665"/>
                <a:gd name="T36" fmla="*/ 618 w 990"/>
                <a:gd name="T37" fmla="*/ 3 h 665"/>
                <a:gd name="T38" fmla="*/ 639 w 990"/>
                <a:gd name="T39" fmla="*/ 7 h 665"/>
                <a:gd name="T40" fmla="*/ 699 w 990"/>
                <a:gd name="T41" fmla="*/ 87 h 665"/>
                <a:gd name="T42" fmla="*/ 687 w 990"/>
                <a:gd name="T43" fmla="*/ 155 h 665"/>
                <a:gd name="T44" fmla="*/ 735 w 990"/>
                <a:gd name="T45" fmla="*/ 175 h 665"/>
                <a:gd name="T46" fmla="*/ 770 w 990"/>
                <a:gd name="T47" fmla="*/ 212 h 665"/>
                <a:gd name="T48" fmla="*/ 824 w 990"/>
                <a:gd name="T49" fmla="*/ 249 h 665"/>
                <a:gd name="T50" fmla="*/ 863 w 990"/>
                <a:gd name="T51" fmla="*/ 292 h 665"/>
                <a:gd name="T52" fmla="*/ 903 w 990"/>
                <a:gd name="T53" fmla="*/ 338 h 665"/>
                <a:gd name="T54" fmla="*/ 918 w 990"/>
                <a:gd name="T55" fmla="*/ 372 h 665"/>
                <a:gd name="T56" fmla="*/ 972 w 990"/>
                <a:gd name="T57" fmla="*/ 407 h 665"/>
                <a:gd name="T58" fmla="*/ 988 w 990"/>
                <a:gd name="T59" fmla="*/ 450 h 665"/>
                <a:gd name="T60" fmla="*/ 945 w 990"/>
                <a:gd name="T61" fmla="*/ 450 h 665"/>
                <a:gd name="T62" fmla="*/ 887 w 990"/>
                <a:gd name="T63" fmla="*/ 437 h 665"/>
                <a:gd name="T64" fmla="*/ 859 w 990"/>
                <a:gd name="T65" fmla="*/ 435 h 665"/>
                <a:gd name="T66" fmla="*/ 806 w 990"/>
                <a:gd name="T67" fmla="*/ 457 h 665"/>
                <a:gd name="T68" fmla="*/ 805 w 990"/>
                <a:gd name="T69" fmla="*/ 456 h 665"/>
                <a:gd name="T70" fmla="*/ 758 w 990"/>
                <a:gd name="T71" fmla="*/ 452 h 665"/>
                <a:gd name="T72" fmla="*/ 758 w 990"/>
                <a:gd name="T73" fmla="*/ 452 h 665"/>
                <a:gd name="T74" fmla="*/ 718 w 990"/>
                <a:gd name="T75" fmla="*/ 469 h 665"/>
                <a:gd name="T76" fmla="*/ 658 w 990"/>
                <a:gd name="T77" fmla="*/ 475 h 665"/>
                <a:gd name="T78" fmla="*/ 625 w 990"/>
                <a:gd name="T79" fmla="*/ 496 h 665"/>
                <a:gd name="T80" fmla="*/ 551 w 990"/>
                <a:gd name="T81" fmla="*/ 509 h 665"/>
                <a:gd name="T82" fmla="*/ 468 w 990"/>
                <a:gd name="T83" fmla="*/ 496 h 665"/>
                <a:gd name="T84" fmla="*/ 408 w 990"/>
                <a:gd name="T85" fmla="*/ 445 h 665"/>
                <a:gd name="T86" fmla="*/ 334 w 990"/>
                <a:gd name="T87" fmla="*/ 502 h 665"/>
                <a:gd name="T88" fmla="*/ 324 w 990"/>
                <a:gd name="T89" fmla="*/ 555 h 665"/>
                <a:gd name="T90" fmla="*/ 320 w 990"/>
                <a:gd name="T91" fmla="*/ 564 h 665"/>
                <a:gd name="T92" fmla="*/ 277 w 990"/>
                <a:gd name="T93" fmla="*/ 565 h 665"/>
                <a:gd name="T94" fmla="*/ 227 w 990"/>
                <a:gd name="T95" fmla="*/ 560 h 665"/>
                <a:gd name="T96" fmla="*/ 165 w 990"/>
                <a:gd name="T97" fmla="*/ 599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90" h="665">
                  <a:moveTo>
                    <a:pt x="157" y="636"/>
                  </a:moveTo>
                  <a:cubicBezTo>
                    <a:pt x="153" y="645"/>
                    <a:pt x="149" y="656"/>
                    <a:pt x="143" y="665"/>
                  </a:cubicBezTo>
                  <a:cubicBezTo>
                    <a:pt x="142" y="665"/>
                    <a:pt x="142" y="665"/>
                    <a:pt x="142" y="665"/>
                  </a:cubicBezTo>
                  <a:cubicBezTo>
                    <a:pt x="141" y="663"/>
                    <a:pt x="141" y="663"/>
                    <a:pt x="141" y="663"/>
                  </a:cubicBezTo>
                  <a:cubicBezTo>
                    <a:pt x="134" y="649"/>
                    <a:pt x="133" y="631"/>
                    <a:pt x="136" y="616"/>
                  </a:cubicBezTo>
                  <a:cubicBezTo>
                    <a:pt x="130" y="609"/>
                    <a:pt x="126" y="598"/>
                    <a:pt x="115" y="598"/>
                  </a:cubicBezTo>
                  <a:cubicBezTo>
                    <a:pt x="103" y="591"/>
                    <a:pt x="94" y="576"/>
                    <a:pt x="82" y="566"/>
                  </a:cubicBezTo>
                  <a:cubicBezTo>
                    <a:pt x="72" y="556"/>
                    <a:pt x="61" y="545"/>
                    <a:pt x="56" y="532"/>
                  </a:cubicBezTo>
                  <a:cubicBezTo>
                    <a:pt x="58" y="526"/>
                    <a:pt x="70" y="534"/>
                    <a:pt x="61" y="522"/>
                  </a:cubicBezTo>
                  <a:cubicBezTo>
                    <a:pt x="62" y="505"/>
                    <a:pt x="48" y="496"/>
                    <a:pt x="35" y="488"/>
                  </a:cubicBezTo>
                  <a:cubicBezTo>
                    <a:pt x="27" y="474"/>
                    <a:pt x="32" y="455"/>
                    <a:pt x="26" y="440"/>
                  </a:cubicBezTo>
                  <a:cubicBezTo>
                    <a:pt x="13" y="437"/>
                    <a:pt x="21" y="428"/>
                    <a:pt x="23" y="419"/>
                  </a:cubicBezTo>
                  <a:cubicBezTo>
                    <a:pt x="20" y="410"/>
                    <a:pt x="30" y="391"/>
                    <a:pt x="20" y="387"/>
                  </a:cubicBezTo>
                  <a:cubicBezTo>
                    <a:pt x="0" y="384"/>
                    <a:pt x="14" y="363"/>
                    <a:pt x="28" y="363"/>
                  </a:cubicBezTo>
                  <a:cubicBezTo>
                    <a:pt x="40" y="358"/>
                    <a:pt x="39" y="343"/>
                    <a:pt x="46" y="333"/>
                  </a:cubicBezTo>
                  <a:cubicBezTo>
                    <a:pt x="52" y="323"/>
                    <a:pt x="62" y="315"/>
                    <a:pt x="65" y="301"/>
                  </a:cubicBezTo>
                  <a:cubicBezTo>
                    <a:pt x="66" y="284"/>
                    <a:pt x="85" y="280"/>
                    <a:pt x="90" y="265"/>
                  </a:cubicBezTo>
                  <a:cubicBezTo>
                    <a:pt x="92" y="264"/>
                    <a:pt x="92" y="264"/>
                    <a:pt x="92" y="264"/>
                  </a:cubicBezTo>
                  <a:cubicBezTo>
                    <a:pt x="93" y="269"/>
                    <a:pt x="107" y="262"/>
                    <a:pt x="109" y="270"/>
                  </a:cubicBezTo>
                  <a:cubicBezTo>
                    <a:pt x="125" y="270"/>
                    <a:pt x="135" y="257"/>
                    <a:pt x="151" y="255"/>
                  </a:cubicBezTo>
                  <a:cubicBezTo>
                    <a:pt x="160" y="253"/>
                    <a:pt x="157" y="244"/>
                    <a:pt x="166" y="240"/>
                  </a:cubicBezTo>
                  <a:cubicBezTo>
                    <a:pt x="174" y="241"/>
                    <a:pt x="174" y="256"/>
                    <a:pt x="184" y="259"/>
                  </a:cubicBezTo>
                  <a:cubicBezTo>
                    <a:pt x="192" y="270"/>
                    <a:pt x="195" y="251"/>
                    <a:pt x="205" y="254"/>
                  </a:cubicBezTo>
                  <a:cubicBezTo>
                    <a:pt x="218" y="248"/>
                    <a:pt x="229" y="237"/>
                    <a:pt x="245" y="234"/>
                  </a:cubicBezTo>
                  <a:cubicBezTo>
                    <a:pt x="257" y="226"/>
                    <a:pt x="271" y="235"/>
                    <a:pt x="283" y="228"/>
                  </a:cubicBezTo>
                  <a:cubicBezTo>
                    <a:pt x="296" y="226"/>
                    <a:pt x="312" y="229"/>
                    <a:pt x="323" y="224"/>
                  </a:cubicBezTo>
                  <a:cubicBezTo>
                    <a:pt x="326" y="209"/>
                    <a:pt x="345" y="209"/>
                    <a:pt x="349" y="194"/>
                  </a:cubicBezTo>
                  <a:cubicBezTo>
                    <a:pt x="358" y="187"/>
                    <a:pt x="365" y="173"/>
                    <a:pt x="349" y="170"/>
                  </a:cubicBezTo>
                  <a:cubicBezTo>
                    <a:pt x="333" y="159"/>
                    <a:pt x="365" y="149"/>
                    <a:pt x="374" y="153"/>
                  </a:cubicBezTo>
                  <a:cubicBezTo>
                    <a:pt x="390" y="154"/>
                    <a:pt x="406" y="151"/>
                    <a:pt x="422" y="149"/>
                  </a:cubicBezTo>
                  <a:cubicBezTo>
                    <a:pt x="434" y="136"/>
                    <a:pt x="454" y="153"/>
                    <a:pt x="463" y="138"/>
                  </a:cubicBezTo>
                  <a:cubicBezTo>
                    <a:pt x="462" y="126"/>
                    <a:pt x="475" y="133"/>
                    <a:pt x="478" y="126"/>
                  </a:cubicBezTo>
                  <a:cubicBezTo>
                    <a:pt x="488" y="122"/>
                    <a:pt x="496" y="111"/>
                    <a:pt x="501" y="102"/>
                  </a:cubicBezTo>
                  <a:cubicBezTo>
                    <a:pt x="508" y="95"/>
                    <a:pt x="513" y="80"/>
                    <a:pt x="526" y="79"/>
                  </a:cubicBezTo>
                  <a:cubicBezTo>
                    <a:pt x="536" y="78"/>
                    <a:pt x="533" y="58"/>
                    <a:pt x="547" y="61"/>
                  </a:cubicBezTo>
                  <a:cubicBezTo>
                    <a:pt x="565" y="53"/>
                    <a:pt x="541" y="27"/>
                    <a:pt x="563" y="26"/>
                  </a:cubicBezTo>
                  <a:cubicBezTo>
                    <a:pt x="574" y="24"/>
                    <a:pt x="575" y="11"/>
                    <a:pt x="587" y="14"/>
                  </a:cubicBezTo>
                  <a:cubicBezTo>
                    <a:pt x="594" y="6"/>
                    <a:pt x="607" y="0"/>
                    <a:pt x="618" y="3"/>
                  </a:cubicBezTo>
                  <a:cubicBezTo>
                    <a:pt x="623" y="4"/>
                    <a:pt x="629" y="6"/>
                    <a:pt x="634" y="6"/>
                  </a:cubicBezTo>
                  <a:cubicBezTo>
                    <a:pt x="639" y="7"/>
                    <a:pt x="639" y="7"/>
                    <a:pt x="639" y="7"/>
                  </a:cubicBezTo>
                  <a:cubicBezTo>
                    <a:pt x="645" y="23"/>
                    <a:pt x="661" y="31"/>
                    <a:pt x="672" y="43"/>
                  </a:cubicBezTo>
                  <a:cubicBezTo>
                    <a:pt x="682" y="57"/>
                    <a:pt x="690" y="72"/>
                    <a:pt x="699" y="87"/>
                  </a:cubicBezTo>
                  <a:cubicBezTo>
                    <a:pt x="705" y="99"/>
                    <a:pt x="695" y="109"/>
                    <a:pt x="699" y="121"/>
                  </a:cubicBezTo>
                  <a:cubicBezTo>
                    <a:pt x="705" y="137"/>
                    <a:pt x="676" y="140"/>
                    <a:pt x="687" y="155"/>
                  </a:cubicBezTo>
                  <a:cubicBezTo>
                    <a:pt x="704" y="150"/>
                    <a:pt x="684" y="175"/>
                    <a:pt x="689" y="171"/>
                  </a:cubicBezTo>
                  <a:cubicBezTo>
                    <a:pt x="701" y="175"/>
                    <a:pt x="720" y="172"/>
                    <a:pt x="735" y="175"/>
                  </a:cubicBezTo>
                  <a:cubicBezTo>
                    <a:pt x="750" y="172"/>
                    <a:pt x="743" y="189"/>
                    <a:pt x="737" y="195"/>
                  </a:cubicBezTo>
                  <a:cubicBezTo>
                    <a:pt x="738" y="213"/>
                    <a:pt x="760" y="204"/>
                    <a:pt x="770" y="212"/>
                  </a:cubicBezTo>
                  <a:cubicBezTo>
                    <a:pt x="784" y="208"/>
                    <a:pt x="797" y="217"/>
                    <a:pt x="802" y="230"/>
                  </a:cubicBezTo>
                  <a:cubicBezTo>
                    <a:pt x="809" y="237"/>
                    <a:pt x="825" y="234"/>
                    <a:pt x="824" y="249"/>
                  </a:cubicBezTo>
                  <a:cubicBezTo>
                    <a:pt x="824" y="256"/>
                    <a:pt x="808" y="262"/>
                    <a:pt x="823" y="267"/>
                  </a:cubicBezTo>
                  <a:cubicBezTo>
                    <a:pt x="832" y="281"/>
                    <a:pt x="849" y="285"/>
                    <a:pt x="863" y="292"/>
                  </a:cubicBezTo>
                  <a:cubicBezTo>
                    <a:pt x="875" y="299"/>
                    <a:pt x="883" y="307"/>
                    <a:pt x="890" y="318"/>
                  </a:cubicBezTo>
                  <a:cubicBezTo>
                    <a:pt x="896" y="325"/>
                    <a:pt x="915" y="326"/>
                    <a:pt x="903" y="338"/>
                  </a:cubicBezTo>
                  <a:cubicBezTo>
                    <a:pt x="894" y="351"/>
                    <a:pt x="915" y="354"/>
                    <a:pt x="918" y="364"/>
                  </a:cubicBezTo>
                  <a:cubicBezTo>
                    <a:pt x="914" y="368"/>
                    <a:pt x="909" y="372"/>
                    <a:pt x="918" y="372"/>
                  </a:cubicBezTo>
                  <a:cubicBezTo>
                    <a:pt x="924" y="381"/>
                    <a:pt x="939" y="373"/>
                    <a:pt x="944" y="386"/>
                  </a:cubicBezTo>
                  <a:cubicBezTo>
                    <a:pt x="954" y="390"/>
                    <a:pt x="969" y="394"/>
                    <a:pt x="972" y="407"/>
                  </a:cubicBezTo>
                  <a:cubicBezTo>
                    <a:pt x="977" y="415"/>
                    <a:pt x="968" y="432"/>
                    <a:pt x="981" y="440"/>
                  </a:cubicBezTo>
                  <a:cubicBezTo>
                    <a:pt x="986" y="441"/>
                    <a:pt x="990" y="450"/>
                    <a:pt x="988" y="450"/>
                  </a:cubicBezTo>
                  <a:cubicBezTo>
                    <a:pt x="988" y="450"/>
                    <a:pt x="986" y="450"/>
                    <a:pt x="985" y="447"/>
                  </a:cubicBezTo>
                  <a:cubicBezTo>
                    <a:pt x="971" y="440"/>
                    <a:pt x="953" y="433"/>
                    <a:pt x="945" y="450"/>
                  </a:cubicBezTo>
                  <a:cubicBezTo>
                    <a:pt x="935" y="445"/>
                    <a:pt x="926" y="450"/>
                    <a:pt x="915" y="449"/>
                  </a:cubicBezTo>
                  <a:cubicBezTo>
                    <a:pt x="907" y="444"/>
                    <a:pt x="896" y="437"/>
                    <a:pt x="887" y="437"/>
                  </a:cubicBezTo>
                  <a:cubicBezTo>
                    <a:pt x="881" y="440"/>
                    <a:pt x="865" y="441"/>
                    <a:pt x="871" y="439"/>
                  </a:cubicBezTo>
                  <a:cubicBezTo>
                    <a:pt x="861" y="437"/>
                    <a:pt x="869" y="435"/>
                    <a:pt x="859" y="435"/>
                  </a:cubicBezTo>
                  <a:cubicBezTo>
                    <a:pt x="852" y="424"/>
                    <a:pt x="830" y="424"/>
                    <a:pt x="829" y="441"/>
                  </a:cubicBezTo>
                  <a:cubicBezTo>
                    <a:pt x="834" y="455"/>
                    <a:pt x="800" y="459"/>
                    <a:pt x="806" y="457"/>
                  </a:cubicBezTo>
                  <a:cubicBezTo>
                    <a:pt x="805" y="456"/>
                    <a:pt x="805" y="456"/>
                    <a:pt x="805" y="456"/>
                  </a:cubicBezTo>
                  <a:cubicBezTo>
                    <a:pt x="805" y="456"/>
                    <a:pt x="805" y="456"/>
                    <a:pt x="805" y="456"/>
                  </a:cubicBezTo>
                  <a:cubicBezTo>
                    <a:pt x="795" y="456"/>
                    <a:pt x="781" y="468"/>
                    <a:pt x="776" y="454"/>
                  </a:cubicBezTo>
                  <a:cubicBezTo>
                    <a:pt x="772" y="450"/>
                    <a:pt x="762" y="454"/>
                    <a:pt x="758" y="452"/>
                  </a:cubicBezTo>
                  <a:cubicBezTo>
                    <a:pt x="759" y="451"/>
                    <a:pt x="758" y="451"/>
                    <a:pt x="757" y="450"/>
                  </a:cubicBezTo>
                  <a:cubicBezTo>
                    <a:pt x="757" y="451"/>
                    <a:pt x="757" y="452"/>
                    <a:pt x="758" y="452"/>
                  </a:cubicBezTo>
                  <a:cubicBezTo>
                    <a:pt x="756" y="456"/>
                    <a:pt x="742" y="459"/>
                    <a:pt x="746" y="459"/>
                  </a:cubicBezTo>
                  <a:cubicBezTo>
                    <a:pt x="737" y="460"/>
                    <a:pt x="728" y="467"/>
                    <a:pt x="718" y="469"/>
                  </a:cubicBezTo>
                  <a:cubicBezTo>
                    <a:pt x="704" y="471"/>
                    <a:pt x="693" y="479"/>
                    <a:pt x="682" y="486"/>
                  </a:cubicBezTo>
                  <a:cubicBezTo>
                    <a:pt x="673" y="482"/>
                    <a:pt x="668" y="474"/>
                    <a:pt x="658" y="475"/>
                  </a:cubicBezTo>
                  <a:cubicBezTo>
                    <a:pt x="655" y="465"/>
                    <a:pt x="645" y="468"/>
                    <a:pt x="644" y="476"/>
                  </a:cubicBezTo>
                  <a:cubicBezTo>
                    <a:pt x="631" y="476"/>
                    <a:pt x="636" y="496"/>
                    <a:pt x="625" y="496"/>
                  </a:cubicBezTo>
                  <a:cubicBezTo>
                    <a:pt x="626" y="511"/>
                    <a:pt x="612" y="528"/>
                    <a:pt x="596" y="520"/>
                  </a:cubicBezTo>
                  <a:cubicBezTo>
                    <a:pt x="582" y="512"/>
                    <a:pt x="566" y="510"/>
                    <a:pt x="551" y="509"/>
                  </a:cubicBezTo>
                  <a:cubicBezTo>
                    <a:pt x="540" y="517"/>
                    <a:pt x="527" y="505"/>
                    <a:pt x="516" y="507"/>
                  </a:cubicBezTo>
                  <a:cubicBezTo>
                    <a:pt x="504" y="489"/>
                    <a:pt x="483" y="505"/>
                    <a:pt x="468" y="496"/>
                  </a:cubicBezTo>
                  <a:cubicBezTo>
                    <a:pt x="462" y="486"/>
                    <a:pt x="458" y="472"/>
                    <a:pt x="444" y="468"/>
                  </a:cubicBezTo>
                  <a:cubicBezTo>
                    <a:pt x="433" y="459"/>
                    <a:pt x="419" y="454"/>
                    <a:pt x="408" y="445"/>
                  </a:cubicBezTo>
                  <a:cubicBezTo>
                    <a:pt x="390" y="440"/>
                    <a:pt x="377" y="453"/>
                    <a:pt x="362" y="461"/>
                  </a:cubicBezTo>
                  <a:cubicBezTo>
                    <a:pt x="353" y="475"/>
                    <a:pt x="342" y="488"/>
                    <a:pt x="334" y="502"/>
                  </a:cubicBezTo>
                  <a:cubicBezTo>
                    <a:pt x="329" y="505"/>
                    <a:pt x="314" y="502"/>
                    <a:pt x="322" y="513"/>
                  </a:cubicBezTo>
                  <a:cubicBezTo>
                    <a:pt x="333" y="525"/>
                    <a:pt x="322" y="541"/>
                    <a:pt x="324" y="555"/>
                  </a:cubicBezTo>
                  <a:cubicBezTo>
                    <a:pt x="325" y="559"/>
                    <a:pt x="326" y="569"/>
                    <a:pt x="324" y="569"/>
                  </a:cubicBezTo>
                  <a:cubicBezTo>
                    <a:pt x="323" y="569"/>
                    <a:pt x="322" y="568"/>
                    <a:pt x="320" y="564"/>
                  </a:cubicBezTo>
                  <a:cubicBezTo>
                    <a:pt x="317" y="555"/>
                    <a:pt x="292" y="565"/>
                    <a:pt x="299" y="565"/>
                  </a:cubicBezTo>
                  <a:cubicBezTo>
                    <a:pt x="293" y="577"/>
                    <a:pt x="287" y="558"/>
                    <a:pt x="277" y="565"/>
                  </a:cubicBezTo>
                  <a:cubicBezTo>
                    <a:pt x="267" y="567"/>
                    <a:pt x="261" y="555"/>
                    <a:pt x="251" y="559"/>
                  </a:cubicBezTo>
                  <a:cubicBezTo>
                    <a:pt x="243" y="551"/>
                    <a:pt x="235" y="555"/>
                    <a:pt x="227" y="560"/>
                  </a:cubicBezTo>
                  <a:cubicBezTo>
                    <a:pt x="212" y="564"/>
                    <a:pt x="196" y="567"/>
                    <a:pt x="181" y="566"/>
                  </a:cubicBezTo>
                  <a:cubicBezTo>
                    <a:pt x="168" y="569"/>
                    <a:pt x="168" y="589"/>
                    <a:pt x="165" y="599"/>
                  </a:cubicBezTo>
                  <a:cubicBezTo>
                    <a:pt x="163" y="612"/>
                    <a:pt x="167" y="624"/>
                    <a:pt x="157" y="636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65" name="Cape Verde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3671900" y="3996139"/>
              <a:ext cx="44380" cy="6130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11"/>
                </a:cxn>
                <a:cxn ang="0">
                  <a:pos x="8" y="11"/>
                </a:cxn>
                <a:cxn ang="0">
                  <a:pos x="8" y="2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8" h="11">
                  <a:moveTo>
                    <a:pt x="0" y="0"/>
                  </a:moveTo>
                  <a:lnTo>
                    <a:pt x="2" y="11"/>
                  </a:lnTo>
                  <a:lnTo>
                    <a:pt x="8" y="11"/>
                  </a:lnTo>
                  <a:lnTo>
                    <a:pt x="8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166" name="Canada"/>
            <p:cNvGrpSpPr/>
            <p:nvPr/>
          </p:nvGrpSpPr>
          <p:grpSpPr>
            <a:xfrm>
              <a:off x="1326865" y="2052906"/>
              <a:ext cx="2074764" cy="1153701"/>
              <a:chOff x="1326865" y="2052906"/>
              <a:chExt cx="2074764" cy="1153701"/>
            </a:xfrm>
            <a:grpFill/>
          </p:grpSpPr>
          <p:sp>
            <p:nvSpPr>
              <p:cNvPr id="229" name="Canada"/>
              <p:cNvSpPr>
                <a:spLocks/>
              </p:cNvSpPr>
              <p:nvPr>
                <p:custDataLst>
                  <p:tags r:id="rId138"/>
                </p:custDataLst>
              </p:nvPr>
            </p:nvSpPr>
            <p:spPr bwMode="auto">
              <a:xfrm>
                <a:off x="1326865" y="2822040"/>
                <a:ext cx="49927" cy="7245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2" y="13"/>
                  </a:cxn>
                  <a:cxn ang="0">
                    <a:pos x="2" y="9"/>
                  </a:cxn>
                  <a:cxn ang="0">
                    <a:pos x="9" y="0"/>
                  </a:cxn>
                  <a:cxn ang="0">
                    <a:pos x="4" y="0"/>
                  </a:cxn>
                  <a:cxn ang="0">
                    <a:pos x="2" y="0"/>
                  </a:cxn>
                </a:cxnLst>
                <a:rect l="0" t="0" r="r" b="b"/>
                <a:pathLst>
                  <a:path w="9" h="13">
                    <a:moveTo>
                      <a:pt x="2" y="0"/>
                    </a:moveTo>
                    <a:lnTo>
                      <a:pt x="0" y="2"/>
                    </a:lnTo>
                    <a:lnTo>
                      <a:pt x="0" y="9"/>
                    </a:lnTo>
                    <a:lnTo>
                      <a:pt x="2" y="13"/>
                    </a:lnTo>
                    <a:lnTo>
                      <a:pt x="2" y="9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30" name="Canada"/>
              <p:cNvSpPr>
                <a:spLocks/>
              </p:cNvSpPr>
              <p:nvPr>
                <p:custDataLst>
                  <p:tags r:id="rId139"/>
                </p:custDataLst>
              </p:nvPr>
            </p:nvSpPr>
            <p:spPr bwMode="auto">
              <a:xfrm>
                <a:off x="1376792" y="2922363"/>
                <a:ext cx="55475" cy="8360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9"/>
                  </a:cxn>
                  <a:cxn ang="0">
                    <a:pos x="6" y="9"/>
                  </a:cxn>
                  <a:cxn ang="0">
                    <a:pos x="6" y="13"/>
                  </a:cxn>
                  <a:cxn ang="0">
                    <a:pos x="8" y="15"/>
                  </a:cxn>
                  <a:cxn ang="0">
                    <a:pos x="10" y="13"/>
                  </a:cxn>
                  <a:cxn ang="0">
                    <a:pos x="8" y="4"/>
                  </a:cxn>
                  <a:cxn ang="0">
                    <a:pos x="4" y="2"/>
                  </a:cxn>
                  <a:cxn ang="0">
                    <a:pos x="0" y="0"/>
                  </a:cxn>
                </a:cxnLst>
                <a:rect l="0" t="0" r="r" b="b"/>
                <a:pathLst>
                  <a:path w="10" h="15">
                    <a:moveTo>
                      <a:pt x="0" y="0"/>
                    </a:moveTo>
                    <a:lnTo>
                      <a:pt x="0" y="4"/>
                    </a:lnTo>
                    <a:lnTo>
                      <a:pt x="2" y="6"/>
                    </a:lnTo>
                    <a:lnTo>
                      <a:pt x="2" y="9"/>
                    </a:lnTo>
                    <a:lnTo>
                      <a:pt x="6" y="9"/>
                    </a:lnTo>
                    <a:lnTo>
                      <a:pt x="6" y="13"/>
                    </a:lnTo>
                    <a:lnTo>
                      <a:pt x="8" y="15"/>
                    </a:lnTo>
                    <a:lnTo>
                      <a:pt x="10" y="13"/>
                    </a:lnTo>
                    <a:lnTo>
                      <a:pt x="8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31" name="Canada"/>
              <p:cNvSpPr>
                <a:spLocks/>
              </p:cNvSpPr>
              <p:nvPr>
                <p:custDataLst>
                  <p:tags r:id="rId140"/>
                </p:custDataLst>
              </p:nvPr>
            </p:nvSpPr>
            <p:spPr bwMode="auto">
              <a:xfrm>
                <a:off x="2580599" y="2571235"/>
                <a:ext cx="44380" cy="1114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32" name="Canada"/>
              <p:cNvSpPr>
                <a:spLocks/>
              </p:cNvSpPr>
              <p:nvPr>
                <p:custDataLst>
                  <p:tags r:id="rId141"/>
                </p:custDataLst>
              </p:nvPr>
            </p:nvSpPr>
            <p:spPr bwMode="auto">
              <a:xfrm>
                <a:off x="2647169" y="2582383"/>
                <a:ext cx="22190" cy="1114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4" y="0"/>
                  </a:cxn>
                  <a:cxn ang="0">
                    <a:pos x="2" y="0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0" y="2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33" name="Canada"/>
              <p:cNvSpPr>
                <a:spLocks/>
              </p:cNvSpPr>
              <p:nvPr>
                <p:custDataLst>
                  <p:tags r:id="rId142"/>
                </p:custDataLst>
              </p:nvPr>
            </p:nvSpPr>
            <p:spPr bwMode="auto">
              <a:xfrm>
                <a:off x="2530672" y="2470914"/>
                <a:ext cx="160877" cy="72455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6" y="11"/>
                  </a:cxn>
                  <a:cxn ang="0">
                    <a:pos x="6" y="13"/>
                  </a:cxn>
                  <a:cxn ang="0">
                    <a:pos x="15" y="11"/>
                  </a:cxn>
                  <a:cxn ang="0">
                    <a:pos x="17" y="11"/>
                  </a:cxn>
                  <a:cxn ang="0">
                    <a:pos x="23" y="13"/>
                  </a:cxn>
                  <a:cxn ang="0">
                    <a:pos x="29" y="11"/>
                  </a:cxn>
                  <a:cxn ang="0">
                    <a:pos x="17" y="2"/>
                  </a:cxn>
                  <a:cxn ang="0">
                    <a:pos x="17" y="0"/>
                  </a:cxn>
                  <a:cxn ang="0">
                    <a:pos x="13" y="4"/>
                  </a:cxn>
                  <a:cxn ang="0">
                    <a:pos x="6" y="11"/>
                  </a:cxn>
                  <a:cxn ang="0">
                    <a:pos x="2" y="11"/>
                  </a:cxn>
                  <a:cxn ang="0">
                    <a:pos x="0" y="11"/>
                  </a:cxn>
                </a:cxnLst>
                <a:rect l="0" t="0" r="r" b="b"/>
                <a:pathLst>
                  <a:path w="29" h="13">
                    <a:moveTo>
                      <a:pt x="0" y="11"/>
                    </a:moveTo>
                    <a:lnTo>
                      <a:pt x="6" y="11"/>
                    </a:lnTo>
                    <a:lnTo>
                      <a:pt x="6" y="13"/>
                    </a:lnTo>
                    <a:lnTo>
                      <a:pt x="15" y="11"/>
                    </a:lnTo>
                    <a:lnTo>
                      <a:pt x="17" y="11"/>
                    </a:lnTo>
                    <a:lnTo>
                      <a:pt x="23" y="13"/>
                    </a:lnTo>
                    <a:lnTo>
                      <a:pt x="29" y="11"/>
                    </a:lnTo>
                    <a:lnTo>
                      <a:pt x="17" y="2"/>
                    </a:lnTo>
                    <a:lnTo>
                      <a:pt x="17" y="0"/>
                    </a:lnTo>
                    <a:lnTo>
                      <a:pt x="13" y="4"/>
                    </a:lnTo>
                    <a:lnTo>
                      <a:pt x="6" y="11"/>
                    </a:lnTo>
                    <a:lnTo>
                      <a:pt x="2" y="11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34" name="Canada"/>
              <p:cNvSpPr>
                <a:spLocks/>
              </p:cNvSpPr>
              <p:nvPr>
                <p:custDataLst>
                  <p:tags r:id="rId143"/>
                </p:custDataLst>
              </p:nvPr>
            </p:nvSpPr>
            <p:spPr bwMode="auto">
              <a:xfrm>
                <a:off x="2658265" y="2253550"/>
                <a:ext cx="438252" cy="328833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23" y="18"/>
                  </a:cxn>
                  <a:cxn ang="0">
                    <a:pos x="25" y="23"/>
                  </a:cxn>
                  <a:cxn ang="0">
                    <a:pos x="34" y="18"/>
                  </a:cxn>
                  <a:cxn ang="0">
                    <a:pos x="40" y="23"/>
                  </a:cxn>
                  <a:cxn ang="0">
                    <a:pos x="34" y="25"/>
                  </a:cxn>
                  <a:cxn ang="0">
                    <a:pos x="40" y="25"/>
                  </a:cxn>
                  <a:cxn ang="0">
                    <a:pos x="42" y="25"/>
                  </a:cxn>
                  <a:cxn ang="0">
                    <a:pos x="46" y="30"/>
                  </a:cxn>
                  <a:cxn ang="0">
                    <a:pos x="46" y="34"/>
                  </a:cxn>
                  <a:cxn ang="0">
                    <a:pos x="31" y="39"/>
                  </a:cxn>
                  <a:cxn ang="0">
                    <a:pos x="34" y="41"/>
                  </a:cxn>
                  <a:cxn ang="0">
                    <a:pos x="29" y="43"/>
                  </a:cxn>
                  <a:cxn ang="0">
                    <a:pos x="21" y="41"/>
                  </a:cxn>
                  <a:cxn ang="0">
                    <a:pos x="15" y="48"/>
                  </a:cxn>
                  <a:cxn ang="0">
                    <a:pos x="23" y="48"/>
                  </a:cxn>
                  <a:cxn ang="0">
                    <a:pos x="31" y="50"/>
                  </a:cxn>
                  <a:cxn ang="0">
                    <a:pos x="34" y="50"/>
                  </a:cxn>
                  <a:cxn ang="0">
                    <a:pos x="34" y="57"/>
                  </a:cxn>
                  <a:cxn ang="0">
                    <a:pos x="42" y="59"/>
                  </a:cxn>
                  <a:cxn ang="0">
                    <a:pos x="52" y="59"/>
                  </a:cxn>
                  <a:cxn ang="0">
                    <a:pos x="46" y="52"/>
                  </a:cxn>
                  <a:cxn ang="0">
                    <a:pos x="46" y="50"/>
                  </a:cxn>
                  <a:cxn ang="0">
                    <a:pos x="54" y="57"/>
                  </a:cxn>
                  <a:cxn ang="0">
                    <a:pos x="61" y="57"/>
                  </a:cxn>
                  <a:cxn ang="0">
                    <a:pos x="63" y="52"/>
                  </a:cxn>
                  <a:cxn ang="0">
                    <a:pos x="61" y="50"/>
                  </a:cxn>
                  <a:cxn ang="0">
                    <a:pos x="63" y="48"/>
                  </a:cxn>
                  <a:cxn ang="0">
                    <a:pos x="56" y="41"/>
                  </a:cxn>
                  <a:cxn ang="0">
                    <a:pos x="61" y="39"/>
                  </a:cxn>
                  <a:cxn ang="0">
                    <a:pos x="65" y="41"/>
                  </a:cxn>
                  <a:cxn ang="0">
                    <a:pos x="65" y="43"/>
                  </a:cxn>
                  <a:cxn ang="0">
                    <a:pos x="69" y="43"/>
                  </a:cxn>
                  <a:cxn ang="0">
                    <a:pos x="79" y="34"/>
                  </a:cxn>
                  <a:cxn ang="0">
                    <a:pos x="71" y="30"/>
                  </a:cxn>
                  <a:cxn ang="0">
                    <a:pos x="65" y="30"/>
                  </a:cxn>
                  <a:cxn ang="0">
                    <a:pos x="63" y="25"/>
                  </a:cxn>
                  <a:cxn ang="0">
                    <a:pos x="65" y="25"/>
                  </a:cxn>
                  <a:cxn ang="0">
                    <a:pos x="71" y="23"/>
                  </a:cxn>
                  <a:cxn ang="0">
                    <a:pos x="71" y="18"/>
                  </a:cxn>
                  <a:cxn ang="0">
                    <a:pos x="63" y="14"/>
                  </a:cxn>
                  <a:cxn ang="0">
                    <a:pos x="54" y="9"/>
                  </a:cxn>
                  <a:cxn ang="0">
                    <a:pos x="56" y="7"/>
                  </a:cxn>
                  <a:cxn ang="0">
                    <a:pos x="46" y="7"/>
                  </a:cxn>
                  <a:cxn ang="0">
                    <a:pos x="31" y="9"/>
                  </a:cxn>
                  <a:cxn ang="0">
                    <a:pos x="38" y="5"/>
                  </a:cxn>
                  <a:cxn ang="0">
                    <a:pos x="31" y="0"/>
                  </a:cxn>
                  <a:cxn ang="0">
                    <a:pos x="29" y="0"/>
                  </a:cxn>
                  <a:cxn ang="0">
                    <a:pos x="21" y="0"/>
                  </a:cxn>
                  <a:cxn ang="0">
                    <a:pos x="8" y="5"/>
                  </a:cxn>
                  <a:cxn ang="0">
                    <a:pos x="4" y="7"/>
                  </a:cxn>
                  <a:cxn ang="0">
                    <a:pos x="0" y="7"/>
                  </a:cxn>
                  <a:cxn ang="0">
                    <a:pos x="0" y="9"/>
                  </a:cxn>
                </a:cxnLst>
                <a:rect l="0" t="0" r="r" b="b"/>
                <a:pathLst>
                  <a:path w="79" h="59">
                    <a:moveTo>
                      <a:pt x="0" y="9"/>
                    </a:moveTo>
                    <a:lnTo>
                      <a:pt x="2" y="16"/>
                    </a:lnTo>
                    <a:lnTo>
                      <a:pt x="8" y="18"/>
                    </a:lnTo>
                    <a:lnTo>
                      <a:pt x="23" y="18"/>
                    </a:lnTo>
                    <a:lnTo>
                      <a:pt x="25" y="23"/>
                    </a:lnTo>
                    <a:lnTo>
                      <a:pt x="34" y="18"/>
                    </a:lnTo>
                    <a:lnTo>
                      <a:pt x="40" y="23"/>
                    </a:lnTo>
                    <a:lnTo>
                      <a:pt x="34" y="25"/>
                    </a:lnTo>
                    <a:lnTo>
                      <a:pt x="40" y="25"/>
                    </a:lnTo>
                    <a:lnTo>
                      <a:pt x="42" y="25"/>
                    </a:lnTo>
                    <a:lnTo>
                      <a:pt x="46" y="30"/>
                    </a:lnTo>
                    <a:lnTo>
                      <a:pt x="46" y="34"/>
                    </a:lnTo>
                    <a:lnTo>
                      <a:pt x="31" y="39"/>
                    </a:lnTo>
                    <a:lnTo>
                      <a:pt x="34" y="41"/>
                    </a:lnTo>
                    <a:lnTo>
                      <a:pt x="29" y="43"/>
                    </a:lnTo>
                    <a:lnTo>
                      <a:pt x="21" y="41"/>
                    </a:lnTo>
                    <a:lnTo>
                      <a:pt x="15" y="48"/>
                    </a:lnTo>
                    <a:lnTo>
                      <a:pt x="23" y="48"/>
                    </a:lnTo>
                    <a:lnTo>
                      <a:pt x="31" y="50"/>
                    </a:lnTo>
                    <a:lnTo>
                      <a:pt x="34" y="50"/>
                    </a:lnTo>
                    <a:lnTo>
                      <a:pt x="34" y="57"/>
                    </a:lnTo>
                    <a:lnTo>
                      <a:pt x="42" y="59"/>
                    </a:lnTo>
                    <a:lnTo>
                      <a:pt x="52" y="59"/>
                    </a:lnTo>
                    <a:lnTo>
                      <a:pt x="46" y="52"/>
                    </a:lnTo>
                    <a:lnTo>
                      <a:pt x="46" y="50"/>
                    </a:lnTo>
                    <a:lnTo>
                      <a:pt x="54" y="57"/>
                    </a:lnTo>
                    <a:lnTo>
                      <a:pt x="61" y="57"/>
                    </a:lnTo>
                    <a:lnTo>
                      <a:pt x="63" y="52"/>
                    </a:lnTo>
                    <a:lnTo>
                      <a:pt x="61" y="50"/>
                    </a:lnTo>
                    <a:lnTo>
                      <a:pt x="63" y="48"/>
                    </a:lnTo>
                    <a:lnTo>
                      <a:pt x="56" y="41"/>
                    </a:lnTo>
                    <a:lnTo>
                      <a:pt x="61" y="39"/>
                    </a:lnTo>
                    <a:lnTo>
                      <a:pt x="65" y="41"/>
                    </a:lnTo>
                    <a:lnTo>
                      <a:pt x="65" y="43"/>
                    </a:lnTo>
                    <a:lnTo>
                      <a:pt x="69" y="43"/>
                    </a:lnTo>
                    <a:lnTo>
                      <a:pt x="79" y="34"/>
                    </a:lnTo>
                    <a:lnTo>
                      <a:pt x="71" y="30"/>
                    </a:lnTo>
                    <a:lnTo>
                      <a:pt x="65" y="30"/>
                    </a:lnTo>
                    <a:lnTo>
                      <a:pt x="63" y="25"/>
                    </a:lnTo>
                    <a:lnTo>
                      <a:pt x="65" y="25"/>
                    </a:lnTo>
                    <a:lnTo>
                      <a:pt x="71" y="23"/>
                    </a:lnTo>
                    <a:lnTo>
                      <a:pt x="71" y="18"/>
                    </a:lnTo>
                    <a:lnTo>
                      <a:pt x="63" y="14"/>
                    </a:lnTo>
                    <a:lnTo>
                      <a:pt x="54" y="9"/>
                    </a:lnTo>
                    <a:lnTo>
                      <a:pt x="56" y="7"/>
                    </a:lnTo>
                    <a:lnTo>
                      <a:pt x="46" y="7"/>
                    </a:lnTo>
                    <a:lnTo>
                      <a:pt x="31" y="9"/>
                    </a:lnTo>
                    <a:lnTo>
                      <a:pt x="38" y="5"/>
                    </a:lnTo>
                    <a:lnTo>
                      <a:pt x="31" y="0"/>
                    </a:lnTo>
                    <a:lnTo>
                      <a:pt x="29" y="0"/>
                    </a:lnTo>
                    <a:lnTo>
                      <a:pt x="21" y="0"/>
                    </a:lnTo>
                    <a:lnTo>
                      <a:pt x="8" y="5"/>
                    </a:lnTo>
                    <a:lnTo>
                      <a:pt x="4" y="7"/>
                    </a:lnTo>
                    <a:lnTo>
                      <a:pt x="0" y="7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35" name="Canada"/>
              <p:cNvSpPr>
                <a:spLocks/>
              </p:cNvSpPr>
              <p:nvPr>
                <p:custDataLst>
                  <p:tags r:id="rId144"/>
                </p:custDataLst>
              </p:nvPr>
            </p:nvSpPr>
            <p:spPr bwMode="auto">
              <a:xfrm>
                <a:off x="2869069" y="2253550"/>
                <a:ext cx="77665" cy="3901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5"/>
                  </a:cxn>
                  <a:cxn ang="0">
                    <a:pos x="2" y="7"/>
                  </a:cxn>
                  <a:cxn ang="0">
                    <a:pos x="10" y="7"/>
                  </a:cxn>
                  <a:cxn ang="0">
                    <a:pos x="14" y="5"/>
                  </a:cxn>
                  <a:cxn ang="0">
                    <a:pos x="8" y="3"/>
                  </a:cxn>
                  <a:cxn ang="0">
                    <a:pos x="2" y="0"/>
                  </a:cxn>
                </a:cxnLst>
                <a:rect l="0" t="0" r="r" b="b"/>
                <a:pathLst>
                  <a:path w="14" h="7">
                    <a:moveTo>
                      <a:pt x="2" y="0"/>
                    </a:moveTo>
                    <a:lnTo>
                      <a:pt x="0" y="5"/>
                    </a:lnTo>
                    <a:lnTo>
                      <a:pt x="2" y="7"/>
                    </a:lnTo>
                    <a:lnTo>
                      <a:pt x="10" y="7"/>
                    </a:lnTo>
                    <a:lnTo>
                      <a:pt x="14" y="5"/>
                    </a:lnTo>
                    <a:lnTo>
                      <a:pt x="8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36" name="Canada"/>
              <p:cNvSpPr>
                <a:spLocks/>
              </p:cNvSpPr>
              <p:nvPr>
                <p:custDataLst>
                  <p:tags r:id="rId145"/>
                </p:custDataLst>
              </p:nvPr>
            </p:nvSpPr>
            <p:spPr bwMode="auto">
              <a:xfrm>
                <a:off x="2624980" y="2231256"/>
                <a:ext cx="44380" cy="1114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" y="2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6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37" name="Canada"/>
              <p:cNvSpPr>
                <a:spLocks/>
              </p:cNvSpPr>
              <p:nvPr>
                <p:custDataLst>
                  <p:tags r:id="rId146"/>
                </p:custDataLst>
              </p:nvPr>
            </p:nvSpPr>
            <p:spPr bwMode="auto">
              <a:xfrm>
                <a:off x="2669360" y="2192242"/>
                <a:ext cx="255185" cy="50161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4" y="2"/>
                  </a:cxn>
                  <a:cxn ang="0">
                    <a:pos x="13" y="2"/>
                  </a:cxn>
                  <a:cxn ang="0">
                    <a:pos x="6" y="9"/>
                  </a:cxn>
                  <a:cxn ang="0">
                    <a:pos x="11" y="9"/>
                  </a:cxn>
                  <a:cxn ang="0">
                    <a:pos x="27" y="9"/>
                  </a:cxn>
                  <a:cxn ang="0">
                    <a:pos x="32" y="9"/>
                  </a:cxn>
                  <a:cxn ang="0">
                    <a:pos x="36" y="9"/>
                  </a:cxn>
                  <a:cxn ang="0">
                    <a:pos x="40" y="9"/>
                  </a:cxn>
                  <a:cxn ang="0">
                    <a:pos x="46" y="7"/>
                  </a:cxn>
                  <a:cxn ang="0">
                    <a:pos x="21" y="2"/>
                  </a:cxn>
                  <a:cxn ang="0">
                    <a:pos x="19" y="2"/>
                  </a:cxn>
                  <a:cxn ang="0">
                    <a:pos x="19" y="0"/>
                  </a:cxn>
                  <a:cxn ang="0">
                    <a:pos x="11" y="0"/>
                  </a:cxn>
                  <a:cxn ang="0">
                    <a:pos x="4" y="0"/>
                  </a:cxn>
                </a:cxnLst>
                <a:rect l="0" t="0" r="r" b="b"/>
                <a:pathLst>
                  <a:path w="46" h="9">
                    <a:moveTo>
                      <a:pt x="4" y="0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13" y="2"/>
                    </a:lnTo>
                    <a:lnTo>
                      <a:pt x="6" y="9"/>
                    </a:lnTo>
                    <a:lnTo>
                      <a:pt x="11" y="9"/>
                    </a:lnTo>
                    <a:lnTo>
                      <a:pt x="27" y="9"/>
                    </a:lnTo>
                    <a:lnTo>
                      <a:pt x="32" y="9"/>
                    </a:lnTo>
                    <a:lnTo>
                      <a:pt x="36" y="9"/>
                    </a:lnTo>
                    <a:lnTo>
                      <a:pt x="40" y="9"/>
                    </a:lnTo>
                    <a:lnTo>
                      <a:pt x="46" y="7"/>
                    </a:lnTo>
                    <a:lnTo>
                      <a:pt x="21" y="2"/>
                    </a:lnTo>
                    <a:lnTo>
                      <a:pt x="19" y="2"/>
                    </a:lnTo>
                    <a:lnTo>
                      <a:pt x="19" y="0"/>
                    </a:lnTo>
                    <a:lnTo>
                      <a:pt x="11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38" name="Canada"/>
              <p:cNvSpPr>
                <a:spLocks/>
              </p:cNvSpPr>
              <p:nvPr>
                <p:custDataLst>
                  <p:tags r:id="rId147"/>
                </p:custDataLst>
              </p:nvPr>
            </p:nvSpPr>
            <p:spPr bwMode="auto">
              <a:xfrm>
                <a:off x="2785857" y="2091920"/>
                <a:ext cx="138687" cy="61307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11"/>
                  </a:cxn>
                  <a:cxn ang="0">
                    <a:pos x="8" y="11"/>
                  </a:cxn>
                  <a:cxn ang="0">
                    <a:pos x="23" y="5"/>
                  </a:cxn>
                  <a:cxn ang="0">
                    <a:pos x="25" y="2"/>
                  </a:cxn>
                  <a:cxn ang="0">
                    <a:pos x="19" y="2"/>
                  </a:cxn>
                  <a:cxn ang="0">
                    <a:pos x="17" y="0"/>
                  </a:cxn>
                  <a:cxn ang="0">
                    <a:pos x="11" y="0"/>
                  </a:cxn>
                  <a:cxn ang="0">
                    <a:pos x="6" y="2"/>
                  </a:cxn>
                  <a:cxn ang="0">
                    <a:pos x="2" y="2"/>
                  </a:cxn>
                </a:cxnLst>
                <a:rect l="0" t="0" r="r" b="b"/>
                <a:pathLst>
                  <a:path w="25" h="11">
                    <a:moveTo>
                      <a:pt x="2" y="2"/>
                    </a:moveTo>
                    <a:lnTo>
                      <a:pt x="2" y="5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8" y="11"/>
                    </a:lnTo>
                    <a:lnTo>
                      <a:pt x="23" y="5"/>
                    </a:lnTo>
                    <a:lnTo>
                      <a:pt x="25" y="2"/>
                    </a:lnTo>
                    <a:lnTo>
                      <a:pt x="19" y="2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6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39" name="Canada"/>
              <p:cNvSpPr>
                <a:spLocks/>
              </p:cNvSpPr>
              <p:nvPr>
                <p:custDataLst>
                  <p:tags r:id="rId148"/>
                </p:custDataLst>
              </p:nvPr>
            </p:nvSpPr>
            <p:spPr bwMode="auto">
              <a:xfrm>
                <a:off x="2785857" y="2052906"/>
                <a:ext cx="615772" cy="150483"/>
              </a:xfrm>
              <a:custGeom>
                <a:avLst/>
                <a:gdLst/>
                <a:ahLst/>
                <a:cxnLst>
                  <a:cxn ang="0">
                    <a:pos x="23" y="7"/>
                  </a:cxn>
                  <a:cxn ang="0">
                    <a:pos x="25" y="9"/>
                  </a:cxn>
                  <a:cxn ang="0">
                    <a:pos x="31" y="9"/>
                  </a:cxn>
                  <a:cxn ang="0">
                    <a:pos x="25" y="12"/>
                  </a:cxn>
                  <a:cxn ang="0">
                    <a:pos x="29" y="12"/>
                  </a:cxn>
                  <a:cxn ang="0">
                    <a:pos x="29" y="16"/>
                  </a:cxn>
                  <a:cxn ang="0">
                    <a:pos x="11" y="18"/>
                  </a:cxn>
                  <a:cxn ang="0">
                    <a:pos x="2" y="25"/>
                  </a:cxn>
                  <a:cxn ang="0">
                    <a:pos x="0" y="25"/>
                  </a:cxn>
                  <a:cxn ang="0">
                    <a:pos x="25" y="25"/>
                  </a:cxn>
                  <a:cxn ang="0">
                    <a:pos x="25" y="27"/>
                  </a:cxn>
                  <a:cxn ang="0">
                    <a:pos x="40" y="25"/>
                  </a:cxn>
                  <a:cxn ang="0">
                    <a:pos x="38" y="23"/>
                  </a:cxn>
                  <a:cxn ang="0">
                    <a:pos x="42" y="23"/>
                  </a:cxn>
                  <a:cxn ang="0">
                    <a:pos x="42" y="18"/>
                  </a:cxn>
                  <a:cxn ang="0">
                    <a:pos x="50" y="18"/>
                  </a:cxn>
                  <a:cxn ang="0">
                    <a:pos x="63" y="12"/>
                  </a:cxn>
                  <a:cxn ang="0">
                    <a:pos x="111" y="3"/>
                  </a:cxn>
                  <a:cxn ang="0">
                    <a:pos x="88" y="0"/>
                  </a:cxn>
                  <a:cxn ang="0">
                    <a:pos x="67" y="0"/>
                  </a:cxn>
                  <a:cxn ang="0">
                    <a:pos x="44" y="5"/>
                  </a:cxn>
                  <a:cxn ang="0">
                    <a:pos x="23" y="7"/>
                  </a:cxn>
                </a:cxnLst>
                <a:rect l="0" t="0" r="r" b="b"/>
                <a:pathLst>
                  <a:path w="111" h="27">
                    <a:moveTo>
                      <a:pt x="23" y="7"/>
                    </a:moveTo>
                    <a:lnTo>
                      <a:pt x="25" y="9"/>
                    </a:lnTo>
                    <a:lnTo>
                      <a:pt x="31" y="9"/>
                    </a:lnTo>
                    <a:lnTo>
                      <a:pt x="25" y="12"/>
                    </a:lnTo>
                    <a:lnTo>
                      <a:pt x="29" y="12"/>
                    </a:lnTo>
                    <a:lnTo>
                      <a:pt x="29" y="16"/>
                    </a:lnTo>
                    <a:lnTo>
                      <a:pt x="11" y="18"/>
                    </a:lnTo>
                    <a:lnTo>
                      <a:pt x="2" y="25"/>
                    </a:lnTo>
                    <a:lnTo>
                      <a:pt x="0" y="25"/>
                    </a:lnTo>
                    <a:lnTo>
                      <a:pt x="25" y="25"/>
                    </a:lnTo>
                    <a:lnTo>
                      <a:pt x="25" y="27"/>
                    </a:lnTo>
                    <a:lnTo>
                      <a:pt x="40" y="25"/>
                    </a:lnTo>
                    <a:lnTo>
                      <a:pt x="38" y="23"/>
                    </a:lnTo>
                    <a:lnTo>
                      <a:pt x="42" y="23"/>
                    </a:lnTo>
                    <a:lnTo>
                      <a:pt x="42" y="18"/>
                    </a:lnTo>
                    <a:lnTo>
                      <a:pt x="50" y="18"/>
                    </a:lnTo>
                    <a:lnTo>
                      <a:pt x="63" y="12"/>
                    </a:lnTo>
                    <a:lnTo>
                      <a:pt x="111" y="3"/>
                    </a:lnTo>
                    <a:lnTo>
                      <a:pt x="88" y="0"/>
                    </a:lnTo>
                    <a:lnTo>
                      <a:pt x="67" y="0"/>
                    </a:lnTo>
                    <a:lnTo>
                      <a:pt x="44" y="5"/>
                    </a:lnTo>
                    <a:lnTo>
                      <a:pt x="23" y="7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40" name="Canada"/>
              <p:cNvSpPr>
                <a:spLocks/>
              </p:cNvSpPr>
              <p:nvPr>
                <p:custDataLst>
                  <p:tags r:id="rId149"/>
                </p:custDataLst>
              </p:nvPr>
            </p:nvSpPr>
            <p:spPr bwMode="auto">
              <a:xfrm>
                <a:off x="2730382" y="2103066"/>
                <a:ext cx="11095" cy="1672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2" y="3"/>
                  </a:cxn>
                  <a:cxn ang="0">
                    <a:pos x="2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2" y="3"/>
                    </a:lnTo>
                    <a:lnTo>
                      <a:pt x="2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41" name="Canada"/>
              <p:cNvSpPr>
                <a:spLocks/>
              </p:cNvSpPr>
              <p:nvPr>
                <p:custDataLst>
                  <p:tags r:id="rId150"/>
                </p:custDataLst>
              </p:nvPr>
            </p:nvSpPr>
            <p:spPr bwMode="auto">
              <a:xfrm>
                <a:off x="2580599" y="2142081"/>
                <a:ext cx="160877" cy="3901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" y="0"/>
                  </a:cxn>
                  <a:cxn ang="0">
                    <a:pos x="0" y="0"/>
                  </a:cxn>
                  <a:cxn ang="0">
                    <a:pos x="4" y="2"/>
                  </a:cxn>
                  <a:cxn ang="0">
                    <a:pos x="12" y="2"/>
                  </a:cxn>
                  <a:cxn ang="0">
                    <a:pos x="12" y="7"/>
                  </a:cxn>
                  <a:cxn ang="0">
                    <a:pos x="29" y="2"/>
                  </a:cxn>
                  <a:cxn ang="0">
                    <a:pos x="22" y="0"/>
                  </a:cxn>
                  <a:cxn ang="0">
                    <a:pos x="16" y="2"/>
                  </a:cxn>
                  <a:cxn ang="0">
                    <a:pos x="14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0" y="0"/>
                  </a:cxn>
                </a:cxnLst>
                <a:rect l="0" t="0" r="r" b="b"/>
                <a:pathLst>
                  <a:path w="29" h="7">
                    <a:moveTo>
                      <a:pt x="0" y="0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2" y="2"/>
                    </a:lnTo>
                    <a:lnTo>
                      <a:pt x="12" y="7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42" name="Canada"/>
              <p:cNvSpPr>
                <a:spLocks/>
              </p:cNvSpPr>
              <p:nvPr>
                <p:custDataLst>
                  <p:tags r:id="rId151"/>
                </p:custDataLst>
              </p:nvPr>
            </p:nvSpPr>
            <p:spPr bwMode="auto">
              <a:xfrm>
                <a:off x="2691549" y="2153227"/>
                <a:ext cx="83212" cy="27867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11" y="5"/>
                  </a:cxn>
                  <a:cxn ang="0">
                    <a:pos x="15" y="0"/>
                  </a:cxn>
                  <a:cxn ang="0">
                    <a:pos x="7" y="3"/>
                  </a:cxn>
                  <a:cxn ang="0">
                    <a:pos x="0" y="5"/>
                  </a:cxn>
                </a:cxnLst>
                <a:rect l="0" t="0" r="r" b="b"/>
                <a:pathLst>
                  <a:path w="15" h="5">
                    <a:moveTo>
                      <a:pt x="0" y="5"/>
                    </a:moveTo>
                    <a:lnTo>
                      <a:pt x="11" y="5"/>
                    </a:lnTo>
                    <a:lnTo>
                      <a:pt x="15" y="0"/>
                    </a:lnTo>
                    <a:lnTo>
                      <a:pt x="7" y="3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43" name="Canada"/>
              <p:cNvSpPr>
                <a:spLocks/>
              </p:cNvSpPr>
              <p:nvPr>
                <p:custDataLst>
                  <p:tags r:id="rId152"/>
                </p:custDataLst>
              </p:nvPr>
            </p:nvSpPr>
            <p:spPr bwMode="auto">
              <a:xfrm>
                <a:off x="2530672" y="2181095"/>
                <a:ext cx="33285" cy="557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6">
                    <a:moveTo>
                      <a:pt x="4" y="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44" name="Canada"/>
              <p:cNvSpPr>
                <a:spLocks/>
              </p:cNvSpPr>
              <p:nvPr>
                <p:custDataLst>
                  <p:tags r:id="rId153"/>
                </p:custDataLst>
              </p:nvPr>
            </p:nvSpPr>
            <p:spPr bwMode="auto">
              <a:xfrm>
                <a:off x="2519578" y="2192242"/>
                <a:ext cx="127592" cy="3901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7"/>
                  </a:cxn>
                  <a:cxn ang="0">
                    <a:pos x="6" y="7"/>
                  </a:cxn>
                  <a:cxn ang="0">
                    <a:pos x="15" y="7"/>
                  </a:cxn>
                  <a:cxn ang="0">
                    <a:pos x="23" y="0"/>
                  </a:cxn>
                  <a:cxn ang="0">
                    <a:pos x="15" y="0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3" h="7">
                    <a:moveTo>
                      <a:pt x="0" y="0"/>
                    </a:moveTo>
                    <a:lnTo>
                      <a:pt x="0" y="7"/>
                    </a:lnTo>
                    <a:lnTo>
                      <a:pt x="6" y="7"/>
                    </a:lnTo>
                    <a:lnTo>
                      <a:pt x="15" y="7"/>
                    </a:lnTo>
                    <a:lnTo>
                      <a:pt x="23" y="0"/>
                    </a:lnTo>
                    <a:lnTo>
                      <a:pt x="15" y="0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45" name="Canada"/>
              <p:cNvSpPr>
                <a:spLocks noChangeShapeType="1"/>
              </p:cNvSpPr>
              <p:nvPr>
                <p:custDataLst>
                  <p:tags r:id="rId154"/>
                </p:custDataLst>
              </p:nvPr>
            </p:nvSpPr>
            <p:spPr bwMode="auto">
              <a:xfrm>
                <a:off x="2486293" y="2242402"/>
                <a:ext cx="22190" cy="5574"/>
              </a:xfrm>
              <a:prstGeom prst="line">
                <a:avLst/>
              </a:pr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46" name="Canada"/>
              <p:cNvSpPr>
                <a:spLocks/>
              </p:cNvSpPr>
              <p:nvPr>
                <p:custDataLst>
                  <p:tags r:id="rId155"/>
                </p:custDataLst>
              </p:nvPr>
            </p:nvSpPr>
            <p:spPr bwMode="auto">
              <a:xfrm>
                <a:off x="2453007" y="2253550"/>
                <a:ext cx="127592" cy="78028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6" y="14"/>
                  </a:cxn>
                  <a:cxn ang="0">
                    <a:pos x="18" y="9"/>
                  </a:cxn>
                  <a:cxn ang="0">
                    <a:pos x="20" y="5"/>
                  </a:cxn>
                  <a:cxn ang="0">
                    <a:pos x="23" y="0"/>
                  </a:cxn>
                  <a:cxn ang="0">
                    <a:pos x="10" y="0"/>
                  </a:cxn>
                  <a:cxn ang="0">
                    <a:pos x="10" y="5"/>
                  </a:cxn>
                  <a:cxn ang="0">
                    <a:pos x="4" y="7"/>
                  </a:cxn>
                  <a:cxn ang="0">
                    <a:pos x="0" y="7"/>
                  </a:cxn>
                </a:cxnLst>
                <a:rect l="0" t="0" r="r" b="b"/>
                <a:pathLst>
                  <a:path w="23" h="14">
                    <a:moveTo>
                      <a:pt x="0" y="7"/>
                    </a:moveTo>
                    <a:lnTo>
                      <a:pt x="0" y="9"/>
                    </a:lnTo>
                    <a:lnTo>
                      <a:pt x="4" y="9"/>
                    </a:lnTo>
                    <a:lnTo>
                      <a:pt x="6" y="14"/>
                    </a:lnTo>
                    <a:lnTo>
                      <a:pt x="18" y="9"/>
                    </a:lnTo>
                    <a:lnTo>
                      <a:pt x="20" y="5"/>
                    </a:lnTo>
                    <a:lnTo>
                      <a:pt x="23" y="0"/>
                    </a:lnTo>
                    <a:lnTo>
                      <a:pt x="10" y="0"/>
                    </a:lnTo>
                    <a:lnTo>
                      <a:pt x="10" y="5"/>
                    </a:lnTo>
                    <a:lnTo>
                      <a:pt x="4" y="7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47" name="Canada"/>
              <p:cNvSpPr>
                <a:spLocks noChangeShapeType="1"/>
              </p:cNvSpPr>
              <p:nvPr>
                <p:custDataLst>
                  <p:tags r:id="rId156"/>
                </p:custDataLst>
              </p:nvPr>
            </p:nvSpPr>
            <p:spPr bwMode="auto">
              <a:xfrm>
                <a:off x="2425270" y="2169949"/>
                <a:ext cx="94308" cy="5574"/>
              </a:xfrm>
              <a:prstGeom prst="line">
                <a:avLst/>
              </a:pr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48" name="Canada"/>
              <p:cNvSpPr>
                <a:spLocks/>
              </p:cNvSpPr>
              <p:nvPr>
                <p:custDataLst>
                  <p:tags r:id="rId157"/>
                </p:custDataLst>
              </p:nvPr>
            </p:nvSpPr>
            <p:spPr bwMode="auto">
              <a:xfrm>
                <a:off x="2391985" y="2153227"/>
                <a:ext cx="11095" cy="2786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5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5">
                    <a:moveTo>
                      <a:pt x="0" y="0"/>
                    </a:moveTo>
                    <a:lnTo>
                      <a:pt x="2" y="5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49" name="Canada"/>
              <p:cNvSpPr>
                <a:spLocks/>
              </p:cNvSpPr>
              <p:nvPr>
                <p:custDataLst>
                  <p:tags r:id="rId158"/>
                </p:custDataLst>
              </p:nvPr>
            </p:nvSpPr>
            <p:spPr bwMode="auto">
              <a:xfrm>
                <a:off x="2403080" y="2153227"/>
                <a:ext cx="83212" cy="27867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4" y="5"/>
                  </a:cxn>
                  <a:cxn ang="0">
                    <a:pos x="15" y="0"/>
                  </a:cxn>
                  <a:cxn ang="0">
                    <a:pos x="6" y="3"/>
                  </a:cxn>
                  <a:cxn ang="0">
                    <a:pos x="0" y="5"/>
                  </a:cxn>
                </a:cxnLst>
                <a:rect l="0" t="0" r="r" b="b"/>
                <a:pathLst>
                  <a:path w="15" h="5">
                    <a:moveTo>
                      <a:pt x="0" y="5"/>
                    </a:moveTo>
                    <a:lnTo>
                      <a:pt x="4" y="5"/>
                    </a:lnTo>
                    <a:lnTo>
                      <a:pt x="15" y="0"/>
                    </a:lnTo>
                    <a:lnTo>
                      <a:pt x="6" y="3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50" name="Canada"/>
              <p:cNvSpPr>
                <a:spLocks/>
              </p:cNvSpPr>
              <p:nvPr>
                <p:custDataLst>
                  <p:tags r:id="rId159"/>
                </p:custDataLst>
              </p:nvPr>
            </p:nvSpPr>
            <p:spPr bwMode="auto">
              <a:xfrm>
                <a:off x="2231108" y="2203389"/>
                <a:ext cx="55475" cy="27867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4" y="5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3"/>
                  </a:cxn>
                  <a:cxn ang="0">
                    <a:pos x="0" y="5"/>
                  </a:cxn>
                </a:cxnLst>
                <a:rect l="0" t="0" r="r" b="b"/>
                <a:pathLst>
                  <a:path w="10" h="5">
                    <a:moveTo>
                      <a:pt x="0" y="5"/>
                    </a:moveTo>
                    <a:lnTo>
                      <a:pt x="4" y="5"/>
                    </a:lnTo>
                    <a:lnTo>
                      <a:pt x="10" y="0"/>
                    </a:lnTo>
                    <a:lnTo>
                      <a:pt x="4" y="3"/>
                    </a:lnTo>
                    <a:lnTo>
                      <a:pt x="0" y="3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51" name="Canada"/>
              <p:cNvSpPr>
                <a:spLocks/>
              </p:cNvSpPr>
              <p:nvPr>
                <p:custDataLst>
                  <p:tags r:id="rId160"/>
                </p:custDataLst>
              </p:nvPr>
            </p:nvSpPr>
            <p:spPr bwMode="auto">
              <a:xfrm>
                <a:off x="2186727" y="2181095"/>
                <a:ext cx="171973" cy="2229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8" y="4"/>
                  </a:cxn>
                  <a:cxn ang="0">
                    <a:pos x="18" y="2"/>
                  </a:cxn>
                  <a:cxn ang="0">
                    <a:pos x="20" y="4"/>
                  </a:cxn>
                  <a:cxn ang="0">
                    <a:pos x="31" y="0"/>
                  </a:cxn>
                  <a:cxn ang="0">
                    <a:pos x="20" y="0"/>
                  </a:cxn>
                  <a:cxn ang="0">
                    <a:pos x="10" y="2"/>
                  </a:cxn>
                  <a:cxn ang="0">
                    <a:pos x="2" y="2"/>
                  </a:cxn>
                  <a:cxn ang="0">
                    <a:pos x="0" y="4"/>
                  </a:cxn>
                </a:cxnLst>
                <a:rect l="0" t="0" r="r" b="b"/>
                <a:pathLst>
                  <a:path w="31" h="4">
                    <a:moveTo>
                      <a:pt x="0" y="4"/>
                    </a:moveTo>
                    <a:lnTo>
                      <a:pt x="8" y="4"/>
                    </a:lnTo>
                    <a:lnTo>
                      <a:pt x="18" y="2"/>
                    </a:lnTo>
                    <a:lnTo>
                      <a:pt x="20" y="4"/>
                    </a:lnTo>
                    <a:lnTo>
                      <a:pt x="31" y="0"/>
                    </a:lnTo>
                    <a:lnTo>
                      <a:pt x="20" y="0"/>
                    </a:lnTo>
                    <a:lnTo>
                      <a:pt x="10" y="2"/>
                    </a:lnTo>
                    <a:lnTo>
                      <a:pt x="2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52" name="Canada"/>
              <p:cNvSpPr>
                <a:spLocks/>
              </p:cNvSpPr>
              <p:nvPr>
                <p:custDataLst>
                  <p:tags r:id="rId161"/>
                </p:custDataLst>
              </p:nvPr>
            </p:nvSpPr>
            <p:spPr bwMode="auto">
              <a:xfrm>
                <a:off x="2253297" y="2192242"/>
                <a:ext cx="232995" cy="50161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8" y="7"/>
                  </a:cxn>
                  <a:cxn ang="0">
                    <a:pos x="11" y="7"/>
                  </a:cxn>
                  <a:cxn ang="0">
                    <a:pos x="15" y="9"/>
                  </a:cxn>
                  <a:cxn ang="0">
                    <a:pos x="36" y="7"/>
                  </a:cxn>
                  <a:cxn ang="0">
                    <a:pos x="42" y="2"/>
                  </a:cxn>
                  <a:cxn ang="0">
                    <a:pos x="36" y="2"/>
                  </a:cxn>
                  <a:cxn ang="0">
                    <a:pos x="36" y="0"/>
                  </a:cxn>
                  <a:cxn ang="0">
                    <a:pos x="27" y="2"/>
                  </a:cxn>
                  <a:cxn ang="0">
                    <a:pos x="31" y="2"/>
                  </a:cxn>
                  <a:cxn ang="0">
                    <a:pos x="27" y="2"/>
                  </a:cxn>
                  <a:cxn ang="0">
                    <a:pos x="27" y="7"/>
                  </a:cxn>
                  <a:cxn ang="0">
                    <a:pos x="23" y="7"/>
                  </a:cxn>
                  <a:cxn ang="0">
                    <a:pos x="23" y="2"/>
                  </a:cxn>
                  <a:cxn ang="0">
                    <a:pos x="15" y="0"/>
                  </a:cxn>
                  <a:cxn ang="0">
                    <a:pos x="6" y="5"/>
                  </a:cxn>
                  <a:cxn ang="0">
                    <a:pos x="0" y="7"/>
                  </a:cxn>
                </a:cxnLst>
                <a:rect l="0" t="0" r="r" b="b"/>
                <a:pathLst>
                  <a:path w="42" h="9">
                    <a:moveTo>
                      <a:pt x="0" y="7"/>
                    </a:moveTo>
                    <a:lnTo>
                      <a:pt x="8" y="7"/>
                    </a:lnTo>
                    <a:lnTo>
                      <a:pt x="11" y="7"/>
                    </a:lnTo>
                    <a:lnTo>
                      <a:pt x="15" y="9"/>
                    </a:lnTo>
                    <a:lnTo>
                      <a:pt x="36" y="7"/>
                    </a:lnTo>
                    <a:lnTo>
                      <a:pt x="42" y="2"/>
                    </a:lnTo>
                    <a:lnTo>
                      <a:pt x="36" y="2"/>
                    </a:lnTo>
                    <a:lnTo>
                      <a:pt x="36" y="0"/>
                    </a:lnTo>
                    <a:lnTo>
                      <a:pt x="27" y="2"/>
                    </a:lnTo>
                    <a:lnTo>
                      <a:pt x="31" y="2"/>
                    </a:lnTo>
                    <a:lnTo>
                      <a:pt x="27" y="2"/>
                    </a:lnTo>
                    <a:lnTo>
                      <a:pt x="27" y="7"/>
                    </a:lnTo>
                    <a:lnTo>
                      <a:pt x="23" y="7"/>
                    </a:lnTo>
                    <a:lnTo>
                      <a:pt x="23" y="2"/>
                    </a:lnTo>
                    <a:lnTo>
                      <a:pt x="15" y="0"/>
                    </a:lnTo>
                    <a:lnTo>
                      <a:pt x="6" y="5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53" name="Canada"/>
              <p:cNvSpPr>
                <a:spLocks/>
              </p:cNvSpPr>
              <p:nvPr>
                <p:custDataLst>
                  <p:tags r:id="rId162"/>
                </p:custDataLst>
              </p:nvPr>
            </p:nvSpPr>
            <p:spPr bwMode="auto">
              <a:xfrm>
                <a:off x="2114610" y="2253550"/>
                <a:ext cx="321755" cy="139336"/>
              </a:xfrm>
              <a:custGeom>
                <a:avLst/>
                <a:gdLst/>
                <a:ahLst/>
                <a:cxnLst>
                  <a:cxn ang="0">
                    <a:pos x="2" y="14"/>
                  </a:cxn>
                  <a:cxn ang="0">
                    <a:pos x="2" y="16"/>
                  </a:cxn>
                  <a:cxn ang="0">
                    <a:pos x="17" y="16"/>
                  </a:cxn>
                  <a:cxn ang="0">
                    <a:pos x="2" y="18"/>
                  </a:cxn>
                  <a:cxn ang="0">
                    <a:pos x="0" y="23"/>
                  </a:cxn>
                  <a:cxn ang="0">
                    <a:pos x="8" y="23"/>
                  </a:cxn>
                  <a:cxn ang="0">
                    <a:pos x="4" y="25"/>
                  </a:cxn>
                  <a:cxn ang="0">
                    <a:pos x="33" y="23"/>
                  </a:cxn>
                  <a:cxn ang="0">
                    <a:pos x="40" y="25"/>
                  </a:cxn>
                  <a:cxn ang="0">
                    <a:pos x="44" y="25"/>
                  </a:cxn>
                  <a:cxn ang="0">
                    <a:pos x="56" y="18"/>
                  </a:cxn>
                  <a:cxn ang="0">
                    <a:pos x="48" y="16"/>
                  </a:cxn>
                  <a:cxn ang="0">
                    <a:pos x="48" y="14"/>
                  </a:cxn>
                  <a:cxn ang="0">
                    <a:pos x="50" y="14"/>
                  </a:cxn>
                  <a:cxn ang="0">
                    <a:pos x="50" y="7"/>
                  </a:cxn>
                  <a:cxn ang="0">
                    <a:pos x="58" y="5"/>
                  </a:cxn>
                  <a:cxn ang="0">
                    <a:pos x="52" y="0"/>
                  </a:cxn>
                  <a:cxn ang="0">
                    <a:pos x="44" y="7"/>
                  </a:cxn>
                  <a:cxn ang="0">
                    <a:pos x="33" y="5"/>
                  </a:cxn>
                  <a:cxn ang="0">
                    <a:pos x="27" y="7"/>
                  </a:cxn>
                  <a:cxn ang="0">
                    <a:pos x="27" y="5"/>
                  </a:cxn>
                  <a:cxn ang="0">
                    <a:pos x="25" y="5"/>
                  </a:cxn>
                  <a:cxn ang="0">
                    <a:pos x="10" y="7"/>
                  </a:cxn>
                  <a:cxn ang="0">
                    <a:pos x="6" y="12"/>
                  </a:cxn>
                  <a:cxn ang="0">
                    <a:pos x="2" y="12"/>
                  </a:cxn>
                  <a:cxn ang="0">
                    <a:pos x="2" y="14"/>
                  </a:cxn>
                </a:cxnLst>
                <a:rect l="0" t="0" r="r" b="b"/>
                <a:pathLst>
                  <a:path w="58" h="25">
                    <a:moveTo>
                      <a:pt x="2" y="14"/>
                    </a:moveTo>
                    <a:lnTo>
                      <a:pt x="2" y="16"/>
                    </a:lnTo>
                    <a:lnTo>
                      <a:pt x="17" y="16"/>
                    </a:lnTo>
                    <a:lnTo>
                      <a:pt x="2" y="18"/>
                    </a:lnTo>
                    <a:lnTo>
                      <a:pt x="0" y="23"/>
                    </a:lnTo>
                    <a:lnTo>
                      <a:pt x="8" y="23"/>
                    </a:lnTo>
                    <a:lnTo>
                      <a:pt x="4" y="25"/>
                    </a:lnTo>
                    <a:lnTo>
                      <a:pt x="33" y="23"/>
                    </a:lnTo>
                    <a:lnTo>
                      <a:pt x="40" y="25"/>
                    </a:lnTo>
                    <a:lnTo>
                      <a:pt x="44" y="25"/>
                    </a:lnTo>
                    <a:lnTo>
                      <a:pt x="56" y="18"/>
                    </a:lnTo>
                    <a:lnTo>
                      <a:pt x="48" y="16"/>
                    </a:lnTo>
                    <a:lnTo>
                      <a:pt x="48" y="14"/>
                    </a:lnTo>
                    <a:lnTo>
                      <a:pt x="50" y="14"/>
                    </a:lnTo>
                    <a:lnTo>
                      <a:pt x="50" y="7"/>
                    </a:lnTo>
                    <a:lnTo>
                      <a:pt x="58" y="5"/>
                    </a:lnTo>
                    <a:lnTo>
                      <a:pt x="52" y="0"/>
                    </a:lnTo>
                    <a:lnTo>
                      <a:pt x="44" y="7"/>
                    </a:lnTo>
                    <a:lnTo>
                      <a:pt x="33" y="5"/>
                    </a:lnTo>
                    <a:lnTo>
                      <a:pt x="27" y="7"/>
                    </a:lnTo>
                    <a:lnTo>
                      <a:pt x="27" y="5"/>
                    </a:lnTo>
                    <a:lnTo>
                      <a:pt x="25" y="5"/>
                    </a:lnTo>
                    <a:lnTo>
                      <a:pt x="10" y="7"/>
                    </a:lnTo>
                    <a:lnTo>
                      <a:pt x="6" y="12"/>
                    </a:lnTo>
                    <a:lnTo>
                      <a:pt x="2" y="12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54" name="Canada"/>
              <p:cNvSpPr>
                <a:spLocks/>
              </p:cNvSpPr>
              <p:nvPr>
                <p:custDataLst>
                  <p:tags r:id="rId163"/>
                </p:custDataLst>
              </p:nvPr>
            </p:nvSpPr>
            <p:spPr bwMode="auto">
              <a:xfrm>
                <a:off x="2009208" y="2242402"/>
                <a:ext cx="244090" cy="89175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4" y="11"/>
                  </a:cxn>
                  <a:cxn ang="0">
                    <a:pos x="4" y="16"/>
                  </a:cxn>
                  <a:cxn ang="0">
                    <a:pos x="13" y="16"/>
                  </a:cxn>
                  <a:cxn ang="0">
                    <a:pos x="23" y="9"/>
                  </a:cxn>
                  <a:cxn ang="0">
                    <a:pos x="44" y="7"/>
                  </a:cxn>
                  <a:cxn ang="0">
                    <a:pos x="40" y="2"/>
                  </a:cxn>
                  <a:cxn ang="0">
                    <a:pos x="29" y="0"/>
                  </a:cxn>
                  <a:cxn ang="0">
                    <a:pos x="15" y="2"/>
                  </a:cxn>
                  <a:cxn ang="0">
                    <a:pos x="15" y="7"/>
                  </a:cxn>
                  <a:cxn ang="0">
                    <a:pos x="7" y="9"/>
                  </a:cxn>
                  <a:cxn ang="0">
                    <a:pos x="0" y="11"/>
                  </a:cxn>
                </a:cxnLst>
                <a:rect l="0" t="0" r="r" b="b"/>
                <a:pathLst>
                  <a:path w="44" h="16">
                    <a:moveTo>
                      <a:pt x="0" y="11"/>
                    </a:moveTo>
                    <a:lnTo>
                      <a:pt x="4" y="11"/>
                    </a:lnTo>
                    <a:lnTo>
                      <a:pt x="4" y="16"/>
                    </a:lnTo>
                    <a:lnTo>
                      <a:pt x="13" y="16"/>
                    </a:lnTo>
                    <a:lnTo>
                      <a:pt x="23" y="9"/>
                    </a:lnTo>
                    <a:lnTo>
                      <a:pt x="44" y="7"/>
                    </a:lnTo>
                    <a:lnTo>
                      <a:pt x="40" y="2"/>
                    </a:lnTo>
                    <a:lnTo>
                      <a:pt x="29" y="0"/>
                    </a:lnTo>
                    <a:lnTo>
                      <a:pt x="15" y="2"/>
                    </a:lnTo>
                    <a:lnTo>
                      <a:pt x="15" y="7"/>
                    </a:lnTo>
                    <a:lnTo>
                      <a:pt x="7" y="9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55" name="Canada"/>
              <p:cNvSpPr>
                <a:spLocks/>
              </p:cNvSpPr>
              <p:nvPr>
                <p:custDataLst>
                  <p:tags r:id="rId164"/>
                </p:custDataLst>
              </p:nvPr>
            </p:nvSpPr>
            <p:spPr bwMode="auto">
              <a:xfrm>
                <a:off x="2796952" y="2955803"/>
                <a:ext cx="72117" cy="167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" y="3"/>
                  </a:cxn>
                  <a:cxn ang="0">
                    <a:pos x="13" y="3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13" h="3">
                    <a:moveTo>
                      <a:pt x="0" y="0"/>
                    </a:moveTo>
                    <a:lnTo>
                      <a:pt x="6" y="3"/>
                    </a:lnTo>
                    <a:lnTo>
                      <a:pt x="13" y="3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56" name="Canada"/>
              <p:cNvSpPr>
                <a:spLocks/>
              </p:cNvSpPr>
              <p:nvPr>
                <p:custDataLst>
                  <p:tags r:id="rId165"/>
                </p:custDataLst>
              </p:nvPr>
            </p:nvSpPr>
            <p:spPr bwMode="auto">
              <a:xfrm>
                <a:off x="2774762" y="3044978"/>
                <a:ext cx="44380" cy="2786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5"/>
                  </a:cxn>
                  <a:cxn ang="0">
                    <a:pos x="8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8" h="5">
                    <a:moveTo>
                      <a:pt x="0" y="2"/>
                    </a:moveTo>
                    <a:lnTo>
                      <a:pt x="4" y="5"/>
                    </a:lnTo>
                    <a:lnTo>
                      <a:pt x="8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57" name="Canada"/>
              <p:cNvSpPr>
                <a:spLocks/>
              </p:cNvSpPr>
              <p:nvPr>
                <p:custDataLst>
                  <p:tags r:id="rId166"/>
                </p:custDataLst>
              </p:nvPr>
            </p:nvSpPr>
            <p:spPr bwMode="auto">
              <a:xfrm>
                <a:off x="2891259" y="2905642"/>
                <a:ext cx="160877" cy="150483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0" y="21"/>
                  </a:cxn>
                  <a:cxn ang="0">
                    <a:pos x="19" y="21"/>
                  </a:cxn>
                  <a:cxn ang="0">
                    <a:pos x="14" y="25"/>
                  </a:cxn>
                  <a:cxn ang="0">
                    <a:pos x="19" y="25"/>
                  </a:cxn>
                  <a:cxn ang="0">
                    <a:pos x="21" y="21"/>
                  </a:cxn>
                  <a:cxn ang="0">
                    <a:pos x="23" y="21"/>
                  </a:cxn>
                  <a:cxn ang="0">
                    <a:pos x="21" y="25"/>
                  </a:cxn>
                  <a:cxn ang="0">
                    <a:pos x="23" y="25"/>
                  </a:cxn>
                  <a:cxn ang="0">
                    <a:pos x="23" y="27"/>
                  </a:cxn>
                  <a:cxn ang="0">
                    <a:pos x="27" y="27"/>
                  </a:cxn>
                  <a:cxn ang="0">
                    <a:pos x="29" y="21"/>
                  </a:cxn>
                  <a:cxn ang="0">
                    <a:pos x="27" y="21"/>
                  </a:cxn>
                  <a:cxn ang="0">
                    <a:pos x="29" y="18"/>
                  </a:cxn>
                  <a:cxn ang="0">
                    <a:pos x="23" y="21"/>
                  </a:cxn>
                  <a:cxn ang="0">
                    <a:pos x="29" y="16"/>
                  </a:cxn>
                  <a:cxn ang="0">
                    <a:pos x="27" y="16"/>
                  </a:cxn>
                  <a:cxn ang="0">
                    <a:pos x="29" y="12"/>
                  </a:cxn>
                  <a:cxn ang="0">
                    <a:pos x="21" y="12"/>
                  </a:cxn>
                  <a:cxn ang="0">
                    <a:pos x="21" y="9"/>
                  </a:cxn>
                  <a:cxn ang="0">
                    <a:pos x="21" y="7"/>
                  </a:cxn>
                  <a:cxn ang="0">
                    <a:pos x="14" y="9"/>
                  </a:cxn>
                  <a:cxn ang="0">
                    <a:pos x="23" y="0"/>
                  </a:cxn>
                  <a:cxn ang="0">
                    <a:pos x="21" y="0"/>
                  </a:cxn>
                  <a:cxn ang="0">
                    <a:pos x="6" y="16"/>
                  </a:cxn>
                  <a:cxn ang="0">
                    <a:pos x="2" y="18"/>
                  </a:cxn>
                  <a:cxn ang="0">
                    <a:pos x="0" y="18"/>
                  </a:cxn>
                </a:cxnLst>
                <a:rect l="0" t="0" r="r" b="b"/>
                <a:pathLst>
                  <a:path w="29" h="27">
                    <a:moveTo>
                      <a:pt x="0" y="18"/>
                    </a:moveTo>
                    <a:lnTo>
                      <a:pt x="0" y="21"/>
                    </a:lnTo>
                    <a:lnTo>
                      <a:pt x="19" y="21"/>
                    </a:lnTo>
                    <a:lnTo>
                      <a:pt x="14" y="25"/>
                    </a:lnTo>
                    <a:lnTo>
                      <a:pt x="19" y="25"/>
                    </a:lnTo>
                    <a:lnTo>
                      <a:pt x="21" y="21"/>
                    </a:lnTo>
                    <a:lnTo>
                      <a:pt x="23" y="21"/>
                    </a:lnTo>
                    <a:lnTo>
                      <a:pt x="21" y="25"/>
                    </a:lnTo>
                    <a:lnTo>
                      <a:pt x="23" y="25"/>
                    </a:lnTo>
                    <a:lnTo>
                      <a:pt x="23" y="27"/>
                    </a:lnTo>
                    <a:lnTo>
                      <a:pt x="27" y="27"/>
                    </a:lnTo>
                    <a:lnTo>
                      <a:pt x="29" y="21"/>
                    </a:lnTo>
                    <a:lnTo>
                      <a:pt x="27" y="21"/>
                    </a:lnTo>
                    <a:lnTo>
                      <a:pt x="29" y="18"/>
                    </a:lnTo>
                    <a:lnTo>
                      <a:pt x="23" y="21"/>
                    </a:lnTo>
                    <a:lnTo>
                      <a:pt x="29" y="16"/>
                    </a:lnTo>
                    <a:lnTo>
                      <a:pt x="27" y="16"/>
                    </a:lnTo>
                    <a:lnTo>
                      <a:pt x="29" y="12"/>
                    </a:lnTo>
                    <a:lnTo>
                      <a:pt x="21" y="12"/>
                    </a:lnTo>
                    <a:lnTo>
                      <a:pt x="21" y="9"/>
                    </a:lnTo>
                    <a:lnTo>
                      <a:pt x="21" y="7"/>
                    </a:lnTo>
                    <a:lnTo>
                      <a:pt x="14" y="9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6" y="16"/>
                    </a:lnTo>
                    <a:lnTo>
                      <a:pt x="2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58" name="Canada"/>
              <p:cNvSpPr>
                <a:spLocks/>
              </p:cNvSpPr>
              <p:nvPr>
                <p:custDataLst>
                  <p:tags r:id="rId167"/>
                </p:custDataLst>
              </p:nvPr>
            </p:nvSpPr>
            <p:spPr bwMode="auto">
              <a:xfrm>
                <a:off x="2563957" y="2755159"/>
                <a:ext cx="16642" cy="167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59" name="Canada"/>
              <p:cNvSpPr>
                <a:spLocks/>
              </p:cNvSpPr>
              <p:nvPr>
                <p:custDataLst>
                  <p:tags r:id="rId168"/>
                </p:custDataLst>
              </p:nvPr>
            </p:nvSpPr>
            <p:spPr bwMode="auto">
              <a:xfrm>
                <a:off x="2453007" y="2855480"/>
                <a:ext cx="22190" cy="167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3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lnTo>
                      <a:pt x="4" y="3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60" name="Canada"/>
              <p:cNvSpPr>
                <a:spLocks/>
              </p:cNvSpPr>
              <p:nvPr>
                <p:custDataLst>
                  <p:tags r:id="rId169"/>
                </p:custDataLst>
              </p:nvPr>
            </p:nvSpPr>
            <p:spPr bwMode="auto">
              <a:xfrm>
                <a:off x="1349054" y="2253550"/>
                <a:ext cx="1691987" cy="953057"/>
              </a:xfrm>
              <a:custGeom>
                <a:avLst/>
                <a:gdLst/>
                <a:ahLst/>
                <a:cxnLst>
                  <a:cxn ang="0">
                    <a:pos x="251" y="151"/>
                  </a:cxn>
                  <a:cxn ang="0">
                    <a:pos x="244" y="162"/>
                  </a:cxn>
                  <a:cxn ang="0">
                    <a:pos x="274" y="147"/>
                  </a:cxn>
                  <a:cxn ang="0">
                    <a:pos x="267" y="147"/>
                  </a:cxn>
                  <a:cxn ang="0">
                    <a:pos x="257" y="138"/>
                  </a:cxn>
                  <a:cxn ang="0">
                    <a:pos x="261" y="133"/>
                  </a:cxn>
                  <a:cxn ang="0">
                    <a:pos x="228" y="142"/>
                  </a:cxn>
                  <a:cxn ang="0">
                    <a:pos x="251" y="129"/>
                  </a:cxn>
                  <a:cxn ang="0">
                    <a:pos x="282" y="124"/>
                  </a:cxn>
                  <a:cxn ang="0">
                    <a:pos x="305" y="104"/>
                  </a:cxn>
                  <a:cxn ang="0">
                    <a:pos x="297" y="102"/>
                  </a:cxn>
                  <a:cxn ang="0">
                    <a:pos x="297" y="95"/>
                  </a:cxn>
                  <a:cxn ang="0">
                    <a:pos x="288" y="90"/>
                  </a:cxn>
                  <a:cxn ang="0">
                    <a:pos x="282" y="72"/>
                  </a:cxn>
                  <a:cxn ang="0">
                    <a:pos x="267" y="75"/>
                  </a:cxn>
                  <a:cxn ang="0">
                    <a:pos x="265" y="61"/>
                  </a:cxn>
                  <a:cxn ang="0">
                    <a:pos x="242" y="59"/>
                  </a:cxn>
                  <a:cxn ang="0">
                    <a:pos x="230" y="77"/>
                  </a:cxn>
                  <a:cxn ang="0">
                    <a:pos x="213" y="99"/>
                  </a:cxn>
                  <a:cxn ang="0">
                    <a:pos x="196" y="108"/>
                  </a:cxn>
                  <a:cxn ang="0">
                    <a:pos x="178" y="86"/>
                  </a:cxn>
                  <a:cxn ang="0">
                    <a:pos x="169" y="77"/>
                  </a:cxn>
                  <a:cxn ang="0">
                    <a:pos x="188" y="59"/>
                  </a:cxn>
                  <a:cxn ang="0">
                    <a:pos x="205" y="50"/>
                  </a:cxn>
                  <a:cxn ang="0">
                    <a:pos x="228" y="39"/>
                  </a:cxn>
                  <a:cxn ang="0">
                    <a:pos x="249" y="34"/>
                  </a:cxn>
                  <a:cxn ang="0">
                    <a:pos x="257" y="23"/>
                  </a:cxn>
                  <a:cxn ang="0">
                    <a:pos x="238" y="30"/>
                  </a:cxn>
                  <a:cxn ang="0">
                    <a:pos x="230" y="25"/>
                  </a:cxn>
                  <a:cxn ang="0">
                    <a:pos x="222" y="23"/>
                  </a:cxn>
                  <a:cxn ang="0">
                    <a:pos x="222" y="9"/>
                  </a:cxn>
                  <a:cxn ang="0">
                    <a:pos x="234" y="7"/>
                  </a:cxn>
                  <a:cxn ang="0">
                    <a:pos x="228" y="5"/>
                  </a:cxn>
                  <a:cxn ang="0">
                    <a:pos x="209" y="18"/>
                  </a:cxn>
                  <a:cxn ang="0">
                    <a:pos x="199" y="32"/>
                  </a:cxn>
                  <a:cxn ang="0">
                    <a:pos x="205" y="25"/>
                  </a:cxn>
                  <a:cxn ang="0">
                    <a:pos x="190" y="25"/>
                  </a:cxn>
                  <a:cxn ang="0">
                    <a:pos x="180" y="32"/>
                  </a:cxn>
                  <a:cxn ang="0">
                    <a:pos x="157" y="30"/>
                  </a:cxn>
                  <a:cxn ang="0">
                    <a:pos x="151" y="30"/>
                  </a:cxn>
                  <a:cxn ang="0">
                    <a:pos x="140" y="30"/>
                  </a:cxn>
                  <a:cxn ang="0">
                    <a:pos x="123" y="18"/>
                  </a:cxn>
                  <a:cxn ang="0">
                    <a:pos x="103" y="23"/>
                  </a:cxn>
                  <a:cxn ang="0">
                    <a:pos x="94" y="18"/>
                  </a:cxn>
                  <a:cxn ang="0">
                    <a:pos x="67" y="25"/>
                  </a:cxn>
                  <a:cxn ang="0">
                    <a:pos x="7" y="68"/>
                  </a:cxn>
                  <a:cxn ang="0">
                    <a:pos x="19" y="72"/>
                  </a:cxn>
                  <a:cxn ang="0">
                    <a:pos x="19" y="93"/>
                  </a:cxn>
                  <a:cxn ang="0">
                    <a:pos x="7" y="111"/>
                  </a:cxn>
                  <a:cxn ang="0">
                    <a:pos x="13" y="124"/>
                  </a:cxn>
                  <a:cxn ang="0">
                    <a:pos x="134" y="129"/>
                  </a:cxn>
                  <a:cxn ang="0">
                    <a:pos x="151" y="135"/>
                  </a:cxn>
                  <a:cxn ang="0">
                    <a:pos x="169" y="135"/>
                  </a:cxn>
                  <a:cxn ang="0">
                    <a:pos x="186" y="147"/>
                  </a:cxn>
                  <a:cxn ang="0">
                    <a:pos x="180" y="151"/>
                  </a:cxn>
                  <a:cxn ang="0">
                    <a:pos x="165" y="171"/>
                  </a:cxn>
                  <a:cxn ang="0">
                    <a:pos x="186" y="162"/>
                  </a:cxn>
                  <a:cxn ang="0">
                    <a:pos x="196" y="160"/>
                  </a:cxn>
                  <a:cxn ang="0">
                    <a:pos x="222" y="153"/>
                  </a:cxn>
                  <a:cxn ang="0">
                    <a:pos x="242" y="142"/>
                  </a:cxn>
                  <a:cxn ang="0">
                    <a:pos x="242" y="151"/>
                  </a:cxn>
                </a:cxnLst>
                <a:rect l="0" t="0" r="r" b="b"/>
                <a:pathLst>
                  <a:path w="305" h="171">
                    <a:moveTo>
                      <a:pt x="242" y="151"/>
                    </a:moveTo>
                    <a:lnTo>
                      <a:pt x="253" y="151"/>
                    </a:lnTo>
                    <a:lnTo>
                      <a:pt x="251" y="151"/>
                    </a:lnTo>
                    <a:lnTo>
                      <a:pt x="253" y="151"/>
                    </a:lnTo>
                    <a:lnTo>
                      <a:pt x="244" y="156"/>
                    </a:lnTo>
                    <a:lnTo>
                      <a:pt x="244" y="162"/>
                    </a:lnTo>
                    <a:lnTo>
                      <a:pt x="253" y="156"/>
                    </a:lnTo>
                    <a:lnTo>
                      <a:pt x="267" y="151"/>
                    </a:lnTo>
                    <a:lnTo>
                      <a:pt x="274" y="147"/>
                    </a:lnTo>
                    <a:lnTo>
                      <a:pt x="274" y="144"/>
                    </a:lnTo>
                    <a:lnTo>
                      <a:pt x="274" y="142"/>
                    </a:lnTo>
                    <a:lnTo>
                      <a:pt x="267" y="147"/>
                    </a:lnTo>
                    <a:lnTo>
                      <a:pt x="259" y="147"/>
                    </a:lnTo>
                    <a:lnTo>
                      <a:pt x="253" y="144"/>
                    </a:lnTo>
                    <a:lnTo>
                      <a:pt x="257" y="138"/>
                    </a:lnTo>
                    <a:lnTo>
                      <a:pt x="253" y="138"/>
                    </a:lnTo>
                    <a:lnTo>
                      <a:pt x="251" y="135"/>
                    </a:lnTo>
                    <a:lnTo>
                      <a:pt x="261" y="133"/>
                    </a:lnTo>
                    <a:lnTo>
                      <a:pt x="259" y="129"/>
                    </a:lnTo>
                    <a:lnTo>
                      <a:pt x="242" y="133"/>
                    </a:lnTo>
                    <a:lnTo>
                      <a:pt x="228" y="142"/>
                    </a:lnTo>
                    <a:lnTo>
                      <a:pt x="238" y="133"/>
                    </a:lnTo>
                    <a:lnTo>
                      <a:pt x="249" y="129"/>
                    </a:lnTo>
                    <a:lnTo>
                      <a:pt x="251" y="129"/>
                    </a:lnTo>
                    <a:lnTo>
                      <a:pt x="253" y="124"/>
                    </a:lnTo>
                    <a:lnTo>
                      <a:pt x="265" y="124"/>
                    </a:lnTo>
                    <a:lnTo>
                      <a:pt x="282" y="124"/>
                    </a:lnTo>
                    <a:lnTo>
                      <a:pt x="290" y="117"/>
                    </a:lnTo>
                    <a:lnTo>
                      <a:pt x="305" y="115"/>
                    </a:lnTo>
                    <a:lnTo>
                      <a:pt x="305" y="104"/>
                    </a:lnTo>
                    <a:lnTo>
                      <a:pt x="301" y="104"/>
                    </a:lnTo>
                    <a:lnTo>
                      <a:pt x="301" y="102"/>
                    </a:lnTo>
                    <a:lnTo>
                      <a:pt x="297" y="102"/>
                    </a:lnTo>
                    <a:lnTo>
                      <a:pt x="301" y="99"/>
                    </a:lnTo>
                    <a:lnTo>
                      <a:pt x="297" y="99"/>
                    </a:lnTo>
                    <a:lnTo>
                      <a:pt x="297" y="95"/>
                    </a:lnTo>
                    <a:lnTo>
                      <a:pt x="290" y="95"/>
                    </a:lnTo>
                    <a:lnTo>
                      <a:pt x="292" y="93"/>
                    </a:lnTo>
                    <a:lnTo>
                      <a:pt x="288" y="90"/>
                    </a:lnTo>
                    <a:lnTo>
                      <a:pt x="292" y="86"/>
                    </a:lnTo>
                    <a:lnTo>
                      <a:pt x="288" y="68"/>
                    </a:lnTo>
                    <a:lnTo>
                      <a:pt x="282" y="72"/>
                    </a:lnTo>
                    <a:lnTo>
                      <a:pt x="282" y="75"/>
                    </a:lnTo>
                    <a:lnTo>
                      <a:pt x="270" y="81"/>
                    </a:lnTo>
                    <a:lnTo>
                      <a:pt x="267" y="75"/>
                    </a:lnTo>
                    <a:lnTo>
                      <a:pt x="270" y="66"/>
                    </a:lnTo>
                    <a:lnTo>
                      <a:pt x="265" y="66"/>
                    </a:lnTo>
                    <a:lnTo>
                      <a:pt x="265" y="61"/>
                    </a:lnTo>
                    <a:lnTo>
                      <a:pt x="259" y="59"/>
                    </a:lnTo>
                    <a:lnTo>
                      <a:pt x="249" y="57"/>
                    </a:lnTo>
                    <a:lnTo>
                      <a:pt x="242" y="59"/>
                    </a:lnTo>
                    <a:lnTo>
                      <a:pt x="238" y="66"/>
                    </a:lnTo>
                    <a:lnTo>
                      <a:pt x="236" y="72"/>
                    </a:lnTo>
                    <a:lnTo>
                      <a:pt x="230" y="77"/>
                    </a:lnTo>
                    <a:lnTo>
                      <a:pt x="234" y="81"/>
                    </a:lnTo>
                    <a:lnTo>
                      <a:pt x="228" y="93"/>
                    </a:lnTo>
                    <a:lnTo>
                      <a:pt x="213" y="99"/>
                    </a:lnTo>
                    <a:lnTo>
                      <a:pt x="211" y="115"/>
                    </a:lnTo>
                    <a:lnTo>
                      <a:pt x="203" y="117"/>
                    </a:lnTo>
                    <a:lnTo>
                      <a:pt x="196" y="108"/>
                    </a:lnTo>
                    <a:lnTo>
                      <a:pt x="205" y="99"/>
                    </a:lnTo>
                    <a:lnTo>
                      <a:pt x="194" y="95"/>
                    </a:lnTo>
                    <a:lnTo>
                      <a:pt x="178" y="86"/>
                    </a:lnTo>
                    <a:lnTo>
                      <a:pt x="171" y="86"/>
                    </a:lnTo>
                    <a:lnTo>
                      <a:pt x="174" y="77"/>
                    </a:lnTo>
                    <a:lnTo>
                      <a:pt x="169" y="77"/>
                    </a:lnTo>
                    <a:lnTo>
                      <a:pt x="169" y="75"/>
                    </a:lnTo>
                    <a:lnTo>
                      <a:pt x="180" y="66"/>
                    </a:lnTo>
                    <a:lnTo>
                      <a:pt x="188" y="59"/>
                    </a:lnTo>
                    <a:lnTo>
                      <a:pt x="190" y="57"/>
                    </a:lnTo>
                    <a:lnTo>
                      <a:pt x="199" y="57"/>
                    </a:lnTo>
                    <a:lnTo>
                      <a:pt x="205" y="50"/>
                    </a:lnTo>
                    <a:lnTo>
                      <a:pt x="211" y="50"/>
                    </a:lnTo>
                    <a:lnTo>
                      <a:pt x="219" y="43"/>
                    </a:lnTo>
                    <a:lnTo>
                      <a:pt x="228" y="39"/>
                    </a:lnTo>
                    <a:lnTo>
                      <a:pt x="230" y="39"/>
                    </a:lnTo>
                    <a:lnTo>
                      <a:pt x="236" y="39"/>
                    </a:lnTo>
                    <a:lnTo>
                      <a:pt x="249" y="34"/>
                    </a:lnTo>
                    <a:lnTo>
                      <a:pt x="251" y="32"/>
                    </a:lnTo>
                    <a:lnTo>
                      <a:pt x="249" y="32"/>
                    </a:lnTo>
                    <a:lnTo>
                      <a:pt x="257" y="23"/>
                    </a:lnTo>
                    <a:lnTo>
                      <a:pt x="253" y="23"/>
                    </a:lnTo>
                    <a:lnTo>
                      <a:pt x="244" y="18"/>
                    </a:lnTo>
                    <a:lnTo>
                      <a:pt x="238" y="30"/>
                    </a:lnTo>
                    <a:lnTo>
                      <a:pt x="228" y="34"/>
                    </a:lnTo>
                    <a:lnTo>
                      <a:pt x="228" y="32"/>
                    </a:lnTo>
                    <a:lnTo>
                      <a:pt x="230" y="25"/>
                    </a:lnTo>
                    <a:lnTo>
                      <a:pt x="230" y="23"/>
                    </a:lnTo>
                    <a:lnTo>
                      <a:pt x="226" y="25"/>
                    </a:lnTo>
                    <a:lnTo>
                      <a:pt x="222" y="23"/>
                    </a:lnTo>
                    <a:lnTo>
                      <a:pt x="219" y="18"/>
                    </a:lnTo>
                    <a:lnTo>
                      <a:pt x="226" y="18"/>
                    </a:lnTo>
                    <a:lnTo>
                      <a:pt x="222" y="9"/>
                    </a:lnTo>
                    <a:lnTo>
                      <a:pt x="228" y="9"/>
                    </a:lnTo>
                    <a:lnTo>
                      <a:pt x="228" y="7"/>
                    </a:lnTo>
                    <a:lnTo>
                      <a:pt x="234" y="7"/>
                    </a:lnTo>
                    <a:lnTo>
                      <a:pt x="244" y="0"/>
                    </a:lnTo>
                    <a:lnTo>
                      <a:pt x="236" y="0"/>
                    </a:lnTo>
                    <a:lnTo>
                      <a:pt x="228" y="5"/>
                    </a:lnTo>
                    <a:lnTo>
                      <a:pt x="219" y="9"/>
                    </a:lnTo>
                    <a:lnTo>
                      <a:pt x="209" y="16"/>
                    </a:lnTo>
                    <a:lnTo>
                      <a:pt x="209" y="18"/>
                    </a:lnTo>
                    <a:lnTo>
                      <a:pt x="213" y="23"/>
                    </a:lnTo>
                    <a:lnTo>
                      <a:pt x="209" y="25"/>
                    </a:lnTo>
                    <a:lnTo>
                      <a:pt x="199" y="32"/>
                    </a:lnTo>
                    <a:lnTo>
                      <a:pt x="196" y="32"/>
                    </a:lnTo>
                    <a:lnTo>
                      <a:pt x="199" y="30"/>
                    </a:lnTo>
                    <a:lnTo>
                      <a:pt x="205" y="25"/>
                    </a:lnTo>
                    <a:lnTo>
                      <a:pt x="205" y="23"/>
                    </a:lnTo>
                    <a:lnTo>
                      <a:pt x="203" y="18"/>
                    </a:lnTo>
                    <a:lnTo>
                      <a:pt x="190" y="25"/>
                    </a:lnTo>
                    <a:lnTo>
                      <a:pt x="196" y="25"/>
                    </a:lnTo>
                    <a:lnTo>
                      <a:pt x="188" y="32"/>
                    </a:lnTo>
                    <a:lnTo>
                      <a:pt x="180" y="32"/>
                    </a:lnTo>
                    <a:lnTo>
                      <a:pt x="171" y="30"/>
                    </a:lnTo>
                    <a:lnTo>
                      <a:pt x="171" y="25"/>
                    </a:lnTo>
                    <a:lnTo>
                      <a:pt x="157" y="30"/>
                    </a:lnTo>
                    <a:lnTo>
                      <a:pt x="159" y="30"/>
                    </a:lnTo>
                    <a:lnTo>
                      <a:pt x="157" y="32"/>
                    </a:lnTo>
                    <a:lnTo>
                      <a:pt x="151" y="30"/>
                    </a:lnTo>
                    <a:lnTo>
                      <a:pt x="140" y="32"/>
                    </a:lnTo>
                    <a:lnTo>
                      <a:pt x="132" y="32"/>
                    </a:lnTo>
                    <a:lnTo>
                      <a:pt x="140" y="30"/>
                    </a:lnTo>
                    <a:lnTo>
                      <a:pt x="140" y="25"/>
                    </a:lnTo>
                    <a:lnTo>
                      <a:pt x="126" y="23"/>
                    </a:lnTo>
                    <a:lnTo>
                      <a:pt x="123" y="18"/>
                    </a:lnTo>
                    <a:lnTo>
                      <a:pt x="117" y="18"/>
                    </a:lnTo>
                    <a:lnTo>
                      <a:pt x="111" y="23"/>
                    </a:lnTo>
                    <a:lnTo>
                      <a:pt x="103" y="23"/>
                    </a:lnTo>
                    <a:lnTo>
                      <a:pt x="107" y="18"/>
                    </a:lnTo>
                    <a:lnTo>
                      <a:pt x="103" y="16"/>
                    </a:lnTo>
                    <a:lnTo>
                      <a:pt x="94" y="18"/>
                    </a:lnTo>
                    <a:lnTo>
                      <a:pt x="78" y="23"/>
                    </a:lnTo>
                    <a:lnTo>
                      <a:pt x="71" y="23"/>
                    </a:lnTo>
                    <a:lnTo>
                      <a:pt x="67" y="25"/>
                    </a:lnTo>
                    <a:lnTo>
                      <a:pt x="55" y="23"/>
                    </a:lnTo>
                    <a:lnTo>
                      <a:pt x="0" y="68"/>
                    </a:lnTo>
                    <a:lnTo>
                      <a:pt x="7" y="68"/>
                    </a:lnTo>
                    <a:lnTo>
                      <a:pt x="5" y="72"/>
                    </a:lnTo>
                    <a:lnTo>
                      <a:pt x="7" y="75"/>
                    </a:lnTo>
                    <a:lnTo>
                      <a:pt x="19" y="72"/>
                    </a:lnTo>
                    <a:lnTo>
                      <a:pt x="19" y="77"/>
                    </a:lnTo>
                    <a:lnTo>
                      <a:pt x="15" y="90"/>
                    </a:lnTo>
                    <a:lnTo>
                      <a:pt x="19" y="93"/>
                    </a:lnTo>
                    <a:lnTo>
                      <a:pt x="15" y="99"/>
                    </a:lnTo>
                    <a:lnTo>
                      <a:pt x="7" y="102"/>
                    </a:lnTo>
                    <a:lnTo>
                      <a:pt x="7" y="111"/>
                    </a:lnTo>
                    <a:lnTo>
                      <a:pt x="11" y="111"/>
                    </a:lnTo>
                    <a:lnTo>
                      <a:pt x="7" y="117"/>
                    </a:lnTo>
                    <a:lnTo>
                      <a:pt x="13" y="124"/>
                    </a:lnTo>
                    <a:lnTo>
                      <a:pt x="19" y="129"/>
                    </a:lnTo>
                    <a:lnTo>
                      <a:pt x="132" y="129"/>
                    </a:lnTo>
                    <a:lnTo>
                      <a:pt x="134" y="129"/>
                    </a:lnTo>
                    <a:lnTo>
                      <a:pt x="138" y="133"/>
                    </a:lnTo>
                    <a:lnTo>
                      <a:pt x="155" y="135"/>
                    </a:lnTo>
                    <a:lnTo>
                      <a:pt x="151" y="135"/>
                    </a:lnTo>
                    <a:lnTo>
                      <a:pt x="163" y="129"/>
                    </a:lnTo>
                    <a:lnTo>
                      <a:pt x="169" y="133"/>
                    </a:lnTo>
                    <a:lnTo>
                      <a:pt x="169" y="135"/>
                    </a:lnTo>
                    <a:lnTo>
                      <a:pt x="174" y="135"/>
                    </a:lnTo>
                    <a:lnTo>
                      <a:pt x="171" y="144"/>
                    </a:lnTo>
                    <a:lnTo>
                      <a:pt x="186" y="147"/>
                    </a:lnTo>
                    <a:lnTo>
                      <a:pt x="188" y="153"/>
                    </a:lnTo>
                    <a:lnTo>
                      <a:pt x="186" y="156"/>
                    </a:lnTo>
                    <a:lnTo>
                      <a:pt x="180" y="151"/>
                    </a:lnTo>
                    <a:lnTo>
                      <a:pt x="174" y="162"/>
                    </a:lnTo>
                    <a:lnTo>
                      <a:pt x="171" y="162"/>
                    </a:lnTo>
                    <a:lnTo>
                      <a:pt x="165" y="171"/>
                    </a:lnTo>
                    <a:lnTo>
                      <a:pt x="174" y="167"/>
                    </a:lnTo>
                    <a:lnTo>
                      <a:pt x="188" y="167"/>
                    </a:lnTo>
                    <a:lnTo>
                      <a:pt x="186" y="162"/>
                    </a:lnTo>
                    <a:lnTo>
                      <a:pt x="182" y="162"/>
                    </a:lnTo>
                    <a:lnTo>
                      <a:pt x="186" y="160"/>
                    </a:lnTo>
                    <a:lnTo>
                      <a:pt x="196" y="160"/>
                    </a:lnTo>
                    <a:lnTo>
                      <a:pt x="203" y="156"/>
                    </a:lnTo>
                    <a:lnTo>
                      <a:pt x="209" y="153"/>
                    </a:lnTo>
                    <a:lnTo>
                      <a:pt x="222" y="153"/>
                    </a:lnTo>
                    <a:lnTo>
                      <a:pt x="228" y="151"/>
                    </a:lnTo>
                    <a:lnTo>
                      <a:pt x="236" y="138"/>
                    </a:lnTo>
                    <a:lnTo>
                      <a:pt x="242" y="142"/>
                    </a:lnTo>
                    <a:lnTo>
                      <a:pt x="238" y="151"/>
                    </a:lnTo>
                    <a:lnTo>
                      <a:pt x="240" y="151"/>
                    </a:lnTo>
                    <a:lnTo>
                      <a:pt x="242" y="151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167" name="Cameroon"/>
            <p:cNvSpPr>
              <a:spLocks/>
            </p:cNvSpPr>
            <p:nvPr/>
          </p:nvSpPr>
          <p:spPr bwMode="auto">
            <a:xfrm>
              <a:off x="4448040" y="4126614"/>
              <a:ext cx="213093" cy="374694"/>
            </a:xfrm>
            <a:custGeom>
              <a:avLst/>
              <a:gdLst>
                <a:gd name="T0" fmla="*/ 18 w 586"/>
                <a:gd name="T1" fmla="*/ 649 h 869"/>
                <a:gd name="T2" fmla="*/ 2 w 586"/>
                <a:gd name="T3" fmla="*/ 640 h 869"/>
                <a:gd name="T4" fmla="*/ 23 w 586"/>
                <a:gd name="T5" fmla="*/ 611 h 869"/>
                <a:gd name="T6" fmla="*/ 35 w 586"/>
                <a:gd name="T7" fmla="*/ 551 h 869"/>
                <a:gd name="T8" fmla="*/ 89 w 586"/>
                <a:gd name="T9" fmla="*/ 501 h 869"/>
                <a:gd name="T10" fmla="*/ 136 w 586"/>
                <a:gd name="T11" fmla="*/ 471 h 869"/>
                <a:gd name="T12" fmla="*/ 184 w 586"/>
                <a:gd name="T13" fmla="*/ 469 h 869"/>
                <a:gd name="T14" fmla="*/ 223 w 586"/>
                <a:gd name="T15" fmla="*/ 504 h 869"/>
                <a:gd name="T16" fmla="*/ 260 w 586"/>
                <a:gd name="T17" fmla="*/ 452 h 869"/>
                <a:gd name="T18" fmla="*/ 284 w 586"/>
                <a:gd name="T19" fmla="*/ 394 h 869"/>
                <a:gd name="T20" fmla="*/ 301 w 586"/>
                <a:gd name="T21" fmla="*/ 351 h 869"/>
                <a:gd name="T22" fmla="*/ 340 w 586"/>
                <a:gd name="T23" fmla="*/ 291 h 869"/>
                <a:gd name="T24" fmla="*/ 364 w 586"/>
                <a:gd name="T25" fmla="*/ 242 h 869"/>
                <a:gd name="T26" fmla="*/ 396 w 586"/>
                <a:gd name="T27" fmla="*/ 177 h 869"/>
                <a:gd name="T28" fmla="*/ 464 w 586"/>
                <a:gd name="T29" fmla="*/ 126 h 869"/>
                <a:gd name="T30" fmla="*/ 463 w 586"/>
                <a:gd name="T31" fmla="*/ 70 h 869"/>
                <a:gd name="T32" fmla="*/ 427 w 586"/>
                <a:gd name="T33" fmla="*/ 6 h 869"/>
                <a:gd name="T34" fmla="*/ 475 w 586"/>
                <a:gd name="T35" fmla="*/ 34 h 869"/>
                <a:gd name="T36" fmla="*/ 499 w 586"/>
                <a:gd name="T37" fmla="*/ 82 h 869"/>
                <a:gd name="T38" fmla="*/ 500 w 586"/>
                <a:gd name="T39" fmla="*/ 133 h 869"/>
                <a:gd name="T40" fmla="*/ 508 w 586"/>
                <a:gd name="T41" fmla="*/ 200 h 869"/>
                <a:gd name="T42" fmla="*/ 536 w 586"/>
                <a:gd name="T43" fmla="*/ 241 h 869"/>
                <a:gd name="T44" fmla="*/ 455 w 586"/>
                <a:gd name="T45" fmla="*/ 238 h 869"/>
                <a:gd name="T46" fmla="*/ 427 w 586"/>
                <a:gd name="T47" fmla="*/ 273 h 869"/>
                <a:gd name="T48" fmla="*/ 482 w 586"/>
                <a:gd name="T49" fmla="*/ 327 h 869"/>
                <a:gd name="T50" fmla="*/ 528 w 586"/>
                <a:gd name="T51" fmla="*/ 395 h 869"/>
                <a:gd name="T52" fmla="*/ 535 w 586"/>
                <a:gd name="T53" fmla="*/ 423 h 869"/>
                <a:gd name="T54" fmla="*/ 508 w 586"/>
                <a:gd name="T55" fmla="*/ 460 h 869"/>
                <a:gd name="T56" fmla="*/ 471 w 586"/>
                <a:gd name="T57" fmla="*/ 522 h 869"/>
                <a:gd name="T58" fmla="*/ 466 w 586"/>
                <a:gd name="T59" fmla="*/ 578 h 869"/>
                <a:gd name="T60" fmla="*/ 478 w 586"/>
                <a:gd name="T61" fmla="*/ 647 h 869"/>
                <a:gd name="T62" fmla="*/ 499 w 586"/>
                <a:gd name="T63" fmla="*/ 691 h 869"/>
                <a:gd name="T64" fmla="*/ 558 w 586"/>
                <a:gd name="T65" fmla="*/ 757 h 869"/>
                <a:gd name="T66" fmla="*/ 584 w 586"/>
                <a:gd name="T67" fmla="*/ 822 h 869"/>
                <a:gd name="T68" fmla="*/ 586 w 586"/>
                <a:gd name="T69" fmla="*/ 824 h 869"/>
                <a:gd name="T70" fmla="*/ 582 w 586"/>
                <a:gd name="T71" fmla="*/ 856 h 869"/>
                <a:gd name="T72" fmla="*/ 524 w 586"/>
                <a:gd name="T73" fmla="*/ 846 h 869"/>
                <a:gd name="T74" fmla="*/ 488 w 586"/>
                <a:gd name="T75" fmla="*/ 841 h 869"/>
                <a:gd name="T76" fmla="*/ 455 w 586"/>
                <a:gd name="T77" fmla="*/ 830 h 869"/>
                <a:gd name="T78" fmla="*/ 367 w 586"/>
                <a:gd name="T79" fmla="*/ 829 h 869"/>
                <a:gd name="T80" fmla="*/ 285 w 586"/>
                <a:gd name="T81" fmla="*/ 820 h 869"/>
                <a:gd name="T82" fmla="*/ 217 w 586"/>
                <a:gd name="T83" fmla="*/ 828 h 869"/>
                <a:gd name="T84" fmla="*/ 165 w 586"/>
                <a:gd name="T85" fmla="*/ 829 h 869"/>
                <a:gd name="T86" fmla="*/ 97 w 586"/>
                <a:gd name="T87" fmla="*/ 809 h 869"/>
                <a:gd name="T88" fmla="*/ 105 w 586"/>
                <a:gd name="T89" fmla="*/ 766 h 869"/>
                <a:gd name="T90" fmla="*/ 98 w 586"/>
                <a:gd name="T91" fmla="*/ 734 h 869"/>
                <a:gd name="T92" fmla="*/ 88 w 586"/>
                <a:gd name="T93" fmla="*/ 708 h 869"/>
                <a:gd name="T94" fmla="*/ 79 w 586"/>
                <a:gd name="T95" fmla="*/ 688 h 869"/>
                <a:gd name="T96" fmla="*/ 42 w 586"/>
                <a:gd name="T97" fmla="*/ 683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6" h="869">
                  <a:moveTo>
                    <a:pt x="29" y="653"/>
                  </a:moveTo>
                  <a:cubicBezTo>
                    <a:pt x="29" y="647"/>
                    <a:pt x="22" y="650"/>
                    <a:pt x="18" y="649"/>
                  </a:cubicBezTo>
                  <a:cubicBezTo>
                    <a:pt x="14" y="648"/>
                    <a:pt x="9" y="654"/>
                    <a:pt x="5" y="650"/>
                  </a:cubicBezTo>
                  <a:cubicBezTo>
                    <a:pt x="0" y="649"/>
                    <a:pt x="1" y="644"/>
                    <a:pt x="2" y="640"/>
                  </a:cubicBezTo>
                  <a:cubicBezTo>
                    <a:pt x="2" y="640"/>
                    <a:pt x="2" y="640"/>
                    <a:pt x="2" y="640"/>
                  </a:cubicBezTo>
                  <a:cubicBezTo>
                    <a:pt x="7" y="631"/>
                    <a:pt x="17" y="621"/>
                    <a:pt x="23" y="611"/>
                  </a:cubicBezTo>
                  <a:cubicBezTo>
                    <a:pt x="34" y="599"/>
                    <a:pt x="31" y="582"/>
                    <a:pt x="37" y="568"/>
                  </a:cubicBezTo>
                  <a:cubicBezTo>
                    <a:pt x="31" y="564"/>
                    <a:pt x="35" y="558"/>
                    <a:pt x="35" y="551"/>
                  </a:cubicBezTo>
                  <a:cubicBezTo>
                    <a:pt x="44" y="546"/>
                    <a:pt x="50" y="536"/>
                    <a:pt x="59" y="529"/>
                  </a:cubicBezTo>
                  <a:cubicBezTo>
                    <a:pt x="69" y="519"/>
                    <a:pt x="78" y="510"/>
                    <a:pt x="89" y="501"/>
                  </a:cubicBezTo>
                  <a:cubicBezTo>
                    <a:pt x="102" y="501"/>
                    <a:pt x="99" y="483"/>
                    <a:pt x="106" y="480"/>
                  </a:cubicBezTo>
                  <a:cubicBezTo>
                    <a:pt x="119" y="481"/>
                    <a:pt x="130" y="452"/>
                    <a:pt x="136" y="471"/>
                  </a:cubicBezTo>
                  <a:cubicBezTo>
                    <a:pt x="148" y="477"/>
                    <a:pt x="164" y="472"/>
                    <a:pt x="164" y="456"/>
                  </a:cubicBezTo>
                  <a:cubicBezTo>
                    <a:pt x="165" y="457"/>
                    <a:pt x="179" y="465"/>
                    <a:pt x="184" y="469"/>
                  </a:cubicBezTo>
                  <a:cubicBezTo>
                    <a:pt x="183" y="482"/>
                    <a:pt x="201" y="478"/>
                    <a:pt x="201" y="489"/>
                  </a:cubicBezTo>
                  <a:cubicBezTo>
                    <a:pt x="196" y="504"/>
                    <a:pt x="211" y="511"/>
                    <a:pt x="223" y="504"/>
                  </a:cubicBezTo>
                  <a:cubicBezTo>
                    <a:pt x="226" y="495"/>
                    <a:pt x="236" y="493"/>
                    <a:pt x="239" y="484"/>
                  </a:cubicBezTo>
                  <a:cubicBezTo>
                    <a:pt x="230" y="466"/>
                    <a:pt x="260" y="465"/>
                    <a:pt x="260" y="452"/>
                  </a:cubicBezTo>
                  <a:cubicBezTo>
                    <a:pt x="252" y="446"/>
                    <a:pt x="252" y="441"/>
                    <a:pt x="259" y="434"/>
                  </a:cubicBezTo>
                  <a:cubicBezTo>
                    <a:pt x="276" y="425"/>
                    <a:pt x="269" y="405"/>
                    <a:pt x="284" y="394"/>
                  </a:cubicBezTo>
                  <a:cubicBezTo>
                    <a:pt x="286" y="386"/>
                    <a:pt x="287" y="377"/>
                    <a:pt x="289" y="368"/>
                  </a:cubicBezTo>
                  <a:cubicBezTo>
                    <a:pt x="284" y="357"/>
                    <a:pt x="296" y="357"/>
                    <a:pt x="301" y="351"/>
                  </a:cubicBezTo>
                  <a:cubicBezTo>
                    <a:pt x="296" y="334"/>
                    <a:pt x="321" y="348"/>
                    <a:pt x="323" y="335"/>
                  </a:cubicBezTo>
                  <a:cubicBezTo>
                    <a:pt x="339" y="326"/>
                    <a:pt x="330" y="304"/>
                    <a:pt x="340" y="291"/>
                  </a:cubicBezTo>
                  <a:cubicBezTo>
                    <a:pt x="331" y="285"/>
                    <a:pt x="344" y="280"/>
                    <a:pt x="349" y="275"/>
                  </a:cubicBezTo>
                  <a:cubicBezTo>
                    <a:pt x="368" y="277"/>
                    <a:pt x="366" y="254"/>
                    <a:pt x="364" y="242"/>
                  </a:cubicBezTo>
                  <a:cubicBezTo>
                    <a:pt x="360" y="227"/>
                    <a:pt x="378" y="233"/>
                    <a:pt x="380" y="223"/>
                  </a:cubicBezTo>
                  <a:cubicBezTo>
                    <a:pt x="384" y="207"/>
                    <a:pt x="384" y="189"/>
                    <a:pt x="396" y="177"/>
                  </a:cubicBezTo>
                  <a:cubicBezTo>
                    <a:pt x="405" y="165"/>
                    <a:pt x="408" y="150"/>
                    <a:pt x="421" y="142"/>
                  </a:cubicBezTo>
                  <a:cubicBezTo>
                    <a:pt x="438" y="150"/>
                    <a:pt x="449" y="131"/>
                    <a:pt x="464" y="126"/>
                  </a:cubicBezTo>
                  <a:cubicBezTo>
                    <a:pt x="477" y="119"/>
                    <a:pt x="458" y="109"/>
                    <a:pt x="467" y="100"/>
                  </a:cubicBezTo>
                  <a:cubicBezTo>
                    <a:pt x="466" y="90"/>
                    <a:pt x="476" y="75"/>
                    <a:pt x="463" y="70"/>
                  </a:cubicBezTo>
                  <a:cubicBezTo>
                    <a:pt x="460" y="54"/>
                    <a:pt x="441" y="66"/>
                    <a:pt x="435" y="57"/>
                  </a:cubicBezTo>
                  <a:cubicBezTo>
                    <a:pt x="437" y="40"/>
                    <a:pt x="429" y="23"/>
                    <a:pt x="427" y="6"/>
                  </a:cubicBezTo>
                  <a:cubicBezTo>
                    <a:pt x="438" y="8"/>
                    <a:pt x="456" y="0"/>
                    <a:pt x="459" y="15"/>
                  </a:cubicBezTo>
                  <a:cubicBezTo>
                    <a:pt x="459" y="26"/>
                    <a:pt x="465" y="33"/>
                    <a:pt x="475" y="34"/>
                  </a:cubicBezTo>
                  <a:cubicBezTo>
                    <a:pt x="475" y="40"/>
                    <a:pt x="487" y="41"/>
                    <a:pt x="485" y="50"/>
                  </a:cubicBezTo>
                  <a:cubicBezTo>
                    <a:pt x="491" y="62"/>
                    <a:pt x="483" y="80"/>
                    <a:pt x="499" y="82"/>
                  </a:cubicBezTo>
                  <a:cubicBezTo>
                    <a:pt x="501" y="90"/>
                    <a:pt x="497" y="97"/>
                    <a:pt x="502" y="103"/>
                  </a:cubicBezTo>
                  <a:cubicBezTo>
                    <a:pt x="497" y="115"/>
                    <a:pt x="509" y="123"/>
                    <a:pt x="500" y="133"/>
                  </a:cubicBezTo>
                  <a:cubicBezTo>
                    <a:pt x="497" y="144"/>
                    <a:pt x="495" y="155"/>
                    <a:pt x="499" y="166"/>
                  </a:cubicBezTo>
                  <a:cubicBezTo>
                    <a:pt x="500" y="178"/>
                    <a:pt x="505" y="189"/>
                    <a:pt x="508" y="200"/>
                  </a:cubicBezTo>
                  <a:cubicBezTo>
                    <a:pt x="517" y="209"/>
                    <a:pt x="523" y="222"/>
                    <a:pt x="534" y="230"/>
                  </a:cubicBezTo>
                  <a:cubicBezTo>
                    <a:pt x="540" y="234"/>
                    <a:pt x="549" y="241"/>
                    <a:pt x="536" y="241"/>
                  </a:cubicBezTo>
                  <a:cubicBezTo>
                    <a:pt x="522" y="245"/>
                    <a:pt x="510" y="235"/>
                    <a:pt x="496" y="241"/>
                  </a:cubicBezTo>
                  <a:cubicBezTo>
                    <a:pt x="482" y="243"/>
                    <a:pt x="469" y="241"/>
                    <a:pt x="455" y="238"/>
                  </a:cubicBezTo>
                  <a:cubicBezTo>
                    <a:pt x="443" y="237"/>
                    <a:pt x="432" y="239"/>
                    <a:pt x="428" y="252"/>
                  </a:cubicBezTo>
                  <a:cubicBezTo>
                    <a:pt x="417" y="256"/>
                    <a:pt x="418" y="268"/>
                    <a:pt x="427" y="273"/>
                  </a:cubicBezTo>
                  <a:cubicBezTo>
                    <a:pt x="437" y="283"/>
                    <a:pt x="445" y="295"/>
                    <a:pt x="454" y="305"/>
                  </a:cubicBezTo>
                  <a:cubicBezTo>
                    <a:pt x="463" y="313"/>
                    <a:pt x="473" y="320"/>
                    <a:pt x="482" y="327"/>
                  </a:cubicBezTo>
                  <a:cubicBezTo>
                    <a:pt x="495" y="334"/>
                    <a:pt x="508" y="346"/>
                    <a:pt x="514" y="361"/>
                  </a:cubicBezTo>
                  <a:cubicBezTo>
                    <a:pt x="519" y="372"/>
                    <a:pt x="525" y="383"/>
                    <a:pt x="528" y="395"/>
                  </a:cubicBezTo>
                  <a:cubicBezTo>
                    <a:pt x="531" y="406"/>
                    <a:pt x="546" y="409"/>
                    <a:pt x="535" y="421"/>
                  </a:cubicBezTo>
                  <a:cubicBezTo>
                    <a:pt x="535" y="422"/>
                    <a:pt x="535" y="422"/>
                    <a:pt x="535" y="423"/>
                  </a:cubicBezTo>
                  <a:cubicBezTo>
                    <a:pt x="533" y="424"/>
                    <a:pt x="533" y="424"/>
                    <a:pt x="533" y="424"/>
                  </a:cubicBezTo>
                  <a:cubicBezTo>
                    <a:pt x="528" y="439"/>
                    <a:pt x="509" y="443"/>
                    <a:pt x="508" y="460"/>
                  </a:cubicBezTo>
                  <a:cubicBezTo>
                    <a:pt x="505" y="474"/>
                    <a:pt x="495" y="482"/>
                    <a:pt x="489" y="492"/>
                  </a:cubicBezTo>
                  <a:cubicBezTo>
                    <a:pt x="482" y="502"/>
                    <a:pt x="483" y="517"/>
                    <a:pt x="471" y="522"/>
                  </a:cubicBezTo>
                  <a:cubicBezTo>
                    <a:pt x="457" y="522"/>
                    <a:pt x="443" y="543"/>
                    <a:pt x="463" y="546"/>
                  </a:cubicBezTo>
                  <a:cubicBezTo>
                    <a:pt x="473" y="550"/>
                    <a:pt x="463" y="569"/>
                    <a:pt x="466" y="578"/>
                  </a:cubicBezTo>
                  <a:cubicBezTo>
                    <a:pt x="464" y="587"/>
                    <a:pt x="456" y="596"/>
                    <a:pt x="469" y="599"/>
                  </a:cubicBezTo>
                  <a:cubicBezTo>
                    <a:pt x="475" y="614"/>
                    <a:pt x="470" y="633"/>
                    <a:pt x="478" y="647"/>
                  </a:cubicBezTo>
                  <a:cubicBezTo>
                    <a:pt x="491" y="655"/>
                    <a:pt x="505" y="664"/>
                    <a:pt x="504" y="681"/>
                  </a:cubicBezTo>
                  <a:cubicBezTo>
                    <a:pt x="513" y="693"/>
                    <a:pt x="501" y="685"/>
                    <a:pt x="499" y="691"/>
                  </a:cubicBezTo>
                  <a:cubicBezTo>
                    <a:pt x="504" y="704"/>
                    <a:pt x="515" y="715"/>
                    <a:pt x="525" y="725"/>
                  </a:cubicBezTo>
                  <a:cubicBezTo>
                    <a:pt x="537" y="735"/>
                    <a:pt x="546" y="750"/>
                    <a:pt x="558" y="757"/>
                  </a:cubicBezTo>
                  <a:cubicBezTo>
                    <a:pt x="569" y="757"/>
                    <a:pt x="573" y="768"/>
                    <a:pt x="579" y="775"/>
                  </a:cubicBezTo>
                  <a:cubicBezTo>
                    <a:pt x="576" y="790"/>
                    <a:pt x="577" y="808"/>
                    <a:pt x="584" y="822"/>
                  </a:cubicBezTo>
                  <a:cubicBezTo>
                    <a:pt x="585" y="824"/>
                    <a:pt x="585" y="824"/>
                    <a:pt x="585" y="824"/>
                  </a:cubicBezTo>
                  <a:cubicBezTo>
                    <a:pt x="586" y="824"/>
                    <a:pt x="586" y="824"/>
                    <a:pt x="586" y="824"/>
                  </a:cubicBezTo>
                  <a:cubicBezTo>
                    <a:pt x="586" y="825"/>
                    <a:pt x="585" y="826"/>
                    <a:pt x="585" y="827"/>
                  </a:cubicBezTo>
                  <a:cubicBezTo>
                    <a:pt x="571" y="827"/>
                    <a:pt x="577" y="847"/>
                    <a:pt x="582" y="856"/>
                  </a:cubicBezTo>
                  <a:cubicBezTo>
                    <a:pt x="585" y="866"/>
                    <a:pt x="572" y="869"/>
                    <a:pt x="570" y="860"/>
                  </a:cubicBezTo>
                  <a:cubicBezTo>
                    <a:pt x="556" y="852"/>
                    <a:pt x="541" y="839"/>
                    <a:pt x="524" y="846"/>
                  </a:cubicBezTo>
                  <a:cubicBezTo>
                    <a:pt x="516" y="848"/>
                    <a:pt x="512" y="833"/>
                    <a:pt x="503" y="842"/>
                  </a:cubicBezTo>
                  <a:cubicBezTo>
                    <a:pt x="498" y="841"/>
                    <a:pt x="491" y="841"/>
                    <a:pt x="488" y="841"/>
                  </a:cubicBezTo>
                  <a:cubicBezTo>
                    <a:pt x="488" y="836"/>
                    <a:pt x="485" y="831"/>
                    <a:pt x="481" y="837"/>
                  </a:cubicBezTo>
                  <a:cubicBezTo>
                    <a:pt x="472" y="833"/>
                    <a:pt x="466" y="824"/>
                    <a:pt x="455" y="830"/>
                  </a:cubicBezTo>
                  <a:cubicBezTo>
                    <a:pt x="441" y="828"/>
                    <a:pt x="426" y="830"/>
                    <a:pt x="411" y="829"/>
                  </a:cubicBezTo>
                  <a:cubicBezTo>
                    <a:pt x="396" y="829"/>
                    <a:pt x="381" y="829"/>
                    <a:pt x="367" y="829"/>
                  </a:cubicBezTo>
                  <a:cubicBezTo>
                    <a:pt x="364" y="812"/>
                    <a:pt x="343" y="826"/>
                    <a:pt x="331" y="823"/>
                  </a:cubicBezTo>
                  <a:cubicBezTo>
                    <a:pt x="316" y="825"/>
                    <a:pt x="301" y="815"/>
                    <a:pt x="285" y="820"/>
                  </a:cubicBezTo>
                  <a:cubicBezTo>
                    <a:pt x="273" y="819"/>
                    <a:pt x="260" y="821"/>
                    <a:pt x="247" y="819"/>
                  </a:cubicBezTo>
                  <a:cubicBezTo>
                    <a:pt x="237" y="817"/>
                    <a:pt x="221" y="815"/>
                    <a:pt x="217" y="828"/>
                  </a:cubicBezTo>
                  <a:cubicBezTo>
                    <a:pt x="217" y="828"/>
                    <a:pt x="217" y="829"/>
                    <a:pt x="217" y="829"/>
                  </a:cubicBezTo>
                  <a:cubicBezTo>
                    <a:pt x="200" y="829"/>
                    <a:pt x="182" y="828"/>
                    <a:pt x="165" y="829"/>
                  </a:cubicBezTo>
                  <a:cubicBezTo>
                    <a:pt x="147" y="827"/>
                    <a:pt x="125" y="832"/>
                    <a:pt x="108" y="826"/>
                  </a:cubicBezTo>
                  <a:cubicBezTo>
                    <a:pt x="102" y="824"/>
                    <a:pt x="99" y="813"/>
                    <a:pt x="97" y="809"/>
                  </a:cubicBezTo>
                  <a:cubicBezTo>
                    <a:pt x="96" y="809"/>
                    <a:pt x="96" y="809"/>
                    <a:pt x="96" y="809"/>
                  </a:cubicBezTo>
                  <a:cubicBezTo>
                    <a:pt x="97" y="794"/>
                    <a:pt x="100" y="780"/>
                    <a:pt x="105" y="766"/>
                  </a:cubicBezTo>
                  <a:cubicBezTo>
                    <a:pt x="107" y="760"/>
                    <a:pt x="105" y="753"/>
                    <a:pt x="110" y="748"/>
                  </a:cubicBezTo>
                  <a:cubicBezTo>
                    <a:pt x="106" y="743"/>
                    <a:pt x="103" y="738"/>
                    <a:pt x="98" y="734"/>
                  </a:cubicBezTo>
                  <a:cubicBezTo>
                    <a:pt x="93" y="730"/>
                    <a:pt x="91" y="723"/>
                    <a:pt x="86" y="718"/>
                  </a:cubicBezTo>
                  <a:cubicBezTo>
                    <a:pt x="83" y="715"/>
                    <a:pt x="82" y="708"/>
                    <a:pt x="88" y="708"/>
                  </a:cubicBezTo>
                  <a:cubicBezTo>
                    <a:pt x="93" y="704"/>
                    <a:pt x="91" y="696"/>
                    <a:pt x="91" y="690"/>
                  </a:cubicBezTo>
                  <a:cubicBezTo>
                    <a:pt x="88" y="686"/>
                    <a:pt x="83" y="687"/>
                    <a:pt x="79" y="688"/>
                  </a:cubicBezTo>
                  <a:cubicBezTo>
                    <a:pt x="76" y="690"/>
                    <a:pt x="76" y="695"/>
                    <a:pt x="70" y="694"/>
                  </a:cubicBezTo>
                  <a:cubicBezTo>
                    <a:pt x="60" y="692"/>
                    <a:pt x="51" y="688"/>
                    <a:pt x="42" y="683"/>
                  </a:cubicBezTo>
                  <a:cubicBezTo>
                    <a:pt x="36" y="674"/>
                    <a:pt x="33" y="663"/>
                    <a:pt x="29" y="653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68" name="Cambodia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6896555" y="4076063"/>
              <a:ext cx="149783" cy="139336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4"/>
                </a:cxn>
                <a:cxn ang="0">
                  <a:pos x="15" y="4"/>
                </a:cxn>
                <a:cxn ang="0">
                  <a:pos x="17" y="4"/>
                </a:cxn>
                <a:cxn ang="0">
                  <a:pos x="21" y="4"/>
                </a:cxn>
                <a:cxn ang="0">
                  <a:pos x="27" y="0"/>
                </a:cxn>
                <a:cxn ang="0">
                  <a:pos x="27" y="13"/>
                </a:cxn>
                <a:cxn ang="0">
                  <a:pos x="21" y="20"/>
                </a:cxn>
                <a:cxn ang="0">
                  <a:pos x="17" y="22"/>
                </a:cxn>
                <a:cxn ang="0">
                  <a:pos x="12" y="25"/>
                </a:cxn>
                <a:cxn ang="0">
                  <a:pos x="6" y="22"/>
                </a:cxn>
                <a:cxn ang="0">
                  <a:pos x="4" y="16"/>
                </a:cxn>
                <a:cxn ang="0">
                  <a:pos x="2" y="13"/>
                </a:cxn>
                <a:cxn ang="0">
                  <a:pos x="0" y="11"/>
                </a:cxn>
              </a:cxnLst>
              <a:rect l="0" t="0" r="r" b="b"/>
              <a:pathLst>
                <a:path w="27" h="25">
                  <a:moveTo>
                    <a:pt x="0" y="11"/>
                  </a:moveTo>
                  <a:lnTo>
                    <a:pt x="4" y="4"/>
                  </a:lnTo>
                  <a:lnTo>
                    <a:pt x="15" y="4"/>
                  </a:lnTo>
                  <a:lnTo>
                    <a:pt x="17" y="4"/>
                  </a:lnTo>
                  <a:lnTo>
                    <a:pt x="21" y="4"/>
                  </a:lnTo>
                  <a:lnTo>
                    <a:pt x="27" y="0"/>
                  </a:lnTo>
                  <a:lnTo>
                    <a:pt x="27" y="13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2" y="25"/>
                  </a:lnTo>
                  <a:lnTo>
                    <a:pt x="6" y="22"/>
                  </a:lnTo>
                  <a:lnTo>
                    <a:pt x="4" y="16"/>
                  </a:lnTo>
                  <a:lnTo>
                    <a:pt x="2" y="13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69" name="Burkina Faso"/>
            <p:cNvSpPr>
              <a:spLocks/>
            </p:cNvSpPr>
            <p:nvPr/>
          </p:nvSpPr>
          <p:spPr bwMode="auto">
            <a:xfrm>
              <a:off x="4074601" y="4059019"/>
              <a:ext cx="213796" cy="190268"/>
            </a:xfrm>
            <a:custGeom>
              <a:avLst/>
              <a:gdLst>
                <a:gd name="T0" fmla="*/ 203 w 587"/>
                <a:gd name="T1" fmla="*/ 425 h 440"/>
                <a:gd name="T2" fmla="*/ 166 w 587"/>
                <a:gd name="T3" fmla="*/ 393 h 440"/>
                <a:gd name="T4" fmla="*/ 166 w 587"/>
                <a:gd name="T5" fmla="*/ 393 h 440"/>
                <a:gd name="T6" fmla="*/ 108 w 587"/>
                <a:gd name="T7" fmla="*/ 398 h 440"/>
                <a:gd name="T8" fmla="*/ 74 w 587"/>
                <a:gd name="T9" fmla="*/ 410 h 440"/>
                <a:gd name="T10" fmla="*/ 52 w 587"/>
                <a:gd name="T11" fmla="*/ 402 h 440"/>
                <a:gd name="T12" fmla="*/ 38 w 587"/>
                <a:gd name="T13" fmla="*/ 383 h 440"/>
                <a:gd name="T14" fmla="*/ 14 w 587"/>
                <a:gd name="T15" fmla="*/ 359 h 440"/>
                <a:gd name="T16" fmla="*/ 3 w 587"/>
                <a:gd name="T17" fmla="*/ 334 h 440"/>
                <a:gd name="T18" fmla="*/ 21 w 587"/>
                <a:gd name="T19" fmla="*/ 287 h 440"/>
                <a:gd name="T20" fmla="*/ 19 w 587"/>
                <a:gd name="T21" fmla="*/ 242 h 440"/>
                <a:gd name="T22" fmla="*/ 77 w 587"/>
                <a:gd name="T23" fmla="*/ 215 h 440"/>
                <a:gd name="T24" fmla="*/ 88 w 587"/>
                <a:gd name="T25" fmla="*/ 206 h 440"/>
                <a:gd name="T26" fmla="*/ 85 w 587"/>
                <a:gd name="T27" fmla="*/ 180 h 440"/>
                <a:gd name="T28" fmla="*/ 105 w 587"/>
                <a:gd name="T29" fmla="*/ 140 h 440"/>
                <a:gd name="T30" fmla="*/ 130 w 587"/>
                <a:gd name="T31" fmla="*/ 127 h 440"/>
                <a:gd name="T32" fmla="*/ 177 w 587"/>
                <a:gd name="T33" fmla="*/ 126 h 440"/>
                <a:gd name="T34" fmla="*/ 204 w 587"/>
                <a:gd name="T35" fmla="*/ 104 h 440"/>
                <a:gd name="T36" fmla="*/ 266 w 587"/>
                <a:gd name="T37" fmla="*/ 70 h 440"/>
                <a:gd name="T38" fmla="*/ 322 w 587"/>
                <a:gd name="T39" fmla="*/ 29 h 440"/>
                <a:gd name="T40" fmla="*/ 395 w 587"/>
                <a:gd name="T41" fmla="*/ 7 h 440"/>
                <a:gd name="T42" fmla="*/ 437 w 587"/>
                <a:gd name="T43" fmla="*/ 16 h 440"/>
                <a:gd name="T44" fmla="*/ 444 w 587"/>
                <a:gd name="T45" fmla="*/ 75 h 440"/>
                <a:gd name="T46" fmla="*/ 473 w 587"/>
                <a:gd name="T47" fmla="*/ 112 h 440"/>
                <a:gd name="T48" fmla="*/ 496 w 587"/>
                <a:gd name="T49" fmla="*/ 137 h 440"/>
                <a:gd name="T50" fmla="*/ 509 w 587"/>
                <a:gd name="T51" fmla="*/ 173 h 440"/>
                <a:gd name="T52" fmla="*/ 576 w 587"/>
                <a:gd name="T53" fmla="*/ 198 h 440"/>
                <a:gd name="T54" fmla="*/ 585 w 587"/>
                <a:gd name="T55" fmla="*/ 244 h 440"/>
                <a:gd name="T56" fmla="*/ 587 w 587"/>
                <a:gd name="T57" fmla="*/ 247 h 440"/>
                <a:gd name="T58" fmla="*/ 524 w 587"/>
                <a:gd name="T59" fmla="*/ 282 h 440"/>
                <a:gd name="T60" fmla="*/ 495 w 587"/>
                <a:gd name="T61" fmla="*/ 293 h 440"/>
                <a:gd name="T62" fmla="*/ 479 w 587"/>
                <a:gd name="T63" fmla="*/ 308 h 440"/>
                <a:gd name="T64" fmla="*/ 448 w 587"/>
                <a:gd name="T65" fmla="*/ 316 h 440"/>
                <a:gd name="T66" fmla="*/ 396 w 587"/>
                <a:gd name="T67" fmla="*/ 301 h 440"/>
                <a:gd name="T68" fmla="*/ 363 w 587"/>
                <a:gd name="T69" fmla="*/ 315 h 440"/>
                <a:gd name="T70" fmla="*/ 311 w 587"/>
                <a:gd name="T71" fmla="*/ 311 h 440"/>
                <a:gd name="T72" fmla="*/ 207 w 587"/>
                <a:gd name="T73" fmla="*/ 310 h 440"/>
                <a:gd name="T74" fmla="*/ 200 w 587"/>
                <a:gd name="T75" fmla="*/ 355 h 440"/>
                <a:gd name="T76" fmla="*/ 197 w 587"/>
                <a:gd name="T77" fmla="*/ 407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7" h="440">
                  <a:moveTo>
                    <a:pt x="205" y="426"/>
                  </a:moveTo>
                  <a:cubicBezTo>
                    <a:pt x="204" y="426"/>
                    <a:pt x="204" y="426"/>
                    <a:pt x="203" y="425"/>
                  </a:cubicBezTo>
                  <a:cubicBezTo>
                    <a:pt x="195" y="440"/>
                    <a:pt x="187" y="417"/>
                    <a:pt x="184" y="409"/>
                  </a:cubicBezTo>
                  <a:cubicBezTo>
                    <a:pt x="178" y="407"/>
                    <a:pt x="168" y="396"/>
                    <a:pt x="166" y="393"/>
                  </a:cubicBezTo>
                  <a:cubicBezTo>
                    <a:pt x="166" y="393"/>
                    <a:pt x="167" y="393"/>
                    <a:pt x="167" y="393"/>
                  </a:cubicBezTo>
                  <a:cubicBezTo>
                    <a:pt x="166" y="392"/>
                    <a:pt x="166" y="392"/>
                    <a:pt x="166" y="393"/>
                  </a:cubicBezTo>
                  <a:cubicBezTo>
                    <a:pt x="159" y="399"/>
                    <a:pt x="151" y="386"/>
                    <a:pt x="141" y="390"/>
                  </a:cubicBezTo>
                  <a:cubicBezTo>
                    <a:pt x="130" y="387"/>
                    <a:pt x="118" y="392"/>
                    <a:pt x="108" y="398"/>
                  </a:cubicBezTo>
                  <a:cubicBezTo>
                    <a:pt x="98" y="397"/>
                    <a:pt x="87" y="403"/>
                    <a:pt x="84" y="413"/>
                  </a:cubicBezTo>
                  <a:cubicBezTo>
                    <a:pt x="78" y="415"/>
                    <a:pt x="81" y="414"/>
                    <a:pt x="74" y="410"/>
                  </a:cubicBezTo>
                  <a:cubicBezTo>
                    <a:pt x="68" y="410"/>
                    <a:pt x="72" y="399"/>
                    <a:pt x="65" y="406"/>
                  </a:cubicBezTo>
                  <a:cubicBezTo>
                    <a:pt x="57" y="407"/>
                    <a:pt x="59" y="410"/>
                    <a:pt x="52" y="402"/>
                  </a:cubicBezTo>
                  <a:cubicBezTo>
                    <a:pt x="52" y="402"/>
                    <a:pt x="51" y="401"/>
                    <a:pt x="51" y="401"/>
                  </a:cubicBezTo>
                  <a:cubicBezTo>
                    <a:pt x="51" y="391"/>
                    <a:pt x="33" y="395"/>
                    <a:pt x="38" y="383"/>
                  </a:cubicBezTo>
                  <a:cubicBezTo>
                    <a:pt x="32" y="371"/>
                    <a:pt x="35" y="380"/>
                    <a:pt x="30" y="370"/>
                  </a:cubicBezTo>
                  <a:cubicBezTo>
                    <a:pt x="29" y="365"/>
                    <a:pt x="24" y="355"/>
                    <a:pt x="14" y="359"/>
                  </a:cubicBezTo>
                  <a:cubicBezTo>
                    <a:pt x="4" y="361"/>
                    <a:pt x="1" y="356"/>
                    <a:pt x="0" y="349"/>
                  </a:cubicBezTo>
                  <a:cubicBezTo>
                    <a:pt x="0" y="344"/>
                    <a:pt x="1" y="338"/>
                    <a:pt x="3" y="334"/>
                  </a:cubicBezTo>
                  <a:cubicBezTo>
                    <a:pt x="6" y="324"/>
                    <a:pt x="9" y="314"/>
                    <a:pt x="3" y="303"/>
                  </a:cubicBezTo>
                  <a:cubicBezTo>
                    <a:pt x="7" y="296"/>
                    <a:pt x="21" y="299"/>
                    <a:pt x="21" y="287"/>
                  </a:cubicBezTo>
                  <a:cubicBezTo>
                    <a:pt x="23" y="276"/>
                    <a:pt x="30" y="266"/>
                    <a:pt x="21" y="256"/>
                  </a:cubicBezTo>
                  <a:cubicBezTo>
                    <a:pt x="23" y="253"/>
                    <a:pt x="21" y="246"/>
                    <a:pt x="19" y="242"/>
                  </a:cubicBezTo>
                  <a:cubicBezTo>
                    <a:pt x="28" y="240"/>
                    <a:pt x="34" y="229"/>
                    <a:pt x="45" y="231"/>
                  </a:cubicBezTo>
                  <a:cubicBezTo>
                    <a:pt x="57" y="231"/>
                    <a:pt x="74" y="227"/>
                    <a:pt x="77" y="215"/>
                  </a:cubicBezTo>
                  <a:cubicBezTo>
                    <a:pt x="78" y="213"/>
                    <a:pt x="85" y="206"/>
                    <a:pt x="88" y="205"/>
                  </a:cubicBezTo>
                  <a:cubicBezTo>
                    <a:pt x="88" y="205"/>
                    <a:pt x="88" y="206"/>
                    <a:pt x="88" y="206"/>
                  </a:cubicBezTo>
                  <a:cubicBezTo>
                    <a:pt x="89" y="204"/>
                    <a:pt x="89" y="204"/>
                    <a:pt x="88" y="205"/>
                  </a:cubicBezTo>
                  <a:cubicBezTo>
                    <a:pt x="85" y="195"/>
                    <a:pt x="95" y="188"/>
                    <a:pt x="85" y="180"/>
                  </a:cubicBezTo>
                  <a:cubicBezTo>
                    <a:pt x="86" y="169"/>
                    <a:pt x="108" y="182"/>
                    <a:pt x="105" y="167"/>
                  </a:cubicBezTo>
                  <a:cubicBezTo>
                    <a:pt x="107" y="156"/>
                    <a:pt x="88" y="143"/>
                    <a:pt x="105" y="140"/>
                  </a:cubicBezTo>
                  <a:cubicBezTo>
                    <a:pt x="108" y="133"/>
                    <a:pt x="119" y="123"/>
                    <a:pt x="125" y="118"/>
                  </a:cubicBezTo>
                  <a:cubicBezTo>
                    <a:pt x="133" y="121"/>
                    <a:pt x="120" y="127"/>
                    <a:pt x="130" y="127"/>
                  </a:cubicBezTo>
                  <a:cubicBezTo>
                    <a:pt x="142" y="126"/>
                    <a:pt x="153" y="151"/>
                    <a:pt x="163" y="139"/>
                  </a:cubicBezTo>
                  <a:cubicBezTo>
                    <a:pt x="163" y="130"/>
                    <a:pt x="181" y="141"/>
                    <a:pt x="177" y="126"/>
                  </a:cubicBezTo>
                  <a:cubicBezTo>
                    <a:pt x="175" y="120"/>
                    <a:pt x="183" y="104"/>
                    <a:pt x="180" y="104"/>
                  </a:cubicBezTo>
                  <a:cubicBezTo>
                    <a:pt x="189" y="104"/>
                    <a:pt x="199" y="115"/>
                    <a:pt x="204" y="104"/>
                  </a:cubicBezTo>
                  <a:cubicBezTo>
                    <a:pt x="201" y="90"/>
                    <a:pt x="210" y="75"/>
                    <a:pt x="224" y="70"/>
                  </a:cubicBezTo>
                  <a:cubicBezTo>
                    <a:pt x="235" y="52"/>
                    <a:pt x="253" y="67"/>
                    <a:pt x="266" y="70"/>
                  </a:cubicBezTo>
                  <a:cubicBezTo>
                    <a:pt x="278" y="65"/>
                    <a:pt x="266" y="41"/>
                    <a:pt x="285" y="46"/>
                  </a:cubicBezTo>
                  <a:cubicBezTo>
                    <a:pt x="299" y="48"/>
                    <a:pt x="309" y="35"/>
                    <a:pt x="322" y="29"/>
                  </a:cubicBezTo>
                  <a:cubicBezTo>
                    <a:pt x="339" y="27"/>
                    <a:pt x="353" y="16"/>
                    <a:pt x="366" y="4"/>
                  </a:cubicBezTo>
                  <a:cubicBezTo>
                    <a:pt x="375" y="0"/>
                    <a:pt x="387" y="3"/>
                    <a:pt x="395" y="7"/>
                  </a:cubicBezTo>
                  <a:cubicBezTo>
                    <a:pt x="404" y="0"/>
                    <a:pt x="411" y="7"/>
                    <a:pt x="420" y="10"/>
                  </a:cubicBezTo>
                  <a:cubicBezTo>
                    <a:pt x="426" y="12"/>
                    <a:pt x="431" y="14"/>
                    <a:pt x="437" y="16"/>
                  </a:cubicBezTo>
                  <a:cubicBezTo>
                    <a:pt x="435" y="21"/>
                    <a:pt x="436" y="30"/>
                    <a:pt x="435" y="35"/>
                  </a:cubicBezTo>
                  <a:cubicBezTo>
                    <a:pt x="420" y="52"/>
                    <a:pt x="456" y="59"/>
                    <a:pt x="444" y="75"/>
                  </a:cubicBezTo>
                  <a:cubicBezTo>
                    <a:pt x="446" y="85"/>
                    <a:pt x="452" y="95"/>
                    <a:pt x="459" y="102"/>
                  </a:cubicBezTo>
                  <a:cubicBezTo>
                    <a:pt x="457" y="111"/>
                    <a:pt x="469" y="108"/>
                    <a:pt x="473" y="112"/>
                  </a:cubicBezTo>
                  <a:cubicBezTo>
                    <a:pt x="488" y="112"/>
                    <a:pt x="488" y="130"/>
                    <a:pt x="501" y="131"/>
                  </a:cubicBezTo>
                  <a:cubicBezTo>
                    <a:pt x="513" y="135"/>
                    <a:pt x="502" y="137"/>
                    <a:pt x="496" y="137"/>
                  </a:cubicBezTo>
                  <a:cubicBezTo>
                    <a:pt x="484" y="127"/>
                    <a:pt x="487" y="148"/>
                    <a:pt x="486" y="155"/>
                  </a:cubicBezTo>
                  <a:cubicBezTo>
                    <a:pt x="492" y="163"/>
                    <a:pt x="503" y="164"/>
                    <a:pt x="509" y="173"/>
                  </a:cubicBezTo>
                  <a:cubicBezTo>
                    <a:pt x="520" y="184"/>
                    <a:pt x="534" y="196"/>
                    <a:pt x="549" y="191"/>
                  </a:cubicBezTo>
                  <a:cubicBezTo>
                    <a:pt x="557" y="178"/>
                    <a:pt x="575" y="185"/>
                    <a:pt x="576" y="198"/>
                  </a:cubicBezTo>
                  <a:cubicBezTo>
                    <a:pt x="586" y="211"/>
                    <a:pt x="559" y="203"/>
                    <a:pt x="565" y="215"/>
                  </a:cubicBezTo>
                  <a:cubicBezTo>
                    <a:pt x="572" y="224"/>
                    <a:pt x="578" y="235"/>
                    <a:pt x="585" y="244"/>
                  </a:cubicBezTo>
                  <a:cubicBezTo>
                    <a:pt x="585" y="245"/>
                    <a:pt x="586" y="245"/>
                    <a:pt x="586" y="245"/>
                  </a:cubicBezTo>
                  <a:cubicBezTo>
                    <a:pt x="587" y="247"/>
                    <a:pt x="587" y="247"/>
                    <a:pt x="587" y="247"/>
                  </a:cubicBezTo>
                  <a:cubicBezTo>
                    <a:pt x="583" y="263"/>
                    <a:pt x="568" y="271"/>
                    <a:pt x="557" y="281"/>
                  </a:cubicBezTo>
                  <a:cubicBezTo>
                    <a:pt x="546" y="280"/>
                    <a:pt x="535" y="284"/>
                    <a:pt x="524" y="282"/>
                  </a:cubicBezTo>
                  <a:cubicBezTo>
                    <a:pt x="517" y="272"/>
                    <a:pt x="504" y="297"/>
                    <a:pt x="505" y="291"/>
                  </a:cubicBezTo>
                  <a:cubicBezTo>
                    <a:pt x="500" y="288"/>
                    <a:pt x="502" y="299"/>
                    <a:pt x="495" y="293"/>
                  </a:cubicBezTo>
                  <a:cubicBezTo>
                    <a:pt x="489" y="294"/>
                    <a:pt x="495" y="302"/>
                    <a:pt x="486" y="303"/>
                  </a:cubicBezTo>
                  <a:cubicBezTo>
                    <a:pt x="491" y="316"/>
                    <a:pt x="484" y="307"/>
                    <a:pt x="479" y="308"/>
                  </a:cubicBezTo>
                  <a:cubicBezTo>
                    <a:pt x="478" y="311"/>
                    <a:pt x="476" y="312"/>
                    <a:pt x="475" y="313"/>
                  </a:cubicBezTo>
                  <a:cubicBezTo>
                    <a:pt x="468" y="316"/>
                    <a:pt x="455" y="310"/>
                    <a:pt x="448" y="316"/>
                  </a:cubicBezTo>
                  <a:cubicBezTo>
                    <a:pt x="436" y="308"/>
                    <a:pt x="419" y="308"/>
                    <a:pt x="405" y="303"/>
                  </a:cubicBezTo>
                  <a:cubicBezTo>
                    <a:pt x="402" y="303"/>
                    <a:pt x="399" y="302"/>
                    <a:pt x="396" y="301"/>
                  </a:cubicBezTo>
                  <a:cubicBezTo>
                    <a:pt x="391" y="300"/>
                    <a:pt x="386" y="298"/>
                    <a:pt x="384" y="305"/>
                  </a:cubicBezTo>
                  <a:cubicBezTo>
                    <a:pt x="375" y="302"/>
                    <a:pt x="372" y="314"/>
                    <a:pt x="363" y="315"/>
                  </a:cubicBezTo>
                  <a:cubicBezTo>
                    <a:pt x="359" y="322"/>
                    <a:pt x="355" y="305"/>
                    <a:pt x="346" y="312"/>
                  </a:cubicBezTo>
                  <a:cubicBezTo>
                    <a:pt x="335" y="309"/>
                    <a:pt x="323" y="311"/>
                    <a:pt x="311" y="311"/>
                  </a:cubicBezTo>
                  <a:cubicBezTo>
                    <a:pt x="295" y="306"/>
                    <a:pt x="280" y="312"/>
                    <a:pt x="263" y="310"/>
                  </a:cubicBezTo>
                  <a:cubicBezTo>
                    <a:pt x="245" y="310"/>
                    <a:pt x="226" y="309"/>
                    <a:pt x="207" y="310"/>
                  </a:cubicBezTo>
                  <a:cubicBezTo>
                    <a:pt x="195" y="306"/>
                    <a:pt x="198" y="322"/>
                    <a:pt x="192" y="329"/>
                  </a:cubicBezTo>
                  <a:cubicBezTo>
                    <a:pt x="187" y="338"/>
                    <a:pt x="193" y="349"/>
                    <a:pt x="200" y="355"/>
                  </a:cubicBezTo>
                  <a:cubicBezTo>
                    <a:pt x="189" y="361"/>
                    <a:pt x="206" y="367"/>
                    <a:pt x="198" y="375"/>
                  </a:cubicBezTo>
                  <a:cubicBezTo>
                    <a:pt x="199" y="386"/>
                    <a:pt x="203" y="397"/>
                    <a:pt x="197" y="407"/>
                  </a:cubicBezTo>
                  <a:cubicBezTo>
                    <a:pt x="200" y="412"/>
                    <a:pt x="206" y="426"/>
                    <a:pt x="205" y="426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70" name="Brunai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7229404" y="4399323"/>
              <a:ext cx="38833" cy="27867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5"/>
                </a:cxn>
                <a:cxn ang="0">
                  <a:pos x="3" y="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0"/>
                </a:cxn>
              </a:cxnLst>
              <a:rect l="0" t="0" r="r" b="b"/>
              <a:pathLst>
                <a:path w="7" h="5">
                  <a:moveTo>
                    <a:pt x="7" y="0"/>
                  </a:moveTo>
                  <a:lnTo>
                    <a:pt x="7" y="5"/>
                  </a:lnTo>
                  <a:lnTo>
                    <a:pt x="3" y="5"/>
                  </a:lnTo>
                  <a:lnTo>
                    <a:pt x="0" y="0"/>
                  </a:lnTo>
                  <a:lnTo>
                    <a:pt x="3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71" name="Burundi"/>
            <p:cNvSpPr>
              <a:spLocks/>
            </p:cNvSpPr>
            <p:nvPr/>
          </p:nvSpPr>
          <p:spPr bwMode="auto">
            <a:xfrm>
              <a:off x="5009958" y="4629823"/>
              <a:ext cx="54153" cy="72602"/>
            </a:xfrm>
            <a:custGeom>
              <a:avLst/>
              <a:gdLst>
                <a:gd name="T0" fmla="*/ 4 w 149"/>
                <a:gd name="T1" fmla="*/ 34 h 168"/>
                <a:gd name="T2" fmla="*/ 9 w 149"/>
                <a:gd name="T3" fmla="*/ 25 h 168"/>
                <a:gd name="T4" fmla="*/ 32 w 149"/>
                <a:gd name="T5" fmla="*/ 41 h 168"/>
                <a:gd name="T6" fmla="*/ 73 w 149"/>
                <a:gd name="T7" fmla="*/ 30 h 168"/>
                <a:gd name="T8" fmla="*/ 77 w 149"/>
                <a:gd name="T9" fmla="*/ 4 h 168"/>
                <a:gd name="T10" fmla="*/ 97 w 149"/>
                <a:gd name="T11" fmla="*/ 6 h 168"/>
                <a:gd name="T12" fmla="*/ 118 w 149"/>
                <a:gd name="T13" fmla="*/ 9 h 168"/>
                <a:gd name="T14" fmla="*/ 122 w 149"/>
                <a:gd name="T15" fmla="*/ 9 h 168"/>
                <a:gd name="T16" fmla="*/ 122 w 149"/>
                <a:gd name="T17" fmla="*/ 10 h 168"/>
                <a:gd name="T18" fmla="*/ 120 w 149"/>
                <a:gd name="T19" fmla="*/ 11 h 168"/>
                <a:gd name="T20" fmla="*/ 120 w 149"/>
                <a:gd name="T21" fmla="*/ 12 h 168"/>
                <a:gd name="T22" fmla="*/ 120 w 149"/>
                <a:gd name="T23" fmla="*/ 12 h 168"/>
                <a:gd name="T24" fmla="*/ 116 w 149"/>
                <a:gd name="T25" fmla="*/ 30 h 168"/>
                <a:gd name="T26" fmla="*/ 113 w 149"/>
                <a:gd name="T27" fmla="*/ 49 h 168"/>
                <a:gd name="T28" fmla="*/ 135 w 149"/>
                <a:gd name="T29" fmla="*/ 55 h 168"/>
                <a:gd name="T30" fmla="*/ 141 w 149"/>
                <a:gd name="T31" fmla="*/ 64 h 168"/>
                <a:gd name="T32" fmla="*/ 127 w 149"/>
                <a:gd name="T33" fmla="*/ 85 h 168"/>
                <a:gd name="T34" fmla="*/ 108 w 149"/>
                <a:gd name="T35" fmla="*/ 112 h 168"/>
                <a:gd name="T36" fmla="*/ 87 w 149"/>
                <a:gd name="T37" fmla="*/ 141 h 168"/>
                <a:gd name="T38" fmla="*/ 60 w 149"/>
                <a:gd name="T39" fmla="*/ 164 h 168"/>
                <a:gd name="T40" fmla="*/ 35 w 149"/>
                <a:gd name="T41" fmla="*/ 164 h 168"/>
                <a:gd name="T42" fmla="*/ 32 w 149"/>
                <a:gd name="T43" fmla="*/ 157 h 168"/>
                <a:gd name="T44" fmla="*/ 20 w 149"/>
                <a:gd name="T45" fmla="*/ 118 h 168"/>
                <a:gd name="T46" fmla="*/ 20 w 149"/>
                <a:gd name="T47" fmla="*/ 83 h 168"/>
                <a:gd name="T48" fmla="*/ 12 w 149"/>
                <a:gd name="T49" fmla="*/ 51 h 168"/>
                <a:gd name="T50" fmla="*/ 5 w 149"/>
                <a:gd name="T51" fmla="*/ 36 h 168"/>
                <a:gd name="T52" fmla="*/ 4 w 149"/>
                <a:gd name="T53" fmla="*/ 3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9" h="168">
                  <a:moveTo>
                    <a:pt x="4" y="34"/>
                  </a:moveTo>
                  <a:cubicBezTo>
                    <a:pt x="7" y="34"/>
                    <a:pt x="8" y="30"/>
                    <a:pt x="9" y="25"/>
                  </a:cubicBezTo>
                  <a:cubicBezTo>
                    <a:pt x="21" y="23"/>
                    <a:pt x="31" y="30"/>
                    <a:pt x="32" y="41"/>
                  </a:cubicBezTo>
                  <a:cubicBezTo>
                    <a:pt x="45" y="39"/>
                    <a:pt x="65" y="44"/>
                    <a:pt x="73" y="30"/>
                  </a:cubicBezTo>
                  <a:cubicBezTo>
                    <a:pt x="77" y="15"/>
                    <a:pt x="67" y="4"/>
                    <a:pt x="77" y="4"/>
                  </a:cubicBezTo>
                  <a:cubicBezTo>
                    <a:pt x="84" y="9"/>
                    <a:pt x="91" y="16"/>
                    <a:pt x="97" y="6"/>
                  </a:cubicBezTo>
                  <a:cubicBezTo>
                    <a:pt x="104" y="5"/>
                    <a:pt x="113" y="0"/>
                    <a:pt x="118" y="9"/>
                  </a:cubicBezTo>
                  <a:cubicBezTo>
                    <a:pt x="119" y="9"/>
                    <a:pt x="120" y="9"/>
                    <a:pt x="122" y="9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20" y="13"/>
                    <a:pt x="107" y="32"/>
                    <a:pt x="116" y="30"/>
                  </a:cubicBezTo>
                  <a:cubicBezTo>
                    <a:pt x="114" y="31"/>
                    <a:pt x="108" y="41"/>
                    <a:pt x="113" y="49"/>
                  </a:cubicBezTo>
                  <a:cubicBezTo>
                    <a:pt x="106" y="49"/>
                    <a:pt x="127" y="50"/>
                    <a:pt x="135" y="55"/>
                  </a:cubicBezTo>
                  <a:cubicBezTo>
                    <a:pt x="144" y="52"/>
                    <a:pt x="137" y="58"/>
                    <a:pt x="141" y="64"/>
                  </a:cubicBezTo>
                  <a:cubicBezTo>
                    <a:pt x="149" y="78"/>
                    <a:pt x="126" y="77"/>
                    <a:pt x="127" y="85"/>
                  </a:cubicBezTo>
                  <a:cubicBezTo>
                    <a:pt x="123" y="95"/>
                    <a:pt x="105" y="97"/>
                    <a:pt x="108" y="112"/>
                  </a:cubicBezTo>
                  <a:cubicBezTo>
                    <a:pt x="99" y="115"/>
                    <a:pt x="94" y="132"/>
                    <a:pt x="87" y="141"/>
                  </a:cubicBezTo>
                  <a:cubicBezTo>
                    <a:pt x="81" y="153"/>
                    <a:pt x="69" y="157"/>
                    <a:pt x="60" y="164"/>
                  </a:cubicBezTo>
                  <a:cubicBezTo>
                    <a:pt x="54" y="166"/>
                    <a:pt x="41" y="168"/>
                    <a:pt x="35" y="164"/>
                  </a:cubicBezTo>
                  <a:cubicBezTo>
                    <a:pt x="34" y="163"/>
                    <a:pt x="32" y="160"/>
                    <a:pt x="32" y="157"/>
                  </a:cubicBezTo>
                  <a:cubicBezTo>
                    <a:pt x="36" y="142"/>
                    <a:pt x="22" y="132"/>
                    <a:pt x="20" y="118"/>
                  </a:cubicBezTo>
                  <a:cubicBezTo>
                    <a:pt x="21" y="107"/>
                    <a:pt x="23" y="95"/>
                    <a:pt x="20" y="83"/>
                  </a:cubicBezTo>
                  <a:cubicBezTo>
                    <a:pt x="18" y="72"/>
                    <a:pt x="26" y="57"/>
                    <a:pt x="12" y="51"/>
                  </a:cubicBezTo>
                  <a:cubicBezTo>
                    <a:pt x="10" y="45"/>
                    <a:pt x="0" y="41"/>
                    <a:pt x="5" y="36"/>
                  </a:cubicBezTo>
                  <a:lnTo>
                    <a:pt x="4" y="3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72" name="Bulgaria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799599" y="3123006"/>
              <a:ext cx="149783" cy="111468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13" y="4"/>
                </a:cxn>
                <a:cxn ang="0">
                  <a:pos x="4" y="4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11"/>
                </a:cxn>
                <a:cxn ang="0">
                  <a:pos x="0" y="13"/>
                </a:cxn>
                <a:cxn ang="0">
                  <a:pos x="2" y="20"/>
                </a:cxn>
                <a:cxn ang="0">
                  <a:pos x="9" y="15"/>
                </a:cxn>
                <a:cxn ang="0">
                  <a:pos x="13" y="20"/>
                </a:cxn>
                <a:cxn ang="0">
                  <a:pos x="17" y="15"/>
                </a:cxn>
                <a:cxn ang="0">
                  <a:pos x="25" y="15"/>
                </a:cxn>
                <a:cxn ang="0">
                  <a:pos x="21" y="11"/>
                </a:cxn>
                <a:cxn ang="0">
                  <a:pos x="25" y="6"/>
                </a:cxn>
                <a:cxn ang="0">
                  <a:pos x="27" y="4"/>
                </a:cxn>
                <a:cxn ang="0">
                  <a:pos x="23" y="2"/>
                </a:cxn>
                <a:cxn ang="0">
                  <a:pos x="19" y="0"/>
                </a:cxn>
              </a:cxnLst>
              <a:rect l="0" t="0" r="r" b="b"/>
              <a:pathLst>
                <a:path w="27" h="20">
                  <a:moveTo>
                    <a:pt x="19" y="0"/>
                  </a:moveTo>
                  <a:lnTo>
                    <a:pt x="13" y="4"/>
                  </a:lnTo>
                  <a:lnTo>
                    <a:pt x="4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2" y="20"/>
                  </a:lnTo>
                  <a:lnTo>
                    <a:pt x="9" y="15"/>
                  </a:lnTo>
                  <a:lnTo>
                    <a:pt x="13" y="20"/>
                  </a:lnTo>
                  <a:lnTo>
                    <a:pt x="17" y="15"/>
                  </a:lnTo>
                  <a:lnTo>
                    <a:pt x="25" y="15"/>
                  </a:lnTo>
                  <a:lnTo>
                    <a:pt x="21" y="11"/>
                  </a:lnTo>
                  <a:lnTo>
                    <a:pt x="25" y="6"/>
                  </a:lnTo>
                  <a:lnTo>
                    <a:pt x="27" y="4"/>
                  </a:lnTo>
                  <a:lnTo>
                    <a:pt x="23" y="2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73" name="Brazil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2314320" y="4388176"/>
              <a:ext cx="1004097" cy="1254024"/>
            </a:xfrm>
            <a:custGeom>
              <a:avLst/>
              <a:gdLst/>
              <a:ahLst/>
              <a:cxnLst>
                <a:cxn ang="0">
                  <a:pos x="96" y="18"/>
                </a:cxn>
                <a:cxn ang="0">
                  <a:pos x="83" y="16"/>
                </a:cxn>
                <a:cxn ang="0">
                  <a:pos x="79" y="18"/>
                </a:cxn>
                <a:cxn ang="0">
                  <a:pos x="68" y="20"/>
                </a:cxn>
                <a:cxn ang="0">
                  <a:pos x="62" y="16"/>
                </a:cxn>
                <a:cxn ang="0">
                  <a:pos x="62" y="0"/>
                </a:cxn>
                <a:cxn ang="0">
                  <a:pos x="60" y="2"/>
                </a:cxn>
                <a:cxn ang="0">
                  <a:pos x="39" y="7"/>
                </a:cxn>
                <a:cxn ang="0">
                  <a:pos x="43" y="16"/>
                </a:cxn>
                <a:cxn ang="0">
                  <a:pos x="37" y="25"/>
                </a:cxn>
                <a:cxn ang="0">
                  <a:pos x="31" y="20"/>
                </a:cxn>
                <a:cxn ang="0">
                  <a:pos x="16" y="20"/>
                </a:cxn>
                <a:cxn ang="0">
                  <a:pos x="20" y="27"/>
                </a:cxn>
                <a:cxn ang="0">
                  <a:pos x="16" y="36"/>
                </a:cxn>
                <a:cxn ang="0">
                  <a:pos x="6" y="59"/>
                </a:cxn>
                <a:cxn ang="0">
                  <a:pos x="0" y="72"/>
                </a:cxn>
                <a:cxn ang="0">
                  <a:pos x="8" y="88"/>
                </a:cxn>
                <a:cxn ang="0">
                  <a:pos x="14" y="92"/>
                </a:cxn>
                <a:cxn ang="0">
                  <a:pos x="25" y="95"/>
                </a:cxn>
                <a:cxn ang="0">
                  <a:pos x="39" y="86"/>
                </a:cxn>
                <a:cxn ang="0">
                  <a:pos x="43" y="101"/>
                </a:cxn>
                <a:cxn ang="0">
                  <a:pos x="64" y="115"/>
                </a:cxn>
                <a:cxn ang="0">
                  <a:pos x="64" y="122"/>
                </a:cxn>
                <a:cxn ang="0">
                  <a:pos x="75" y="129"/>
                </a:cxn>
                <a:cxn ang="0">
                  <a:pos x="77" y="147"/>
                </a:cxn>
                <a:cxn ang="0">
                  <a:pos x="87" y="158"/>
                </a:cxn>
                <a:cxn ang="0">
                  <a:pos x="91" y="167"/>
                </a:cxn>
                <a:cxn ang="0">
                  <a:pos x="96" y="178"/>
                </a:cxn>
                <a:cxn ang="0">
                  <a:pos x="102" y="187"/>
                </a:cxn>
                <a:cxn ang="0">
                  <a:pos x="87" y="205"/>
                </a:cxn>
                <a:cxn ang="0">
                  <a:pos x="96" y="210"/>
                </a:cxn>
                <a:cxn ang="0">
                  <a:pos x="108" y="214"/>
                </a:cxn>
                <a:cxn ang="0">
                  <a:pos x="110" y="225"/>
                </a:cxn>
                <a:cxn ang="0">
                  <a:pos x="118" y="210"/>
                </a:cxn>
                <a:cxn ang="0">
                  <a:pos x="127" y="196"/>
                </a:cxn>
                <a:cxn ang="0">
                  <a:pos x="133" y="171"/>
                </a:cxn>
                <a:cxn ang="0">
                  <a:pos x="139" y="167"/>
                </a:cxn>
                <a:cxn ang="0">
                  <a:pos x="141" y="165"/>
                </a:cxn>
                <a:cxn ang="0">
                  <a:pos x="152" y="162"/>
                </a:cxn>
                <a:cxn ang="0">
                  <a:pos x="158" y="156"/>
                </a:cxn>
                <a:cxn ang="0">
                  <a:pos x="164" y="144"/>
                </a:cxn>
                <a:cxn ang="0">
                  <a:pos x="164" y="131"/>
                </a:cxn>
                <a:cxn ang="0">
                  <a:pos x="179" y="86"/>
                </a:cxn>
                <a:cxn ang="0">
                  <a:pos x="181" y="70"/>
                </a:cxn>
                <a:cxn ang="0">
                  <a:pos x="173" y="59"/>
                </a:cxn>
                <a:cxn ang="0">
                  <a:pos x="150" y="50"/>
                </a:cxn>
                <a:cxn ang="0">
                  <a:pos x="135" y="45"/>
                </a:cxn>
                <a:cxn ang="0">
                  <a:pos x="135" y="38"/>
                </a:cxn>
                <a:cxn ang="0">
                  <a:pos x="131" y="36"/>
                </a:cxn>
                <a:cxn ang="0">
                  <a:pos x="118" y="34"/>
                </a:cxn>
                <a:cxn ang="0">
                  <a:pos x="118" y="29"/>
                </a:cxn>
                <a:cxn ang="0">
                  <a:pos x="108" y="34"/>
                </a:cxn>
                <a:cxn ang="0">
                  <a:pos x="104" y="36"/>
                </a:cxn>
                <a:cxn ang="0">
                  <a:pos x="110" y="25"/>
                </a:cxn>
                <a:cxn ang="0">
                  <a:pos x="108" y="18"/>
                </a:cxn>
                <a:cxn ang="0">
                  <a:pos x="102" y="9"/>
                </a:cxn>
              </a:cxnLst>
              <a:rect l="0" t="0" r="r" b="b"/>
              <a:pathLst>
                <a:path w="181" h="225">
                  <a:moveTo>
                    <a:pt x="102" y="7"/>
                  </a:moveTo>
                  <a:lnTo>
                    <a:pt x="96" y="18"/>
                  </a:lnTo>
                  <a:lnTo>
                    <a:pt x="91" y="18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79" y="18"/>
                  </a:lnTo>
                  <a:lnTo>
                    <a:pt x="77" y="18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2" y="16"/>
                  </a:lnTo>
                  <a:lnTo>
                    <a:pt x="64" y="7"/>
                  </a:lnTo>
                  <a:lnTo>
                    <a:pt x="62" y="0"/>
                  </a:lnTo>
                  <a:lnTo>
                    <a:pt x="60" y="0"/>
                  </a:lnTo>
                  <a:lnTo>
                    <a:pt x="60" y="2"/>
                  </a:lnTo>
                  <a:lnTo>
                    <a:pt x="48" y="9"/>
                  </a:lnTo>
                  <a:lnTo>
                    <a:pt x="39" y="7"/>
                  </a:lnTo>
                  <a:lnTo>
                    <a:pt x="43" y="9"/>
                  </a:lnTo>
                  <a:lnTo>
                    <a:pt x="43" y="16"/>
                  </a:lnTo>
                  <a:lnTo>
                    <a:pt x="45" y="18"/>
                  </a:lnTo>
                  <a:lnTo>
                    <a:pt x="37" y="25"/>
                  </a:lnTo>
                  <a:lnTo>
                    <a:pt x="31" y="25"/>
                  </a:lnTo>
                  <a:lnTo>
                    <a:pt x="31" y="20"/>
                  </a:lnTo>
                  <a:lnTo>
                    <a:pt x="29" y="18"/>
                  </a:lnTo>
                  <a:lnTo>
                    <a:pt x="16" y="20"/>
                  </a:lnTo>
                  <a:lnTo>
                    <a:pt x="16" y="25"/>
                  </a:lnTo>
                  <a:lnTo>
                    <a:pt x="20" y="27"/>
                  </a:lnTo>
                  <a:lnTo>
                    <a:pt x="14" y="27"/>
                  </a:lnTo>
                  <a:lnTo>
                    <a:pt x="16" y="36"/>
                  </a:lnTo>
                  <a:lnTo>
                    <a:pt x="16" y="54"/>
                  </a:lnTo>
                  <a:lnTo>
                    <a:pt x="6" y="59"/>
                  </a:lnTo>
                  <a:lnTo>
                    <a:pt x="4" y="63"/>
                  </a:lnTo>
                  <a:lnTo>
                    <a:pt x="0" y="72"/>
                  </a:lnTo>
                  <a:lnTo>
                    <a:pt x="4" y="81"/>
                  </a:lnTo>
                  <a:lnTo>
                    <a:pt x="8" y="88"/>
                  </a:lnTo>
                  <a:lnTo>
                    <a:pt x="14" y="86"/>
                  </a:lnTo>
                  <a:lnTo>
                    <a:pt x="14" y="92"/>
                  </a:lnTo>
                  <a:lnTo>
                    <a:pt x="20" y="92"/>
                  </a:lnTo>
                  <a:lnTo>
                    <a:pt x="25" y="95"/>
                  </a:lnTo>
                  <a:lnTo>
                    <a:pt x="31" y="86"/>
                  </a:lnTo>
                  <a:lnTo>
                    <a:pt x="39" y="86"/>
                  </a:lnTo>
                  <a:lnTo>
                    <a:pt x="39" y="95"/>
                  </a:lnTo>
                  <a:lnTo>
                    <a:pt x="43" y="101"/>
                  </a:lnTo>
                  <a:lnTo>
                    <a:pt x="62" y="110"/>
                  </a:lnTo>
                  <a:lnTo>
                    <a:pt x="64" y="115"/>
                  </a:lnTo>
                  <a:lnTo>
                    <a:pt x="64" y="119"/>
                  </a:lnTo>
                  <a:lnTo>
                    <a:pt x="64" y="122"/>
                  </a:lnTo>
                  <a:lnTo>
                    <a:pt x="75" y="124"/>
                  </a:lnTo>
                  <a:lnTo>
                    <a:pt x="75" y="129"/>
                  </a:lnTo>
                  <a:lnTo>
                    <a:pt x="79" y="135"/>
                  </a:lnTo>
                  <a:lnTo>
                    <a:pt x="77" y="147"/>
                  </a:lnTo>
                  <a:lnTo>
                    <a:pt x="79" y="156"/>
                  </a:lnTo>
                  <a:lnTo>
                    <a:pt x="87" y="158"/>
                  </a:lnTo>
                  <a:lnTo>
                    <a:pt x="91" y="158"/>
                  </a:lnTo>
                  <a:lnTo>
                    <a:pt x="91" y="167"/>
                  </a:lnTo>
                  <a:lnTo>
                    <a:pt x="96" y="167"/>
                  </a:lnTo>
                  <a:lnTo>
                    <a:pt x="96" y="178"/>
                  </a:lnTo>
                  <a:lnTo>
                    <a:pt x="100" y="178"/>
                  </a:lnTo>
                  <a:lnTo>
                    <a:pt x="102" y="187"/>
                  </a:lnTo>
                  <a:lnTo>
                    <a:pt x="100" y="189"/>
                  </a:lnTo>
                  <a:lnTo>
                    <a:pt x="87" y="205"/>
                  </a:lnTo>
                  <a:lnTo>
                    <a:pt x="91" y="205"/>
                  </a:lnTo>
                  <a:lnTo>
                    <a:pt x="96" y="210"/>
                  </a:lnTo>
                  <a:lnTo>
                    <a:pt x="96" y="207"/>
                  </a:lnTo>
                  <a:lnTo>
                    <a:pt x="108" y="214"/>
                  </a:lnTo>
                  <a:lnTo>
                    <a:pt x="110" y="221"/>
                  </a:lnTo>
                  <a:lnTo>
                    <a:pt x="110" y="225"/>
                  </a:lnTo>
                  <a:lnTo>
                    <a:pt x="114" y="216"/>
                  </a:lnTo>
                  <a:lnTo>
                    <a:pt x="118" y="210"/>
                  </a:lnTo>
                  <a:lnTo>
                    <a:pt x="123" y="201"/>
                  </a:lnTo>
                  <a:lnTo>
                    <a:pt x="127" y="196"/>
                  </a:lnTo>
                  <a:lnTo>
                    <a:pt x="125" y="180"/>
                  </a:lnTo>
                  <a:lnTo>
                    <a:pt x="133" y="171"/>
                  </a:lnTo>
                  <a:lnTo>
                    <a:pt x="135" y="167"/>
                  </a:lnTo>
                  <a:lnTo>
                    <a:pt x="139" y="167"/>
                  </a:lnTo>
                  <a:lnTo>
                    <a:pt x="139" y="165"/>
                  </a:lnTo>
                  <a:lnTo>
                    <a:pt x="141" y="165"/>
                  </a:lnTo>
                  <a:lnTo>
                    <a:pt x="141" y="162"/>
                  </a:lnTo>
                  <a:lnTo>
                    <a:pt x="152" y="162"/>
                  </a:lnTo>
                  <a:lnTo>
                    <a:pt x="152" y="158"/>
                  </a:lnTo>
                  <a:lnTo>
                    <a:pt x="158" y="156"/>
                  </a:lnTo>
                  <a:lnTo>
                    <a:pt x="158" y="153"/>
                  </a:lnTo>
                  <a:lnTo>
                    <a:pt x="164" y="144"/>
                  </a:lnTo>
                  <a:lnTo>
                    <a:pt x="164" y="135"/>
                  </a:lnTo>
                  <a:lnTo>
                    <a:pt x="164" y="131"/>
                  </a:lnTo>
                  <a:lnTo>
                    <a:pt x="164" y="106"/>
                  </a:lnTo>
                  <a:lnTo>
                    <a:pt x="179" y="86"/>
                  </a:lnTo>
                  <a:lnTo>
                    <a:pt x="181" y="77"/>
                  </a:lnTo>
                  <a:lnTo>
                    <a:pt x="181" y="70"/>
                  </a:lnTo>
                  <a:lnTo>
                    <a:pt x="179" y="61"/>
                  </a:lnTo>
                  <a:lnTo>
                    <a:pt x="173" y="59"/>
                  </a:lnTo>
                  <a:lnTo>
                    <a:pt x="158" y="45"/>
                  </a:lnTo>
                  <a:lnTo>
                    <a:pt x="150" y="50"/>
                  </a:lnTo>
                  <a:lnTo>
                    <a:pt x="141" y="43"/>
                  </a:lnTo>
                  <a:lnTo>
                    <a:pt x="135" y="45"/>
                  </a:lnTo>
                  <a:lnTo>
                    <a:pt x="135" y="43"/>
                  </a:lnTo>
                  <a:lnTo>
                    <a:pt x="135" y="38"/>
                  </a:lnTo>
                  <a:lnTo>
                    <a:pt x="133" y="38"/>
                  </a:lnTo>
                  <a:lnTo>
                    <a:pt x="131" y="36"/>
                  </a:lnTo>
                  <a:lnTo>
                    <a:pt x="123" y="34"/>
                  </a:lnTo>
                  <a:lnTo>
                    <a:pt x="118" y="34"/>
                  </a:lnTo>
                  <a:lnTo>
                    <a:pt x="116" y="38"/>
                  </a:lnTo>
                  <a:lnTo>
                    <a:pt x="118" y="29"/>
                  </a:lnTo>
                  <a:lnTo>
                    <a:pt x="116" y="29"/>
                  </a:lnTo>
                  <a:lnTo>
                    <a:pt x="108" y="34"/>
                  </a:lnTo>
                  <a:lnTo>
                    <a:pt x="108" y="38"/>
                  </a:lnTo>
                  <a:lnTo>
                    <a:pt x="104" y="36"/>
                  </a:lnTo>
                  <a:lnTo>
                    <a:pt x="104" y="29"/>
                  </a:lnTo>
                  <a:lnTo>
                    <a:pt x="110" y="25"/>
                  </a:lnTo>
                  <a:lnTo>
                    <a:pt x="110" y="20"/>
                  </a:lnTo>
                  <a:lnTo>
                    <a:pt x="108" y="18"/>
                  </a:lnTo>
                  <a:lnTo>
                    <a:pt x="104" y="9"/>
                  </a:lnTo>
                  <a:lnTo>
                    <a:pt x="102" y="9"/>
                  </a:lnTo>
                  <a:lnTo>
                    <a:pt x="102" y="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74" name="Botswana"/>
            <p:cNvSpPr>
              <a:spLocks/>
            </p:cNvSpPr>
            <p:nvPr/>
          </p:nvSpPr>
          <p:spPr bwMode="auto">
            <a:xfrm>
              <a:off x="4755372" y="5134701"/>
              <a:ext cx="244740" cy="292912"/>
            </a:xfrm>
            <a:custGeom>
              <a:avLst/>
              <a:gdLst>
                <a:gd name="T0" fmla="*/ 399 w 673"/>
                <a:gd name="T1" fmla="*/ 4 h 680"/>
                <a:gd name="T2" fmla="*/ 396 w 673"/>
                <a:gd name="T3" fmla="*/ 16 h 680"/>
                <a:gd name="T4" fmla="*/ 420 w 673"/>
                <a:gd name="T5" fmla="*/ 54 h 680"/>
                <a:gd name="T6" fmla="*/ 443 w 673"/>
                <a:gd name="T7" fmla="*/ 87 h 680"/>
                <a:gd name="T8" fmla="*/ 452 w 673"/>
                <a:gd name="T9" fmla="*/ 122 h 680"/>
                <a:gd name="T10" fmla="*/ 468 w 673"/>
                <a:gd name="T11" fmla="*/ 140 h 680"/>
                <a:gd name="T12" fmla="*/ 475 w 673"/>
                <a:gd name="T13" fmla="*/ 148 h 680"/>
                <a:gd name="T14" fmla="*/ 515 w 673"/>
                <a:gd name="T15" fmla="*/ 169 h 680"/>
                <a:gd name="T16" fmla="*/ 515 w 673"/>
                <a:gd name="T17" fmla="*/ 169 h 680"/>
                <a:gd name="T18" fmla="*/ 534 w 673"/>
                <a:gd name="T19" fmla="*/ 194 h 680"/>
                <a:gd name="T20" fmla="*/ 559 w 673"/>
                <a:gd name="T21" fmla="*/ 207 h 680"/>
                <a:gd name="T22" fmla="*/ 559 w 673"/>
                <a:gd name="T23" fmla="*/ 251 h 680"/>
                <a:gd name="T24" fmla="*/ 579 w 673"/>
                <a:gd name="T25" fmla="*/ 287 h 680"/>
                <a:gd name="T26" fmla="*/ 621 w 673"/>
                <a:gd name="T27" fmla="*/ 294 h 680"/>
                <a:gd name="T28" fmla="*/ 652 w 673"/>
                <a:gd name="T29" fmla="*/ 307 h 680"/>
                <a:gd name="T30" fmla="*/ 663 w 673"/>
                <a:gd name="T31" fmla="*/ 328 h 680"/>
                <a:gd name="T32" fmla="*/ 673 w 673"/>
                <a:gd name="T33" fmla="*/ 335 h 680"/>
                <a:gd name="T34" fmla="*/ 672 w 673"/>
                <a:gd name="T35" fmla="*/ 337 h 680"/>
                <a:gd name="T36" fmla="*/ 640 w 673"/>
                <a:gd name="T37" fmla="*/ 353 h 680"/>
                <a:gd name="T38" fmla="*/ 605 w 673"/>
                <a:gd name="T39" fmla="*/ 364 h 680"/>
                <a:gd name="T40" fmla="*/ 574 w 673"/>
                <a:gd name="T41" fmla="*/ 386 h 680"/>
                <a:gd name="T42" fmla="*/ 555 w 673"/>
                <a:gd name="T43" fmla="*/ 405 h 680"/>
                <a:gd name="T44" fmla="*/ 538 w 673"/>
                <a:gd name="T45" fmla="*/ 419 h 680"/>
                <a:gd name="T46" fmla="*/ 511 w 673"/>
                <a:gd name="T47" fmla="*/ 432 h 680"/>
                <a:gd name="T48" fmla="*/ 496 w 673"/>
                <a:gd name="T49" fmla="*/ 443 h 680"/>
                <a:gd name="T50" fmla="*/ 483 w 673"/>
                <a:gd name="T51" fmla="*/ 486 h 680"/>
                <a:gd name="T52" fmla="*/ 452 w 673"/>
                <a:gd name="T53" fmla="*/ 511 h 680"/>
                <a:gd name="T54" fmla="*/ 413 w 673"/>
                <a:gd name="T55" fmla="*/ 522 h 680"/>
                <a:gd name="T56" fmla="*/ 397 w 673"/>
                <a:gd name="T57" fmla="*/ 571 h 680"/>
                <a:gd name="T58" fmla="*/ 354 w 673"/>
                <a:gd name="T59" fmla="*/ 594 h 680"/>
                <a:gd name="T60" fmla="*/ 315 w 673"/>
                <a:gd name="T61" fmla="*/ 594 h 680"/>
                <a:gd name="T62" fmla="*/ 291 w 673"/>
                <a:gd name="T63" fmla="*/ 584 h 680"/>
                <a:gd name="T64" fmla="*/ 251 w 673"/>
                <a:gd name="T65" fmla="*/ 565 h 680"/>
                <a:gd name="T66" fmla="*/ 210 w 673"/>
                <a:gd name="T67" fmla="*/ 559 h 680"/>
                <a:gd name="T68" fmla="*/ 194 w 673"/>
                <a:gd name="T69" fmla="*/ 587 h 680"/>
                <a:gd name="T70" fmla="*/ 183 w 673"/>
                <a:gd name="T71" fmla="*/ 615 h 680"/>
                <a:gd name="T72" fmla="*/ 156 w 673"/>
                <a:gd name="T73" fmla="*/ 635 h 680"/>
                <a:gd name="T74" fmla="*/ 124 w 673"/>
                <a:gd name="T75" fmla="*/ 658 h 680"/>
                <a:gd name="T76" fmla="*/ 108 w 673"/>
                <a:gd name="T77" fmla="*/ 672 h 680"/>
                <a:gd name="T78" fmla="*/ 63 w 673"/>
                <a:gd name="T79" fmla="*/ 668 h 680"/>
                <a:gd name="T80" fmla="*/ 40 w 673"/>
                <a:gd name="T81" fmla="*/ 664 h 680"/>
                <a:gd name="T82" fmla="*/ 51 w 673"/>
                <a:gd name="T83" fmla="*/ 630 h 680"/>
                <a:gd name="T84" fmla="*/ 48 w 673"/>
                <a:gd name="T85" fmla="*/ 585 h 680"/>
                <a:gd name="T86" fmla="*/ 37 w 673"/>
                <a:gd name="T87" fmla="*/ 555 h 680"/>
                <a:gd name="T88" fmla="*/ 18 w 673"/>
                <a:gd name="T89" fmla="*/ 528 h 680"/>
                <a:gd name="T90" fmla="*/ 3 w 673"/>
                <a:gd name="T91" fmla="*/ 515 h 680"/>
                <a:gd name="T92" fmla="*/ 2 w 673"/>
                <a:gd name="T93" fmla="*/ 483 h 680"/>
                <a:gd name="T94" fmla="*/ 7 w 673"/>
                <a:gd name="T95" fmla="*/ 311 h 680"/>
                <a:gd name="T96" fmla="*/ 78 w 673"/>
                <a:gd name="T97" fmla="*/ 312 h 680"/>
                <a:gd name="T98" fmla="*/ 83 w 673"/>
                <a:gd name="T99" fmla="*/ 163 h 680"/>
                <a:gd name="T100" fmla="*/ 82 w 673"/>
                <a:gd name="T101" fmla="*/ 163 h 680"/>
                <a:gd name="T102" fmla="*/ 85 w 673"/>
                <a:gd name="T103" fmla="*/ 52 h 680"/>
                <a:gd name="T104" fmla="*/ 113 w 673"/>
                <a:gd name="T105" fmla="*/ 37 h 680"/>
                <a:gd name="T106" fmla="*/ 202 w 673"/>
                <a:gd name="T107" fmla="*/ 22 h 680"/>
                <a:gd name="T108" fmla="*/ 254 w 673"/>
                <a:gd name="T109" fmla="*/ 17 h 680"/>
                <a:gd name="T110" fmla="*/ 271 w 673"/>
                <a:gd name="T111" fmla="*/ 43 h 680"/>
                <a:gd name="T112" fmla="*/ 298 w 673"/>
                <a:gd name="T113" fmla="*/ 32 h 680"/>
                <a:gd name="T114" fmla="*/ 336 w 673"/>
                <a:gd name="T115" fmla="*/ 14 h 680"/>
                <a:gd name="T116" fmla="*/ 355 w 673"/>
                <a:gd name="T117" fmla="*/ 11 h 680"/>
                <a:gd name="T118" fmla="*/ 388 w 673"/>
                <a:gd name="T119" fmla="*/ 2 h 680"/>
                <a:gd name="T120" fmla="*/ 395 w 673"/>
                <a:gd name="T121" fmla="*/ 2 h 680"/>
                <a:gd name="T122" fmla="*/ 399 w 673"/>
                <a:gd name="T123" fmla="*/ 4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3" h="680">
                  <a:moveTo>
                    <a:pt x="399" y="4"/>
                  </a:moveTo>
                  <a:cubicBezTo>
                    <a:pt x="395" y="5"/>
                    <a:pt x="393" y="11"/>
                    <a:pt x="396" y="16"/>
                  </a:cubicBezTo>
                  <a:cubicBezTo>
                    <a:pt x="407" y="27"/>
                    <a:pt x="410" y="42"/>
                    <a:pt x="420" y="54"/>
                  </a:cubicBezTo>
                  <a:cubicBezTo>
                    <a:pt x="434" y="62"/>
                    <a:pt x="429" y="79"/>
                    <a:pt x="443" y="87"/>
                  </a:cubicBezTo>
                  <a:cubicBezTo>
                    <a:pt x="442" y="100"/>
                    <a:pt x="448" y="110"/>
                    <a:pt x="452" y="122"/>
                  </a:cubicBezTo>
                  <a:cubicBezTo>
                    <a:pt x="451" y="134"/>
                    <a:pt x="463" y="134"/>
                    <a:pt x="468" y="140"/>
                  </a:cubicBezTo>
                  <a:cubicBezTo>
                    <a:pt x="472" y="143"/>
                    <a:pt x="473" y="145"/>
                    <a:pt x="475" y="148"/>
                  </a:cubicBezTo>
                  <a:cubicBezTo>
                    <a:pt x="488" y="155"/>
                    <a:pt x="499" y="169"/>
                    <a:pt x="515" y="169"/>
                  </a:cubicBezTo>
                  <a:cubicBezTo>
                    <a:pt x="515" y="169"/>
                    <a:pt x="515" y="169"/>
                    <a:pt x="515" y="169"/>
                  </a:cubicBezTo>
                  <a:cubicBezTo>
                    <a:pt x="526" y="175"/>
                    <a:pt x="535" y="179"/>
                    <a:pt x="534" y="194"/>
                  </a:cubicBezTo>
                  <a:cubicBezTo>
                    <a:pt x="526" y="213"/>
                    <a:pt x="549" y="202"/>
                    <a:pt x="559" y="207"/>
                  </a:cubicBezTo>
                  <a:cubicBezTo>
                    <a:pt x="568" y="218"/>
                    <a:pt x="558" y="236"/>
                    <a:pt x="559" y="251"/>
                  </a:cubicBezTo>
                  <a:cubicBezTo>
                    <a:pt x="569" y="261"/>
                    <a:pt x="575" y="274"/>
                    <a:pt x="579" y="287"/>
                  </a:cubicBezTo>
                  <a:cubicBezTo>
                    <a:pt x="594" y="289"/>
                    <a:pt x="607" y="295"/>
                    <a:pt x="621" y="294"/>
                  </a:cubicBezTo>
                  <a:cubicBezTo>
                    <a:pt x="631" y="300"/>
                    <a:pt x="643" y="303"/>
                    <a:pt x="652" y="307"/>
                  </a:cubicBezTo>
                  <a:cubicBezTo>
                    <a:pt x="647" y="317"/>
                    <a:pt x="650" y="329"/>
                    <a:pt x="663" y="328"/>
                  </a:cubicBezTo>
                  <a:cubicBezTo>
                    <a:pt x="665" y="332"/>
                    <a:pt x="669" y="334"/>
                    <a:pt x="673" y="335"/>
                  </a:cubicBezTo>
                  <a:cubicBezTo>
                    <a:pt x="672" y="337"/>
                    <a:pt x="672" y="337"/>
                    <a:pt x="672" y="337"/>
                  </a:cubicBezTo>
                  <a:cubicBezTo>
                    <a:pt x="659" y="335"/>
                    <a:pt x="642" y="338"/>
                    <a:pt x="640" y="353"/>
                  </a:cubicBezTo>
                  <a:cubicBezTo>
                    <a:pt x="629" y="358"/>
                    <a:pt x="617" y="364"/>
                    <a:pt x="605" y="364"/>
                  </a:cubicBezTo>
                  <a:cubicBezTo>
                    <a:pt x="590" y="363"/>
                    <a:pt x="583" y="377"/>
                    <a:pt x="574" y="386"/>
                  </a:cubicBezTo>
                  <a:cubicBezTo>
                    <a:pt x="567" y="392"/>
                    <a:pt x="564" y="401"/>
                    <a:pt x="555" y="405"/>
                  </a:cubicBezTo>
                  <a:cubicBezTo>
                    <a:pt x="553" y="414"/>
                    <a:pt x="537" y="406"/>
                    <a:pt x="538" y="419"/>
                  </a:cubicBezTo>
                  <a:cubicBezTo>
                    <a:pt x="530" y="426"/>
                    <a:pt x="518" y="423"/>
                    <a:pt x="511" y="432"/>
                  </a:cubicBezTo>
                  <a:cubicBezTo>
                    <a:pt x="504" y="433"/>
                    <a:pt x="503" y="444"/>
                    <a:pt x="496" y="443"/>
                  </a:cubicBezTo>
                  <a:cubicBezTo>
                    <a:pt x="490" y="457"/>
                    <a:pt x="488" y="472"/>
                    <a:pt x="483" y="486"/>
                  </a:cubicBezTo>
                  <a:cubicBezTo>
                    <a:pt x="471" y="492"/>
                    <a:pt x="460" y="501"/>
                    <a:pt x="452" y="511"/>
                  </a:cubicBezTo>
                  <a:cubicBezTo>
                    <a:pt x="439" y="514"/>
                    <a:pt x="426" y="518"/>
                    <a:pt x="413" y="522"/>
                  </a:cubicBezTo>
                  <a:cubicBezTo>
                    <a:pt x="412" y="539"/>
                    <a:pt x="402" y="555"/>
                    <a:pt x="397" y="571"/>
                  </a:cubicBezTo>
                  <a:cubicBezTo>
                    <a:pt x="391" y="589"/>
                    <a:pt x="371" y="600"/>
                    <a:pt x="354" y="594"/>
                  </a:cubicBezTo>
                  <a:cubicBezTo>
                    <a:pt x="342" y="595"/>
                    <a:pt x="327" y="605"/>
                    <a:pt x="315" y="594"/>
                  </a:cubicBezTo>
                  <a:cubicBezTo>
                    <a:pt x="304" y="595"/>
                    <a:pt x="297" y="591"/>
                    <a:pt x="291" y="584"/>
                  </a:cubicBezTo>
                  <a:cubicBezTo>
                    <a:pt x="273" y="591"/>
                    <a:pt x="264" y="573"/>
                    <a:pt x="251" y="565"/>
                  </a:cubicBezTo>
                  <a:cubicBezTo>
                    <a:pt x="239" y="553"/>
                    <a:pt x="224" y="556"/>
                    <a:pt x="210" y="559"/>
                  </a:cubicBezTo>
                  <a:cubicBezTo>
                    <a:pt x="201" y="566"/>
                    <a:pt x="196" y="577"/>
                    <a:pt x="194" y="587"/>
                  </a:cubicBezTo>
                  <a:cubicBezTo>
                    <a:pt x="188" y="597"/>
                    <a:pt x="191" y="606"/>
                    <a:pt x="183" y="615"/>
                  </a:cubicBezTo>
                  <a:cubicBezTo>
                    <a:pt x="176" y="626"/>
                    <a:pt x="165" y="627"/>
                    <a:pt x="156" y="635"/>
                  </a:cubicBezTo>
                  <a:cubicBezTo>
                    <a:pt x="145" y="641"/>
                    <a:pt x="142" y="663"/>
                    <a:pt x="124" y="658"/>
                  </a:cubicBezTo>
                  <a:cubicBezTo>
                    <a:pt x="117" y="661"/>
                    <a:pt x="121" y="675"/>
                    <a:pt x="108" y="672"/>
                  </a:cubicBezTo>
                  <a:cubicBezTo>
                    <a:pt x="93" y="665"/>
                    <a:pt x="77" y="677"/>
                    <a:pt x="63" y="668"/>
                  </a:cubicBezTo>
                  <a:cubicBezTo>
                    <a:pt x="55" y="664"/>
                    <a:pt x="42" y="680"/>
                    <a:pt x="40" y="664"/>
                  </a:cubicBezTo>
                  <a:cubicBezTo>
                    <a:pt x="40" y="651"/>
                    <a:pt x="38" y="638"/>
                    <a:pt x="51" y="630"/>
                  </a:cubicBezTo>
                  <a:cubicBezTo>
                    <a:pt x="62" y="617"/>
                    <a:pt x="56" y="598"/>
                    <a:pt x="48" y="585"/>
                  </a:cubicBezTo>
                  <a:cubicBezTo>
                    <a:pt x="46" y="572"/>
                    <a:pt x="45" y="566"/>
                    <a:pt x="37" y="555"/>
                  </a:cubicBezTo>
                  <a:cubicBezTo>
                    <a:pt x="32" y="546"/>
                    <a:pt x="28" y="534"/>
                    <a:pt x="18" y="528"/>
                  </a:cubicBezTo>
                  <a:cubicBezTo>
                    <a:pt x="9" y="526"/>
                    <a:pt x="5" y="521"/>
                    <a:pt x="3" y="515"/>
                  </a:cubicBezTo>
                  <a:cubicBezTo>
                    <a:pt x="0" y="506"/>
                    <a:pt x="2" y="493"/>
                    <a:pt x="2" y="483"/>
                  </a:cubicBezTo>
                  <a:cubicBezTo>
                    <a:pt x="4" y="426"/>
                    <a:pt x="5" y="368"/>
                    <a:pt x="7" y="311"/>
                  </a:cubicBezTo>
                  <a:cubicBezTo>
                    <a:pt x="31" y="311"/>
                    <a:pt x="55" y="312"/>
                    <a:pt x="78" y="312"/>
                  </a:cubicBezTo>
                  <a:cubicBezTo>
                    <a:pt x="80" y="262"/>
                    <a:pt x="81" y="213"/>
                    <a:pt x="83" y="163"/>
                  </a:cubicBezTo>
                  <a:cubicBezTo>
                    <a:pt x="82" y="163"/>
                    <a:pt x="82" y="163"/>
                    <a:pt x="82" y="163"/>
                  </a:cubicBezTo>
                  <a:cubicBezTo>
                    <a:pt x="83" y="126"/>
                    <a:pt x="84" y="89"/>
                    <a:pt x="85" y="52"/>
                  </a:cubicBezTo>
                  <a:cubicBezTo>
                    <a:pt x="79" y="32"/>
                    <a:pt x="101" y="38"/>
                    <a:pt x="113" y="37"/>
                  </a:cubicBezTo>
                  <a:cubicBezTo>
                    <a:pt x="143" y="34"/>
                    <a:pt x="172" y="27"/>
                    <a:pt x="202" y="22"/>
                  </a:cubicBezTo>
                  <a:cubicBezTo>
                    <a:pt x="219" y="21"/>
                    <a:pt x="237" y="12"/>
                    <a:pt x="254" y="17"/>
                  </a:cubicBezTo>
                  <a:cubicBezTo>
                    <a:pt x="256" y="28"/>
                    <a:pt x="270" y="31"/>
                    <a:pt x="271" y="43"/>
                  </a:cubicBezTo>
                  <a:cubicBezTo>
                    <a:pt x="274" y="62"/>
                    <a:pt x="292" y="38"/>
                    <a:pt x="298" y="32"/>
                  </a:cubicBezTo>
                  <a:cubicBezTo>
                    <a:pt x="311" y="25"/>
                    <a:pt x="322" y="14"/>
                    <a:pt x="336" y="14"/>
                  </a:cubicBezTo>
                  <a:cubicBezTo>
                    <a:pt x="339" y="26"/>
                    <a:pt x="350" y="18"/>
                    <a:pt x="355" y="11"/>
                  </a:cubicBezTo>
                  <a:cubicBezTo>
                    <a:pt x="364" y="1"/>
                    <a:pt x="377" y="5"/>
                    <a:pt x="388" y="2"/>
                  </a:cubicBezTo>
                  <a:cubicBezTo>
                    <a:pt x="391" y="0"/>
                    <a:pt x="395" y="2"/>
                    <a:pt x="395" y="2"/>
                  </a:cubicBezTo>
                  <a:lnTo>
                    <a:pt x="399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75" name="Bosnia and Herzegovina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4638721" y="3095139"/>
              <a:ext cx="94308" cy="89175"/>
            </a:xfrm>
            <a:custGeom>
              <a:avLst/>
              <a:gdLst/>
              <a:ahLst/>
              <a:cxnLst>
                <a:cxn ang="0">
                  <a:pos x="15" y="2"/>
                </a:cxn>
                <a:cxn ang="0">
                  <a:pos x="15" y="5"/>
                </a:cxn>
                <a:cxn ang="0">
                  <a:pos x="17" y="9"/>
                </a:cxn>
                <a:cxn ang="0">
                  <a:pos x="15" y="9"/>
                </a:cxn>
                <a:cxn ang="0">
                  <a:pos x="10" y="11"/>
                </a:cxn>
                <a:cxn ang="0">
                  <a:pos x="10" y="16"/>
                </a:cxn>
                <a:cxn ang="0">
                  <a:pos x="2" y="5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5" y="2"/>
                </a:cxn>
              </a:cxnLst>
              <a:rect l="0" t="0" r="r" b="b"/>
              <a:pathLst>
                <a:path w="17" h="16">
                  <a:moveTo>
                    <a:pt x="15" y="2"/>
                  </a:moveTo>
                  <a:lnTo>
                    <a:pt x="15" y="5"/>
                  </a:lnTo>
                  <a:lnTo>
                    <a:pt x="17" y="9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10" y="16"/>
                  </a:lnTo>
                  <a:lnTo>
                    <a:pt x="2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76" name="Bolivia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425269" y="4867492"/>
              <a:ext cx="327302" cy="423581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5" y="9"/>
                </a:cxn>
                <a:cxn ang="0">
                  <a:pos x="11" y="0"/>
                </a:cxn>
                <a:cxn ang="0">
                  <a:pos x="19" y="0"/>
                </a:cxn>
                <a:cxn ang="0">
                  <a:pos x="19" y="9"/>
                </a:cxn>
                <a:cxn ang="0">
                  <a:pos x="23" y="15"/>
                </a:cxn>
                <a:cxn ang="0">
                  <a:pos x="42" y="24"/>
                </a:cxn>
                <a:cxn ang="0">
                  <a:pos x="44" y="29"/>
                </a:cxn>
                <a:cxn ang="0">
                  <a:pos x="44" y="33"/>
                </a:cxn>
                <a:cxn ang="0">
                  <a:pos x="44" y="36"/>
                </a:cxn>
                <a:cxn ang="0">
                  <a:pos x="55" y="38"/>
                </a:cxn>
                <a:cxn ang="0">
                  <a:pos x="55" y="43"/>
                </a:cxn>
                <a:cxn ang="0">
                  <a:pos x="59" y="49"/>
                </a:cxn>
                <a:cxn ang="0">
                  <a:pos x="57" y="61"/>
                </a:cxn>
                <a:cxn ang="0">
                  <a:pos x="55" y="54"/>
                </a:cxn>
                <a:cxn ang="0">
                  <a:pos x="40" y="58"/>
                </a:cxn>
                <a:cxn ang="0">
                  <a:pos x="36" y="72"/>
                </a:cxn>
                <a:cxn ang="0">
                  <a:pos x="32" y="72"/>
                </a:cxn>
                <a:cxn ang="0">
                  <a:pos x="23" y="70"/>
                </a:cxn>
                <a:cxn ang="0">
                  <a:pos x="17" y="76"/>
                </a:cxn>
                <a:cxn ang="0">
                  <a:pos x="15" y="76"/>
                </a:cxn>
                <a:cxn ang="0">
                  <a:pos x="9" y="61"/>
                </a:cxn>
                <a:cxn ang="0">
                  <a:pos x="9" y="54"/>
                </a:cxn>
                <a:cxn ang="0">
                  <a:pos x="2" y="45"/>
                </a:cxn>
                <a:cxn ang="0">
                  <a:pos x="5" y="38"/>
                </a:cxn>
                <a:cxn ang="0">
                  <a:pos x="2" y="36"/>
                </a:cxn>
                <a:cxn ang="0">
                  <a:pos x="2" y="15"/>
                </a:cxn>
                <a:cxn ang="0">
                  <a:pos x="0" y="11"/>
                </a:cxn>
                <a:cxn ang="0">
                  <a:pos x="0" y="6"/>
                </a:cxn>
              </a:cxnLst>
              <a:rect l="0" t="0" r="r" b="b"/>
              <a:pathLst>
                <a:path w="59" h="76">
                  <a:moveTo>
                    <a:pt x="0" y="6"/>
                  </a:moveTo>
                  <a:lnTo>
                    <a:pt x="5" y="9"/>
                  </a:lnTo>
                  <a:lnTo>
                    <a:pt x="11" y="0"/>
                  </a:lnTo>
                  <a:lnTo>
                    <a:pt x="19" y="0"/>
                  </a:lnTo>
                  <a:lnTo>
                    <a:pt x="19" y="9"/>
                  </a:lnTo>
                  <a:lnTo>
                    <a:pt x="23" y="15"/>
                  </a:lnTo>
                  <a:lnTo>
                    <a:pt x="42" y="24"/>
                  </a:lnTo>
                  <a:lnTo>
                    <a:pt x="44" y="29"/>
                  </a:lnTo>
                  <a:lnTo>
                    <a:pt x="44" y="33"/>
                  </a:lnTo>
                  <a:lnTo>
                    <a:pt x="44" y="36"/>
                  </a:lnTo>
                  <a:lnTo>
                    <a:pt x="55" y="38"/>
                  </a:lnTo>
                  <a:lnTo>
                    <a:pt x="55" y="43"/>
                  </a:lnTo>
                  <a:lnTo>
                    <a:pt x="59" y="49"/>
                  </a:lnTo>
                  <a:lnTo>
                    <a:pt x="57" y="61"/>
                  </a:lnTo>
                  <a:lnTo>
                    <a:pt x="55" y="54"/>
                  </a:lnTo>
                  <a:lnTo>
                    <a:pt x="40" y="58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3" y="70"/>
                  </a:lnTo>
                  <a:lnTo>
                    <a:pt x="17" y="76"/>
                  </a:lnTo>
                  <a:lnTo>
                    <a:pt x="15" y="76"/>
                  </a:lnTo>
                  <a:lnTo>
                    <a:pt x="9" y="61"/>
                  </a:lnTo>
                  <a:lnTo>
                    <a:pt x="9" y="54"/>
                  </a:lnTo>
                  <a:lnTo>
                    <a:pt x="2" y="45"/>
                  </a:lnTo>
                  <a:lnTo>
                    <a:pt x="5" y="38"/>
                  </a:lnTo>
                  <a:lnTo>
                    <a:pt x="2" y="36"/>
                  </a:lnTo>
                  <a:lnTo>
                    <a:pt x="2" y="15"/>
                  </a:lnTo>
                  <a:lnTo>
                    <a:pt x="0" y="11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77" name="Bhutan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6502681" y="3635762"/>
              <a:ext cx="83212" cy="50161"/>
            </a:xfrm>
            <a:custGeom>
              <a:avLst/>
              <a:gdLst/>
              <a:ahLst/>
              <a:cxnLst>
                <a:cxn ang="0">
                  <a:pos x="12" y="5"/>
                </a:cxn>
                <a:cxn ang="0">
                  <a:pos x="4" y="0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4" y="9"/>
                </a:cxn>
                <a:cxn ang="0">
                  <a:pos x="15" y="9"/>
                </a:cxn>
                <a:cxn ang="0">
                  <a:pos x="15" y="7"/>
                </a:cxn>
                <a:cxn ang="0">
                  <a:pos x="12" y="7"/>
                </a:cxn>
                <a:cxn ang="0">
                  <a:pos x="12" y="5"/>
                </a:cxn>
              </a:cxnLst>
              <a:rect l="0" t="0" r="r" b="b"/>
              <a:pathLst>
                <a:path w="15" h="9">
                  <a:moveTo>
                    <a:pt x="12" y="5"/>
                  </a:moveTo>
                  <a:lnTo>
                    <a:pt x="4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15" y="9"/>
                  </a:lnTo>
                  <a:lnTo>
                    <a:pt x="15" y="7"/>
                  </a:lnTo>
                  <a:lnTo>
                    <a:pt x="12" y="7"/>
                  </a:lnTo>
                  <a:lnTo>
                    <a:pt x="12" y="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78" name="Benin"/>
            <p:cNvSpPr>
              <a:spLocks/>
            </p:cNvSpPr>
            <p:nvPr/>
          </p:nvSpPr>
          <p:spPr bwMode="auto">
            <a:xfrm>
              <a:off x="4242684" y="4148311"/>
              <a:ext cx="84393" cy="204454"/>
            </a:xfrm>
            <a:custGeom>
              <a:avLst/>
              <a:gdLst>
                <a:gd name="T0" fmla="*/ 60 w 231"/>
                <a:gd name="T1" fmla="*/ 469 h 474"/>
                <a:gd name="T2" fmla="*/ 59 w 231"/>
                <a:gd name="T3" fmla="*/ 445 h 474"/>
                <a:gd name="T4" fmla="*/ 52 w 231"/>
                <a:gd name="T5" fmla="*/ 413 h 474"/>
                <a:gd name="T6" fmla="*/ 58 w 231"/>
                <a:gd name="T7" fmla="*/ 393 h 474"/>
                <a:gd name="T8" fmla="*/ 59 w 231"/>
                <a:gd name="T9" fmla="*/ 348 h 474"/>
                <a:gd name="T10" fmla="*/ 60 w 231"/>
                <a:gd name="T11" fmla="*/ 301 h 474"/>
                <a:gd name="T12" fmla="*/ 60 w 231"/>
                <a:gd name="T13" fmla="*/ 262 h 474"/>
                <a:gd name="T14" fmla="*/ 43 w 231"/>
                <a:gd name="T15" fmla="*/ 222 h 474"/>
                <a:gd name="T16" fmla="*/ 35 w 231"/>
                <a:gd name="T17" fmla="*/ 179 h 474"/>
                <a:gd name="T18" fmla="*/ 1 w 231"/>
                <a:gd name="T19" fmla="*/ 153 h 474"/>
                <a:gd name="T20" fmla="*/ 13 w 231"/>
                <a:gd name="T21" fmla="*/ 107 h 474"/>
                <a:gd name="T22" fmla="*/ 13 w 231"/>
                <a:gd name="T23" fmla="*/ 107 h 474"/>
                <a:gd name="T24" fmla="*/ 17 w 231"/>
                <a:gd name="T25" fmla="*/ 102 h 474"/>
                <a:gd name="T26" fmla="*/ 24 w 231"/>
                <a:gd name="T27" fmla="*/ 97 h 474"/>
                <a:gd name="T28" fmla="*/ 33 w 231"/>
                <a:gd name="T29" fmla="*/ 87 h 474"/>
                <a:gd name="T30" fmla="*/ 43 w 231"/>
                <a:gd name="T31" fmla="*/ 85 h 474"/>
                <a:gd name="T32" fmla="*/ 62 w 231"/>
                <a:gd name="T33" fmla="*/ 76 h 474"/>
                <a:gd name="T34" fmla="*/ 95 w 231"/>
                <a:gd name="T35" fmla="*/ 75 h 474"/>
                <a:gd name="T36" fmla="*/ 125 w 231"/>
                <a:gd name="T37" fmla="*/ 41 h 474"/>
                <a:gd name="T38" fmla="*/ 124 w 231"/>
                <a:gd name="T39" fmla="*/ 39 h 474"/>
                <a:gd name="T40" fmla="*/ 126 w 231"/>
                <a:gd name="T41" fmla="*/ 28 h 474"/>
                <a:gd name="T42" fmla="*/ 145 w 231"/>
                <a:gd name="T43" fmla="*/ 10 h 474"/>
                <a:gd name="T44" fmla="*/ 171 w 231"/>
                <a:gd name="T45" fmla="*/ 15 h 474"/>
                <a:gd name="T46" fmla="*/ 206 w 231"/>
                <a:gd name="T47" fmla="*/ 47 h 474"/>
                <a:gd name="T48" fmla="*/ 214 w 231"/>
                <a:gd name="T49" fmla="*/ 55 h 474"/>
                <a:gd name="T50" fmla="*/ 213 w 231"/>
                <a:gd name="T51" fmla="*/ 57 h 474"/>
                <a:gd name="T52" fmla="*/ 209 w 231"/>
                <a:gd name="T53" fmla="*/ 85 h 474"/>
                <a:gd name="T54" fmla="*/ 222 w 231"/>
                <a:gd name="T55" fmla="*/ 123 h 474"/>
                <a:gd name="T56" fmla="*/ 224 w 231"/>
                <a:gd name="T57" fmla="*/ 153 h 474"/>
                <a:gd name="T58" fmla="*/ 209 w 231"/>
                <a:gd name="T59" fmla="*/ 164 h 474"/>
                <a:gd name="T60" fmla="*/ 211 w 231"/>
                <a:gd name="T61" fmla="*/ 183 h 474"/>
                <a:gd name="T62" fmla="*/ 189 w 231"/>
                <a:gd name="T63" fmla="*/ 202 h 474"/>
                <a:gd name="T64" fmla="*/ 182 w 231"/>
                <a:gd name="T65" fmla="*/ 217 h 474"/>
                <a:gd name="T66" fmla="*/ 174 w 231"/>
                <a:gd name="T67" fmla="*/ 243 h 474"/>
                <a:gd name="T68" fmla="*/ 146 w 231"/>
                <a:gd name="T69" fmla="*/ 262 h 474"/>
                <a:gd name="T70" fmla="*/ 144 w 231"/>
                <a:gd name="T71" fmla="*/ 297 h 474"/>
                <a:gd name="T72" fmla="*/ 138 w 231"/>
                <a:gd name="T73" fmla="*/ 341 h 474"/>
                <a:gd name="T74" fmla="*/ 145 w 231"/>
                <a:gd name="T75" fmla="*/ 375 h 474"/>
                <a:gd name="T76" fmla="*/ 140 w 231"/>
                <a:gd name="T77" fmla="*/ 414 h 474"/>
                <a:gd name="T78" fmla="*/ 138 w 231"/>
                <a:gd name="T79" fmla="*/ 463 h 474"/>
                <a:gd name="T80" fmla="*/ 138 w 231"/>
                <a:gd name="T81" fmla="*/ 464 h 474"/>
                <a:gd name="T82" fmla="*/ 100 w 231"/>
                <a:gd name="T83" fmla="*/ 467 h 474"/>
                <a:gd name="T84" fmla="*/ 58 w 231"/>
                <a:gd name="T85" fmla="*/ 474 h 474"/>
                <a:gd name="T86" fmla="*/ 58 w 231"/>
                <a:gd name="T87" fmla="*/ 473 h 474"/>
                <a:gd name="T88" fmla="*/ 57 w 231"/>
                <a:gd name="T89" fmla="*/ 470 h 474"/>
                <a:gd name="T90" fmla="*/ 60 w 231"/>
                <a:gd name="T91" fmla="*/ 4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31" h="474">
                  <a:moveTo>
                    <a:pt x="60" y="469"/>
                  </a:moveTo>
                  <a:cubicBezTo>
                    <a:pt x="74" y="467"/>
                    <a:pt x="67" y="452"/>
                    <a:pt x="59" y="445"/>
                  </a:cubicBezTo>
                  <a:cubicBezTo>
                    <a:pt x="48" y="437"/>
                    <a:pt x="60" y="424"/>
                    <a:pt x="52" y="413"/>
                  </a:cubicBezTo>
                  <a:cubicBezTo>
                    <a:pt x="61" y="412"/>
                    <a:pt x="58" y="400"/>
                    <a:pt x="58" y="393"/>
                  </a:cubicBezTo>
                  <a:cubicBezTo>
                    <a:pt x="60" y="378"/>
                    <a:pt x="59" y="363"/>
                    <a:pt x="59" y="348"/>
                  </a:cubicBezTo>
                  <a:cubicBezTo>
                    <a:pt x="60" y="333"/>
                    <a:pt x="59" y="316"/>
                    <a:pt x="60" y="301"/>
                  </a:cubicBezTo>
                  <a:cubicBezTo>
                    <a:pt x="59" y="288"/>
                    <a:pt x="60" y="275"/>
                    <a:pt x="60" y="262"/>
                  </a:cubicBezTo>
                  <a:cubicBezTo>
                    <a:pt x="63" y="245"/>
                    <a:pt x="42" y="239"/>
                    <a:pt x="43" y="222"/>
                  </a:cubicBezTo>
                  <a:cubicBezTo>
                    <a:pt x="38" y="210"/>
                    <a:pt x="51" y="187"/>
                    <a:pt x="35" y="179"/>
                  </a:cubicBezTo>
                  <a:cubicBezTo>
                    <a:pt x="24" y="170"/>
                    <a:pt x="10" y="164"/>
                    <a:pt x="1" y="153"/>
                  </a:cubicBezTo>
                  <a:cubicBezTo>
                    <a:pt x="0" y="136"/>
                    <a:pt x="9" y="123"/>
                    <a:pt x="13" y="107"/>
                  </a:cubicBezTo>
                  <a:cubicBezTo>
                    <a:pt x="13" y="107"/>
                    <a:pt x="13" y="107"/>
                    <a:pt x="13" y="107"/>
                  </a:cubicBezTo>
                  <a:cubicBezTo>
                    <a:pt x="14" y="106"/>
                    <a:pt x="16" y="105"/>
                    <a:pt x="17" y="102"/>
                  </a:cubicBezTo>
                  <a:cubicBezTo>
                    <a:pt x="22" y="101"/>
                    <a:pt x="29" y="110"/>
                    <a:pt x="24" y="97"/>
                  </a:cubicBezTo>
                  <a:cubicBezTo>
                    <a:pt x="33" y="96"/>
                    <a:pt x="27" y="88"/>
                    <a:pt x="33" y="87"/>
                  </a:cubicBezTo>
                  <a:cubicBezTo>
                    <a:pt x="40" y="93"/>
                    <a:pt x="38" y="82"/>
                    <a:pt x="43" y="85"/>
                  </a:cubicBezTo>
                  <a:cubicBezTo>
                    <a:pt x="42" y="91"/>
                    <a:pt x="55" y="66"/>
                    <a:pt x="62" y="76"/>
                  </a:cubicBezTo>
                  <a:cubicBezTo>
                    <a:pt x="73" y="78"/>
                    <a:pt x="84" y="74"/>
                    <a:pt x="95" y="75"/>
                  </a:cubicBezTo>
                  <a:cubicBezTo>
                    <a:pt x="106" y="65"/>
                    <a:pt x="121" y="57"/>
                    <a:pt x="125" y="41"/>
                  </a:cubicBezTo>
                  <a:cubicBezTo>
                    <a:pt x="124" y="39"/>
                    <a:pt x="124" y="39"/>
                    <a:pt x="124" y="39"/>
                  </a:cubicBezTo>
                  <a:cubicBezTo>
                    <a:pt x="127" y="39"/>
                    <a:pt x="131" y="31"/>
                    <a:pt x="126" y="28"/>
                  </a:cubicBezTo>
                  <a:cubicBezTo>
                    <a:pt x="117" y="13"/>
                    <a:pt x="135" y="11"/>
                    <a:pt x="145" y="10"/>
                  </a:cubicBezTo>
                  <a:cubicBezTo>
                    <a:pt x="154" y="0"/>
                    <a:pt x="165" y="5"/>
                    <a:pt x="171" y="15"/>
                  </a:cubicBezTo>
                  <a:cubicBezTo>
                    <a:pt x="185" y="25"/>
                    <a:pt x="189" y="43"/>
                    <a:pt x="206" y="47"/>
                  </a:cubicBezTo>
                  <a:cubicBezTo>
                    <a:pt x="206" y="52"/>
                    <a:pt x="210" y="54"/>
                    <a:pt x="214" y="55"/>
                  </a:cubicBezTo>
                  <a:cubicBezTo>
                    <a:pt x="213" y="57"/>
                    <a:pt x="213" y="57"/>
                    <a:pt x="213" y="57"/>
                  </a:cubicBezTo>
                  <a:cubicBezTo>
                    <a:pt x="207" y="65"/>
                    <a:pt x="199" y="77"/>
                    <a:pt x="209" y="85"/>
                  </a:cubicBezTo>
                  <a:cubicBezTo>
                    <a:pt x="218" y="96"/>
                    <a:pt x="226" y="109"/>
                    <a:pt x="222" y="123"/>
                  </a:cubicBezTo>
                  <a:cubicBezTo>
                    <a:pt x="230" y="132"/>
                    <a:pt x="231" y="143"/>
                    <a:pt x="224" y="153"/>
                  </a:cubicBezTo>
                  <a:cubicBezTo>
                    <a:pt x="217" y="149"/>
                    <a:pt x="210" y="156"/>
                    <a:pt x="209" y="164"/>
                  </a:cubicBezTo>
                  <a:cubicBezTo>
                    <a:pt x="215" y="170"/>
                    <a:pt x="217" y="177"/>
                    <a:pt x="211" y="183"/>
                  </a:cubicBezTo>
                  <a:cubicBezTo>
                    <a:pt x="212" y="199"/>
                    <a:pt x="194" y="193"/>
                    <a:pt x="189" y="202"/>
                  </a:cubicBezTo>
                  <a:cubicBezTo>
                    <a:pt x="195" y="210"/>
                    <a:pt x="183" y="210"/>
                    <a:pt x="182" y="217"/>
                  </a:cubicBezTo>
                  <a:cubicBezTo>
                    <a:pt x="172" y="223"/>
                    <a:pt x="177" y="233"/>
                    <a:pt x="174" y="243"/>
                  </a:cubicBezTo>
                  <a:cubicBezTo>
                    <a:pt x="174" y="262"/>
                    <a:pt x="149" y="248"/>
                    <a:pt x="146" y="262"/>
                  </a:cubicBezTo>
                  <a:cubicBezTo>
                    <a:pt x="144" y="274"/>
                    <a:pt x="143" y="285"/>
                    <a:pt x="144" y="297"/>
                  </a:cubicBezTo>
                  <a:cubicBezTo>
                    <a:pt x="138" y="312"/>
                    <a:pt x="144" y="327"/>
                    <a:pt x="138" y="341"/>
                  </a:cubicBezTo>
                  <a:cubicBezTo>
                    <a:pt x="144" y="353"/>
                    <a:pt x="137" y="365"/>
                    <a:pt x="145" y="375"/>
                  </a:cubicBezTo>
                  <a:cubicBezTo>
                    <a:pt x="138" y="387"/>
                    <a:pt x="147" y="403"/>
                    <a:pt x="140" y="414"/>
                  </a:cubicBezTo>
                  <a:cubicBezTo>
                    <a:pt x="145" y="430"/>
                    <a:pt x="140" y="447"/>
                    <a:pt x="138" y="463"/>
                  </a:cubicBezTo>
                  <a:cubicBezTo>
                    <a:pt x="138" y="464"/>
                    <a:pt x="138" y="464"/>
                    <a:pt x="138" y="464"/>
                  </a:cubicBezTo>
                  <a:cubicBezTo>
                    <a:pt x="125" y="465"/>
                    <a:pt x="113" y="467"/>
                    <a:pt x="100" y="467"/>
                  </a:cubicBezTo>
                  <a:cubicBezTo>
                    <a:pt x="86" y="467"/>
                    <a:pt x="72" y="470"/>
                    <a:pt x="58" y="474"/>
                  </a:cubicBezTo>
                  <a:cubicBezTo>
                    <a:pt x="58" y="473"/>
                    <a:pt x="58" y="473"/>
                    <a:pt x="58" y="473"/>
                  </a:cubicBezTo>
                  <a:cubicBezTo>
                    <a:pt x="57" y="470"/>
                    <a:pt x="57" y="470"/>
                    <a:pt x="57" y="470"/>
                  </a:cubicBezTo>
                  <a:lnTo>
                    <a:pt x="60" y="46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79" name="Belize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 rot="5400000">
              <a:off x="1912788" y="3992462"/>
              <a:ext cx="44380" cy="111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8" h="2">
                  <a:moveTo>
                    <a:pt x="0" y="0"/>
                  </a:moveTo>
                  <a:lnTo>
                    <a:pt x="2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80" name="Belgium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4339157" y="2905642"/>
              <a:ext cx="77665" cy="50161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8" y="0"/>
                </a:cxn>
                <a:cxn ang="0">
                  <a:pos x="14" y="3"/>
                </a:cxn>
                <a:cxn ang="0">
                  <a:pos x="14" y="7"/>
                </a:cxn>
                <a:cxn ang="0">
                  <a:pos x="12" y="9"/>
                </a:cxn>
                <a:cxn ang="0">
                  <a:pos x="8" y="9"/>
                </a:cxn>
                <a:cxn ang="0">
                  <a:pos x="8" y="7"/>
                </a:cxn>
                <a:cxn ang="0">
                  <a:pos x="6" y="9"/>
                </a:cxn>
                <a:cxn ang="0">
                  <a:pos x="0" y="3"/>
                </a:cxn>
                <a:cxn ang="0">
                  <a:pos x="2" y="3"/>
                </a:cxn>
                <a:cxn ang="0">
                  <a:pos x="4" y="0"/>
                </a:cxn>
              </a:cxnLst>
              <a:rect l="0" t="0" r="r" b="b"/>
              <a:pathLst>
                <a:path w="14" h="9">
                  <a:moveTo>
                    <a:pt x="4" y="0"/>
                  </a:moveTo>
                  <a:lnTo>
                    <a:pt x="8" y="0"/>
                  </a:lnTo>
                  <a:lnTo>
                    <a:pt x="14" y="3"/>
                  </a:lnTo>
                  <a:lnTo>
                    <a:pt x="14" y="7"/>
                  </a:lnTo>
                  <a:lnTo>
                    <a:pt x="12" y="9"/>
                  </a:lnTo>
                  <a:lnTo>
                    <a:pt x="8" y="9"/>
                  </a:lnTo>
                  <a:lnTo>
                    <a:pt x="8" y="7"/>
                  </a:lnTo>
                  <a:lnTo>
                    <a:pt x="6" y="9"/>
                  </a:lnTo>
                  <a:lnTo>
                    <a:pt x="0" y="3"/>
                  </a:lnTo>
                  <a:lnTo>
                    <a:pt x="2" y="3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81" name="Belarus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4799599" y="2755159"/>
              <a:ext cx="199710" cy="150483"/>
            </a:xfrm>
            <a:custGeom>
              <a:avLst/>
              <a:gdLst/>
              <a:ahLst/>
              <a:cxnLst>
                <a:cxn ang="0">
                  <a:pos x="2" y="18"/>
                </a:cxn>
                <a:cxn ang="0">
                  <a:pos x="0" y="25"/>
                </a:cxn>
                <a:cxn ang="0">
                  <a:pos x="2" y="27"/>
                </a:cxn>
                <a:cxn ang="0">
                  <a:pos x="11" y="25"/>
                </a:cxn>
                <a:cxn ang="0">
                  <a:pos x="19" y="27"/>
                </a:cxn>
                <a:cxn ang="0">
                  <a:pos x="25" y="27"/>
                </a:cxn>
                <a:cxn ang="0">
                  <a:pos x="29" y="27"/>
                </a:cxn>
                <a:cxn ang="0">
                  <a:pos x="29" y="25"/>
                </a:cxn>
                <a:cxn ang="0">
                  <a:pos x="34" y="25"/>
                </a:cxn>
                <a:cxn ang="0">
                  <a:pos x="29" y="18"/>
                </a:cxn>
                <a:cxn ang="0">
                  <a:pos x="36" y="18"/>
                </a:cxn>
                <a:cxn ang="0">
                  <a:pos x="36" y="14"/>
                </a:cxn>
                <a:cxn ang="0">
                  <a:pos x="34" y="14"/>
                </a:cxn>
                <a:cxn ang="0">
                  <a:pos x="29" y="9"/>
                </a:cxn>
                <a:cxn ang="0">
                  <a:pos x="27" y="3"/>
                </a:cxn>
                <a:cxn ang="0">
                  <a:pos x="19" y="0"/>
                </a:cxn>
                <a:cxn ang="0">
                  <a:pos x="13" y="3"/>
                </a:cxn>
                <a:cxn ang="0">
                  <a:pos x="13" y="5"/>
                </a:cxn>
                <a:cxn ang="0">
                  <a:pos x="9" y="9"/>
                </a:cxn>
                <a:cxn ang="0">
                  <a:pos x="11" y="12"/>
                </a:cxn>
                <a:cxn ang="0">
                  <a:pos x="0" y="12"/>
                </a:cxn>
                <a:cxn ang="0">
                  <a:pos x="0" y="16"/>
                </a:cxn>
                <a:cxn ang="0">
                  <a:pos x="2" y="18"/>
                </a:cxn>
              </a:cxnLst>
              <a:rect l="0" t="0" r="r" b="b"/>
              <a:pathLst>
                <a:path w="36" h="27">
                  <a:moveTo>
                    <a:pt x="2" y="18"/>
                  </a:moveTo>
                  <a:lnTo>
                    <a:pt x="0" y="25"/>
                  </a:lnTo>
                  <a:lnTo>
                    <a:pt x="2" y="27"/>
                  </a:lnTo>
                  <a:lnTo>
                    <a:pt x="11" y="25"/>
                  </a:lnTo>
                  <a:lnTo>
                    <a:pt x="19" y="27"/>
                  </a:lnTo>
                  <a:lnTo>
                    <a:pt x="25" y="27"/>
                  </a:lnTo>
                  <a:lnTo>
                    <a:pt x="29" y="27"/>
                  </a:lnTo>
                  <a:lnTo>
                    <a:pt x="29" y="25"/>
                  </a:lnTo>
                  <a:lnTo>
                    <a:pt x="34" y="25"/>
                  </a:lnTo>
                  <a:lnTo>
                    <a:pt x="29" y="18"/>
                  </a:lnTo>
                  <a:lnTo>
                    <a:pt x="36" y="18"/>
                  </a:lnTo>
                  <a:lnTo>
                    <a:pt x="36" y="14"/>
                  </a:lnTo>
                  <a:lnTo>
                    <a:pt x="34" y="14"/>
                  </a:lnTo>
                  <a:lnTo>
                    <a:pt x="29" y="9"/>
                  </a:lnTo>
                  <a:lnTo>
                    <a:pt x="27" y="3"/>
                  </a:lnTo>
                  <a:lnTo>
                    <a:pt x="19" y="0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9" y="9"/>
                  </a:lnTo>
                  <a:lnTo>
                    <a:pt x="11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182" name="Barbados"/>
            <p:cNvGrpSpPr/>
            <p:nvPr/>
          </p:nvGrpSpPr>
          <p:grpSpPr>
            <a:xfrm>
              <a:off x="3239852" y="4432044"/>
              <a:ext cx="66570" cy="222546"/>
              <a:chOff x="3239852" y="4432044"/>
              <a:chExt cx="66570" cy="222546"/>
            </a:xfrm>
            <a:grpFill/>
          </p:grpSpPr>
          <p:sp>
            <p:nvSpPr>
              <p:cNvPr id="226" name="Barbados"/>
              <p:cNvSpPr>
                <a:spLocks/>
              </p:cNvSpPr>
              <p:nvPr>
                <p:custDataLst>
                  <p:tags r:id="rId135"/>
                </p:custDataLst>
              </p:nvPr>
            </p:nvSpPr>
            <p:spPr bwMode="auto">
              <a:xfrm>
                <a:off x="3239852" y="4432044"/>
                <a:ext cx="44380" cy="1114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2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lnTo>
                      <a:pt x="4" y="2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27" name="Barbados"/>
              <p:cNvSpPr>
                <a:spLocks/>
              </p:cNvSpPr>
              <p:nvPr>
                <p:custDataLst>
                  <p:tags r:id="rId136"/>
                </p:custDataLst>
              </p:nvPr>
            </p:nvSpPr>
            <p:spPr bwMode="auto">
              <a:xfrm>
                <a:off x="3259514" y="4643443"/>
                <a:ext cx="44380" cy="1114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2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lnTo>
                      <a:pt x="4" y="2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28" name="Barbados"/>
              <p:cNvSpPr>
                <a:spLocks/>
              </p:cNvSpPr>
              <p:nvPr>
                <p:custDataLst>
                  <p:tags r:id="rId137"/>
                </p:custDataLst>
              </p:nvPr>
            </p:nvSpPr>
            <p:spPr bwMode="auto">
              <a:xfrm>
                <a:off x="3262042" y="4556083"/>
                <a:ext cx="44380" cy="1114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2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lnTo>
                      <a:pt x="4" y="2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183" name="Bangladesch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6491587" y="3713790"/>
              <a:ext cx="127592" cy="161630"/>
            </a:xfrm>
            <a:custGeom>
              <a:avLst/>
              <a:gdLst/>
              <a:ahLst/>
              <a:cxnLst>
                <a:cxn ang="0">
                  <a:pos x="2" y="11"/>
                </a:cxn>
                <a:cxn ang="0">
                  <a:pos x="0" y="9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6" y="0"/>
                </a:cxn>
                <a:cxn ang="0">
                  <a:pos x="8" y="4"/>
                </a:cxn>
                <a:cxn ang="0">
                  <a:pos x="21" y="4"/>
                </a:cxn>
                <a:cxn ang="0">
                  <a:pos x="14" y="11"/>
                </a:cxn>
                <a:cxn ang="0">
                  <a:pos x="14" y="13"/>
                </a:cxn>
                <a:cxn ang="0">
                  <a:pos x="21" y="18"/>
                </a:cxn>
                <a:cxn ang="0">
                  <a:pos x="21" y="13"/>
                </a:cxn>
                <a:cxn ang="0">
                  <a:pos x="23" y="22"/>
                </a:cxn>
                <a:cxn ang="0">
                  <a:pos x="23" y="29"/>
                </a:cxn>
                <a:cxn ang="0">
                  <a:pos x="17" y="20"/>
                </a:cxn>
                <a:cxn ang="0">
                  <a:pos x="14" y="27"/>
                </a:cxn>
                <a:cxn ang="0">
                  <a:pos x="6" y="27"/>
                </a:cxn>
                <a:cxn ang="0">
                  <a:pos x="4" y="20"/>
                </a:cxn>
                <a:cxn ang="0">
                  <a:pos x="2" y="11"/>
                </a:cxn>
              </a:cxnLst>
              <a:rect l="0" t="0" r="r" b="b"/>
              <a:pathLst>
                <a:path w="23" h="29">
                  <a:moveTo>
                    <a:pt x="2" y="11"/>
                  </a:moveTo>
                  <a:lnTo>
                    <a:pt x="0" y="9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8" y="4"/>
                  </a:lnTo>
                  <a:lnTo>
                    <a:pt x="21" y="4"/>
                  </a:lnTo>
                  <a:lnTo>
                    <a:pt x="14" y="11"/>
                  </a:lnTo>
                  <a:lnTo>
                    <a:pt x="14" y="13"/>
                  </a:lnTo>
                  <a:lnTo>
                    <a:pt x="21" y="18"/>
                  </a:lnTo>
                  <a:lnTo>
                    <a:pt x="21" y="13"/>
                  </a:lnTo>
                  <a:lnTo>
                    <a:pt x="23" y="22"/>
                  </a:lnTo>
                  <a:lnTo>
                    <a:pt x="23" y="29"/>
                  </a:lnTo>
                  <a:lnTo>
                    <a:pt x="17" y="20"/>
                  </a:lnTo>
                  <a:lnTo>
                    <a:pt x="14" y="27"/>
                  </a:lnTo>
                  <a:lnTo>
                    <a:pt x="6" y="27"/>
                  </a:lnTo>
                  <a:lnTo>
                    <a:pt x="4" y="20"/>
                  </a:lnTo>
                  <a:lnTo>
                    <a:pt x="2" y="1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84" name="Bahrain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5531869" y="3724937"/>
              <a:ext cx="33285" cy="50161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7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0" y="2"/>
                </a:cxn>
              </a:cxnLst>
              <a:rect l="0" t="0" r="r" b="b"/>
              <a:pathLst>
                <a:path w="6" h="9">
                  <a:moveTo>
                    <a:pt x="0" y="2"/>
                  </a:moveTo>
                  <a:lnTo>
                    <a:pt x="4" y="0"/>
                  </a:lnTo>
                  <a:lnTo>
                    <a:pt x="6" y="0"/>
                  </a:lnTo>
                  <a:lnTo>
                    <a:pt x="6" y="7"/>
                  </a:lnTo>
                  <a:lnTo>
                    <a:pt x="4" y="9"/>
                  </a:lnTo>
                  <a:lnTo>
                    <a:pt x="2" y="7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185" name="Bahamas"/>
            <p:cNvGrpSpPr/>
            <p:nvPr/>
          </p:nvGrpSpPr>
          <p:grpSpPr>
            <a:xfrm>
              <a:off x="2231107" y="3697070"/>
              <a:ext cx="88761" cy="117043"/>
              <a:chOff x="2231107" y="3697070"/>
              <a:chExt cx="88761" cy="117043"/>
            </a:xfrm>
            <a:grpFill/>
          </p:grpSpPr>
          <p:sp>
            <p:nvSpPr>
              <p:cNvPr id="217" name="Bahamas"/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auto">
              <a:xfrm>
                <a:off x="2231107" y="3736084"/>
                <a:ext cx="22190" cy="50161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5"/>
                  </a:cxn>
                  <a:cxn ang="0">
                    <a:pos x="4" y="9"/>
                  </a:cxn>
                  <a:cxn ang="0">
                    <a:pos x="4" y="5"/>
                  </a:cxn>
                  <a:cxn ang="0">
                    <a:pos x="4" y="2"/>
                  </a:cxn>
                  <a:cxn ang="0">
                    <a:pos x="4" y="0"/>
                  </a:cxn>
                </a:cxnLst>
                <a:rect l="0" t="0" r="r" b="b"/>
                <a:pathLst>
                  <a:path w="4" h="9">
                    <a:moveTo>
                      <a:pt x="4" y="0"/>
                    </a:moveTo>
                    <a:lnTo>
                      <a:pt x="0" y="5"/>
                    </a:lnTo>
                    <a:lnTo>
                      <a:pt x="4" y="9"/>
                    </a:lnTo>
                    <a:lnTo>
                      <a:pt x="4" y="5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18" name="Bahamas"/>
              <p:cNvSpPr>
                <a:spLocks noChangeShapeType="1"/>
              </p:cNvSpPr>
              <p:nvPr>
                <p:custDataLst>
                  <p:tags r:id="rId127"/>
                </p:custDataLst>
              </p:nvPr>
            </p:nvSpPr>
            <p:spPr bwMode="auto">
              <a:xfrm>
                <a:off x="2231107" y="3697070"/>
                <a:ext cx="33285" cy="27867"/>
              </a:xfrm>
              <a:prstGeom prst="line">
                <a:avLst/>
              </a:prstGeom>
              <a:grpFill/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19" name="Bahamas"/>
              <p:cNvSpPr>
                <a:spLocks noChangeShapeType="1"/>
              </p:cNvSpPr>
              <p:nvPr>
                <p:custDataLst>
                  <p:tags r:id="rId128"/>
                </p:custDataLst>
              </p:nvPr>
            </p:nvSpPr>
            <p:spPr bwMode="auto">
              <a:xfrm>
                <a:off x="2264392" y="3697070"/>
                <a:ext cx="22190" cy="27867"/>
              </a:xfrm>
              <a:prstGeom prst="line">
                <a:avLst/>
              </a:prstGeom>
              <a:grpFill/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20" name="Bahamas"/>
              <p:cNvSpPr>
                <a:spLocks noChangeShapeType="1"/>
              </p:cNvSpPr>
              <p:nvPr>
                <p:custDataLst>
                  <p:tags r:id="rId129"/>
                </p:custDataLst>
              </p:nvPr>
            </p:nvSpPr>
            <p:spPr bwMode="auto">
              <a:xfrm>
                <a:off x="2286582" y="3724937"/>
                <a:ext cx="5548" cy="11147"/>
              </a:xfrm>
              <a:prstGeom prst="line">
                <a:avLst/>
              </a:prstGeom>
              <a:grpFill/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21" name="Bahamas"/>
              <p:cNvSpPr>
                <a:spLocks noChangeShapeType="1"/>
              </p:cNvSpPr>
              <p:nvPr>
                <p:custDataLst>
                  <p:tags r:id="rId130"/>
                </p:custDataLst>
              </p:nvPr>
            </p:nvSpPr>
            <p:spPr bwMode="auto">
              <a:xfrm>
                <a:off x="2286582" y="3747230"/>
                <a:ext cx="11095" cy="5574"/>
              </a:xfrm>
              <a:prstGeom prst="line">
                <a:avLst/>
              </a:prstGeom>
              <a:grpFill/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22" name="Bahamas"/>
              <p:cNvSpPr>
                <a:spLocks noChangeShapeType="1"/>
              </p:cNvSpPr>
              <p:nvPr>
                <p:custDataLst>
                  <p:tags r:id="rId131"/>
                </p:custDataLst>
              </p:nvPr>
            </p:nvSpPr>
            <p:spPr bwMode="auto">
              <a:xfrm>
                <a:off x="2297676" y="3747230"/>
                <a:ext cx="5548" cy="27867"/>
              </a:xfrm>
              <a:prstGeom prst="line">
                <a:avLst/>
              </a:prstGeom>
              <a:grpFill/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23" name="Bahamas"/>
              <p:cNvSpPr>
                <a:spLocks noChangeShapeType="1"/>
              </p:cNvSpPr>
              <p:nvPr>
                <p:custDataLst>
                  <p:tags r:id="rId132"/>
                </p:custDataLst>
              </p:nvPr>
            </p:nvSpPr>
            <p:spPr bwMode="auto">
              <a:xfrm>
                <a:off x="2314320" y="3775098"/>
                <a:ext cx="5548" cy="11147"/>
              </a:xfrm>
              <a:prstGeom prst="line">
                <a:avLst/>
              </a:prstGeom>
              <a:grpFill/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24" name="Bahamas"/>
              <p:cNvSpPr>
                <a:spLocks/>
              </p:cNvSpPr>
              <p:nvPr>
                <p:custDataLst>
                  <p:tags r:id="rId133"/>
                </p:custDataLst>
              </p:nvPr>
            </p:nvSpPr>
            <p:spPr bwMode="auto">
              <a:xfrm>
                <a:off x="2264392" y="3763952"/>
                <a:ext cx="22190" cy="50161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5"/>
                  </a:cxn>
                  <a:cxn ang="0">
                    <a:pos x="4" y="9"/>
                  </a:cxn>
                  <a:cxn ang="0">
                    <a:pos x="4" y="5"/>
                  </a:cxn>
                  <a:cxn ang="0">
                    <a:pos x="4" y="2"/>
                  </a:cxn>
                  <a:cxn ang="0">
                    <a:pos x="4" y="0"/>
                  </a:cxn>
                </a:cxnLst>
                <a:rect l="0" t="0" r="r" b="b"/>
                <a:pathLst>
                  <a:path w="4" h="9">
                    <a:moveTo>
                      <a:pt x="4" y="0"/>
                    </a:moveTo>
                    <a:lnTo>
                      <a:pt x="0" y="5"/>
                    </a:lnTo>
                    <a:lnTo>
                      <a:pt x="4" y="9"/>
                    </a:lnTo>
                    <a:lnTo>
                      <a:pt x="4" y="5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25" name="Bahamas"/>
              <p:cNvSpPr>
                <a:spLocks/>
              </p:cNvSpPr>
              <p:nvPr>
                <p:custDataLst>
                  <p:tags r:id="rId134"/>
                </p:custDataLst>
              </p:nvPr>
            </p:nvSpPr>
            <p:spPr bwMode="auto">
              <a:xfrm>
                <a:off x="2253297" y="3750016"/>
                <a:ext cx="22190" cy="50161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5"/>
                  </a:cxn>
                  <a:cxn ang="0">
                    <a:pos x="4" y="9"/>
                  </a:cxn>
                  <a:cxn ang="0">
                    <a:pos x="4" y="5"/>
                  </a:cxn>
                  <a:cxn ang="0">
                    <a:pos x="4" y="2"/>
                  </a:cxn>
                  <a:cxn ang="0">
                    <a:pos x="4" y="0"/>
                  </a:cxn>
                </a:cxnLst>
                <a:rect l="0" t="0" r="r" b="b"/>
                <a:pathLst>
                  <a:path w="4" h="9">
                    <a:moveTo>
                      <a:pt x="4" y="0"/>
                    </a:moveTo>
                    <a:lnTo>
                      <a:pt x="0" y="5"/>
                    </a:lnTo>
                    <a:lnTo>
                      <a:pt x="4" y="9"/>
                    </a:lnTo>
                    <a:lnTo>
                      <a:pt x="4" y="5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186" name="Azerbaijan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5343255" y="3206607"/>
              <a:ext cx="127592" cy="100322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7" y="5"/>
                </a:cxn>
                <a:cxn ang="0">
                  <a:pos x="23" y="7"/>
                </a:cxn>
                <a:cxn ang="0">
                  <a:pos x="21" y="9"/>
                </a:cxn>
                <a:cxn ang="0">
                  <a:pos x="21" y="16"/>
                </a:cxn>
                <a:cxn ang="0">
                  <a:pos x="17" y="16"/>
                </a:cxn>
                <a:cxn ang="0">
                  <a:pos x="21" y="18"/>
                </a:cxn>
                <a:cxn ang="0">
                  <a:pos x="15" y="16"/>
                </a:cxn>
                <a:cxn ang="0">
                  <a:pos x="15" y="14"/>
                </a:cxn>
                <a:cxn ang="0">
                  <a:pos x="9" y="16"/>
                </a:cxn>
                <a:cxn ang="0">
                  <a:pos x="7" y="9"/>
                </a:cxn>
                <a:cxn ang="0">
                  <a:pos x="2" y="9"/>
                </a:cxn>
                <a:cxn ang="0">
                  <a:pos x="2" y="7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9" y="5"/>
                </a:cxn>
                <a:cxn ang="0">
                  <a:pos x="11" y="5"/>
                </a:cxn>
                <a:cxn ang="0">
                  <a:pos x="13" y="3"/>
                </a:cxn>
                <a:cxn ang="0">
                  <a:pos x="15" y="0"/>
                </a:cxn>
              </a:cxnLst>
              <a:rect l="0" t="0" r="r" b="b"/>
              <a:pathLst>
                <a:path w="23" h="18">
                  <a:moveTo>
                    <a:pt x="15" y="0"/>
                  </a:moveTo>
                  <a:lnTo>
                    <a:pt x="17" y="5"/>
                  </a:lnTo>
                  <a:lnTo>
                    <a:pt x="23" y="7"/>
                  </a:lnTo>
                  <a:lnTo>
                    <a:pt x="21" y="9"/>
                  </a:lnTo>
                  <a:lnTo>
                    <a:pt x="21" y="16"/>
                  </a:lnTo>
                  <a:lnTo>
                    <a:pt x="17" y="16"/>
                  </a:lnTo>
                  <a:lnTo>
                    <a:pt x="21" y="18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9" y="16"/>
                  </a:lnTo>
                  <a:lnTo>
                    <a:pt x="7" y="9"/>
                  </a:lnTo>
                  <a:lnTo>
                    <a:pt x="2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0"/>
                  </a:lnTo>
                  <a:lnTo>
                    <a:pt x="7" y="0"/>
                  </a:lnTo>
                  <a:lnTo>
                    <a:pt x="9" y="5"/>
                  </a:lnTo>
                  <a:lnTo>
                    <a:pt x="11" y="5"/>
                  </a:lnTo>
                  <a:lnTo>
                    <a:pt x="13" y="3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87" name="Austria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4500034" y="2972523"/>
              <a:ext cx="171973" cy="83601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0" y="13"/>
                </a:cxn>
                <a:cxn ang="0">
                  <a:pos x="2" y="13"/>
                </a:cxn>
                <a:cxn ang="0">
                  <a:pos x="8" y="13"/>
                </a:cxn>
                <a:cxn ang="0">
                  <a:pos x="10" y="13"/>
                </a:cxn>
                <a:cxn ang="0">
                  <a:pos x="17" y="15"/>
                </a:cxn>
                <a:cxn ang="0">
                  <a:pos x="25" y="13"/>
                </a:cxn>
                <a:cxn ang="0">
                  <a:pos x="31" y="6"/>
                </a:cxn>
                <a:cxn ang="0">
                  <a:pos x="27" y="4"/>
                </a:cxn>
                <a:cxn ang="0">
                  <a:pos x="23" y="0"/>
                </a:cxn>
                <a:cxn ang="0">
                  <a:pos x="19" y="4"/>
                </a:cxn>
                <a:cxn ang="0">
                  <a:pos x="17" y="4"/>
                </a:cxn>
                <a:cxn ang="0">
                  <a:pos x="10" y="6"/>
                </a:cxn>
                <a:cxn ang="0">
                  <a:pos x="15" y="9"/>
                </a:cxn>
                <a:cxn ang="0">
                  <a:pos x="6" y="9"/>
                </a:cxn>
                <a:cxn ang="0">
                  <a:pos x="0" y="9"/>
                </a:cxn>
              </a:cxnLst>
              <a:rect l="0" t="0" r="r" b="b"/>
              <a:pathLst>
                <a:path w="31" h="15">
                  <a:moveTo>
                    <a:pt x="0" y="9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8" y="13"/>
                  </a:lnTo>
                  <a:lnTo>
                    <a:pt x="10" y="13"/>
                  </a:lnTo>
                  <a:lnTo>
                    <a:pt x="17" y="15"/>
                  </a:lnTo>
                  <a:lnTo>
                    <a:pt x="25" y="13"/>
                  </a:lnTo>
                  <a:lnTo>
                    <a:pt x="31" y="6"/>
                  </a:lnTo>
                  <a:lnTo>
                    <a:pt x="27" y="4"/>
                  </a:lnTo>
                  <a:lnTo>
                    <a:pt x="23" y="0"/>
                  </a:lnTo>
                  <a:lnTo>
                    <a:pt x="19" y="4"/>
                  </a:lnTo>
                  <a:lnTo>
                    <a:pt x="17" y="4"/>
                  </a:lnTo>
                  <a:lnTo>
                    <a:pt x="10" y="6"/>
                  </a:lnTo>
                  <a:lnTo>
                    <a:pt x="15" y="9"/>
                  </a:lnTo>
                  <a:lnTo>
                    <a:pt x="6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grpSp>
          <p:nvGrpSpPr>
            <p:cNvPr id="188" name="Australia"/>
            <p:cNvGrpSpPr/>
            <p:nvPr/>
          </p:nvGrpSpPr>
          <p:grpSpPr>
            <a:xfrm>
              <a:off x="7118455" y="4778317"/>
              <a:ext cx="1577472" cy="1181568"/>
              <a:chOff x="7118455" y="4778317"/>
              <a:chExt cx="1577472" cy="1181568"/>
            </a:xfrm>
            <a:grpFill/>
          </p:grpSpPr>
          <p:sp>
            <p:nvSpPr>
              <p:cNvPr id="202" name="Australia"/>
              <p:cNvSpPr>
                <a:spLocks noChangeShapeType="1"/>
              </p:cNvSpPr>
              <p:nvPr>
                <p:custDataLst>
                  <p:tags r:id="rId112"/>
                </p:custDataLst>
              </p:nvPr>
            </p:nvSpPr>
            <p:spPr bwMode="auto">
              <a:xfrm>
                <a:off x="8333357" y="4778317"/>
                <a:ext cx="33285" cy="22294"/>
              </a:xfrm>
              <a:prstGeom prst="line">
                <a:avLst/>
              </a:pr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03" name="Australia"/>
              <p:cNvSpPr>
                <a:spLocks noChangeShapeType="1"/>
              </p:cNvSpPr>
              <p:nvPr>
                <p:custDataLst>
                  <p:tags r:id="rId113"/>
                </p:custDataLst>
              </p:nvPr>
            </p:nvSpPr>
            <p:spPr bwMode="auto">
              <a:xfrm>
                <a:off x="8366642" y="4828477"/>
                <a:ext cx="5548" cy="11147"/>
              </a:xfrm>
              <a:prstGeom prst="line">
                <a:avLst/>
              </a:pr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04" name="Australia"/>
              <p:cNvSpPr>
                <a:spLocks noChangeShapeType="1"/>
              </p:cNvSpPr>
              <p:nvPr>
                <p:custDataLst>
                  <p:tags r:id="rId114"/>
                </p:custDataLst>
              </p:nvPr>
            </p:nvSpPr>
            <p:spPr bwMode="auto">
              <a:xfrm>
                <a:off x="8388832" y="4800611"/>
                <a:ext cx="33285" cy="39014"/>
              </a:xfrm>
              <a:prstGeom prst="line">
                <a:avLst/>
              </a:pr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05" name="Australia"/>
              <p:cNvSpPr>
                <a:spLocks noChangeShapeType="1"/>
              </p:cNvSpPr>
              <p:nvPr>
                <p:custDataLst>
                  <p:tags r:id="rId115"/>
                </p:custDataLst>
              </p:nvPr>
            </p:nvSpPr>
            <p:spPr bwMode="auto">
              <a:xfrm>
                <a:off x="8433212" y="4839625"/>
                <a:ext cx="27737" cy="39014"/>
              </a:xfrm>
              <a:prstGeom prst="line">
                <a:avLst/>
              </a:pr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06" name="Australia"/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auto">
              <a:xfrm>
                <a:off x="8411022" y="4839625"/>
                <a:ext cx="22190" cy="3901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5"/>
                  </a:cxn>
                  <a:cxn ang="0">
                    <a:pos x="4" y="7"/>
                  </a:cxn>
                  <a:cxn ang="0">
                    <a:pos x="4" y="5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4" h="7">
                    <a:moveTo>
                      <a:pt x="0" y="0"/>
                    </a:moveTo>
                    <a:lnTo>
                      <a:pt x="0" y="5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07" name="Australia"/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auto">
              <a:xfrm>
                <a:off x="8460949" y="4878638"/>
                <a:ext cx="22190" cy="2229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4"/>
                    </a:lnTo>
                    <a:lnTo>
                      <a:pt x="4" y="4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08" name="Australia"/>
              <p:cNvSpPr>
                <a:spLocks noChangeShapeType="1"/>
              </p:cNvSpPr>
              <p:nvPr>
                <p:custDataLst>
                  <p:tags r:id="rId118"/>
                </p:custDataLst>
              </p:nvPr>
            </p:nvSpPr>
            <p:spPr bwMode="auto">
              <a:xfrm flipV="1">
                <a:off x="8571899" y="5040269"/>
                <a:ext cx="5548" cy="27867"/>
              </a:xfrm>
              <a:prstGeom prst="line">
                <a:avLst/>
              </a:pr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09" name="Australia"/>
              <p:cNvSpPr>
                <a:spLocks/>
              </p:cNvSpPr>
              <p:nvPr>
                <p:custDataLst>
                  <p:tags r:id="rId119"/>
                </p:custDataLst>
              </p:nvPr>
            </p:nvSpPr>
            <p:spPr bwMode="auto">
              <a:xfrm>
                <a:off x="8571899" y="5068135"/>
                <a:ext cx="27737" cy="1114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5" y="2"/>
                  </a:cxn>
                  <a:cxn ang="0">
                    <a:pos x="3" y="2"/>
                  </a:cxn>
                  <a:cxn ang="0">
                    <a:pos x="0" y="0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lnTo>
                      <a:pt x="0" y="2"/>
                    </a:lnTo>
                    <a:lnTo>
                      <a:pt x="5" y="2"/>
                    </a:lnTo>
                    <a:lnTo>
                      <a:pt x="3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10" name="New Caledonie"/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auto">
              <a:xfrm>
                <a:off x="8472045" y="5207471"/>
                <a:ext cx="55475" cy="6130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6"/>
                  </a:cxn>
                  <a:cxn ang="0">
                    <a:pos x="8" y="11"/>
                  </a:cxn>
                  <a:cxn ang="0">
                    <a:pos x="10" y="11"/>
                  </a:cxn>
                  <a:cxn ang="0">
                    <a:pos x="6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10" h="11">
                    <a:moveTo>
                      <a:pt x="0" y="0"/>
                    </a:moveTo>
                    <a:lnTo>
                      <a:pt x="2" y="6"/>
                    </a:lnTo>
                    <a:lnTo>
                      <a:pt x="8" y="11"/>
                    </a:lnTo>
                    <a:lnTo>
                      <a:pt x="10" y="11"/>
                    </a:lnTo>
                    <a:lnTo>
                      <a:pt x="6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11" name="Timor-Leste"/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auto">
              <a:xfrm>
                <a:off x="7634372" y="4917653"/>
                <a:ext cx="38833" cy="33441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3" y="6"/>
                  </a:cxn>
                  <a:cxn ang="0">
                    <a:pos x="7" y="2"/>
                  </a:cxn>
                  <a:cxn ang="0">
                    <a:pos x="7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7" h="6">
                    <a:moveTo>
                      <a:pt x="0" y="2"/>
                    </a:moveTo>
                    <a:lnTo>
                      <a:pt x="3" y="6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12" name="Tasmania"/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auto">
              <a:xfrm>
                <a:off x="7728680" y="5870710"/>
                <a:ext cx="94308" cy="89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11"/>
                  </a:cxn>
                  <a:cxn ang="0">
                    <a:pos x="0" y="16"/>
                  </a:cxn>
                  <a:cxn ang="0">
                    <a:pos x="4" y="16"/>
                  </a:cxn>
                  <a:cxn ang="0">
                    <a:pos x="8" y="11"/>
                  </a:cxn>
                  <a:cxn ang="0">
                    <a:pos x="17" y="0"/>
                  </a:cxn>
                  <a:cxn ang="0">
                    <a:pos x="8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17" h="16">
                    <a:moveTo>
                      <a:pt x="4" y="0"/>
                    </a:moveTo>
                    <a:lnTo>
                      <a:pt x="0" y="11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8" y="11"/>
                    </a:lnTo>
                    <a:lnTo>
                      <a:pt x="17" y="0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13" name="Samoa"/>
              <p:cNvSpPr>
                <a:spLocks/>
              </p:cNvSpPr>
              <p:nvPr/>
            </p:nvSpPr>
            <p:spPr bwMode="auto">
              <a:xfrm>
                <a:off x="8640452" y="4810119"/>
                <a:ext cx="16176" cy="18359"/>
              </a:xfrm>
              <a:custGeom>
                <a:avLst/>
                <a:gdLst>
                  <a:gd name="T0" fmla="*/ 37 w 43"/>
                  <a:gd name="T1" fmla="*/ 22 h 43"/>
                  <a:gd name="T2" fmla="*/ 41 w 43"/>
                  <a:gd name="T3" fmla="*/ 28 h 43"/>
                  <a:gd name="T4" fmla="*/ 37 w 43"/>
                  <a:gd name="T5" fmla="*/ 35 h 43"/>
                  <a:gd name="T6" fmla="*/ 34 w 43"/>
                  <a:gd name="T7" fmla="*/ 42 h 43"/>
                  <a:gd name="T8" fmla="*/ 23 w 43"/>
                  <a:gd name="T9" fmla="*/ 43 h 43"/>
                  <a:gd name="T10" fmla="*/ 16 w 43"/>
                  <a:gd name="T11" fmla="*/ 40 h 43"/>
                  <a:gd name="T12" fmla="*/ 10 w 43"/>
                  <a:gd name="T13" fmla="*/ 36 h 43"/>
                  <a:gd name="T14" fmla="*/ 5 w 43"/>
                  <a:gd name="T15" fmla="*/ 31 h 43"/>
                  <a:gd name="T16" fmla="*/ 4 w 43"/>
                  <a:gd name="T17" fmla="*/ 24 h 43"/>
                  <a:gd name="T18" fmla="*/ 1 w 43"/>
                  <a:gd name="T19" fmla="*/ 17 h 43"/>
                  <a:gd name="T20" fmla="*/ 4 w 43"/>
                  <a:gd name="T21" fmla="*/ 11 h 43"/>
                  <a:gd name="T22" fmla="*/ 8 w 43"/>
                  <a:gd name="T23" fmla="*/ 5 h 43"/>
                  <a:gd name="T24" fmla="*/ 13 w 43"/>
                  <a:gd name="T25" fmla="*/ 3 h 43"/>
                  <a:gd name="T26" fmla="*/ 21 w 43"/>
                  <a:gd name="T27" fmla="*/ 3 h 43"/>
                  <a:gd name="T28" fmla="*/ 27 w 43"/>
                  <a:gd name="T29" fmla="*/ 4 h 43"/>
                  <a:gd name="T30" fmla="*/ 33 w 43"/>
                  <a:gd name="T31" fmla="*/ 7 h 43"/>
                  <a:gd name="T32" fmla="*/ 34 w 43"/>
                  <a:gd name="T33" fmla="*/ 14 h 43"/>
                  <a:gd name="T34" fmla="*/ 35 w 43"/>
                  <a:gd name="T35" fmla="*/ 15 h 43"/>
                  <a:gd name="T36" fmla="*/ 37 w 43"/>
                  <a:gd name="T37" fmla="*/ 2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3">
                    <a:moveTo>
                      <a:pt x="37" y="22"/>
                    </a:moveTo>
                    <a:cubicBezTo>
                      <a:pt x="38" y="24"/>
                      <a:pt x="43" y="24"/>
                      <a:pt x="41" y="28"/>
                    </a:cubicBezTo>
                    <a:cubicBezTo>
                      <a:pt x="40" y="30"/>
                      <a:pt x="38" y="33"/>
                      <a:pt x="37" y="35"/>
                    </a:cubicBezTo>
                    <a:cubicBezTo>
                      <a:pt x="37" y="37"/>
                      <a:pt x="38" y="41"/>
                      <a:pt x="34" y="42"/>
                    </a:cubicBezTo>
                    <a:cubicBezTo>
                      <a:pt x="31" y="42"/>
                      <a:pt x="27" y="43"/>
                      <a:pt x="23" y="43"/>
                    </a:cubicBezTo>
                    <a:cubicBezTo>
                      <a:pt x="21" y="42"/>
                      <a:pt x="18" y="43"/>
                      <a:pt x="16" y="40"/>
                    </a:cubicBezTo>
                    <a:cubicBezTo>
                      <a:pt x="14" y="38"/>
                      <a:pt x="11" y="38"/>
                      <a:pt x="10" y="36"/>
                    </a:cubicBezTo>
                    <a:cubicBezTo>
                      <a:pt x="8" y="34"/>
                      <a:pt x="5" y="34"/>
                      <a:pt x="5" y="31"/>
                    </a:cubicBezTo>
                    <a:cubicBezTo>
                      <a:pt x="3" y="29"/>
                      <a:pt x="3" y="27"/>
                      <a:pt x="4" y="24"/>
                    </a:cubicBezTo>
                    <a:cubicBezTo>
                      <a:pt x="4" y="22"/>
                      <a:pt x="2" y="19"/>
                      <a:pt x="1" y="17"/>
                    </a:cubicBezTo>
                    <a:cubicBezTo>
                      <a:pt x="0" y="15"/>
                      <a:pt x="1" y="12"/>
                      <a:pt x="4" y="11"/>
                    </a:cubicBezTo>
                    <a:cubicBezTo>
                      <a:pt x="7" y="10"/>
                      <a:pt x="6" y="6"/>
                      <a:pt x="8" y="5"/>
                    </a:cubicBezTo>
                    <a:cubicBezTo>
                      <a:pt x="10" y="5"/>
                      <a:pt x="12" y="4"/>
                      <a:pt x="13" y="3"/>
                    </a:cubicBezTo>
                    <a:cubicBezTo>
                      <a:pt x="16" y="2"/>
                      <a:pt x="19" y="0"/>
                      <a:pt x="21" y="3"/>
                    </a:cubicBezTo>
                    <a:cubicBezTo>
                      <a:pt x="23" y="4"/>
                      <a:pt x="25" y="3"/>
                      <a:pt x="27" y="4"/>
                    </a:cubicBezTo>
                    <a:cubicBezTo>
                      <a:pt x="29" y="5"/>
                      <a:pt x="31" y="6"/>
                      <a:pt x="33" y="7"/>
                    </a:cubicBezTo>
                    <a:cubicBezTo>
                      <a:pt x="35" y="9"/>
                      <a:pt x="34" y="12"/>
                      <a:pt x="34" y="14"/>
                    </a:cubicBezTo>
                    <a:cubicBezTo>
                      <a:pt x="34" y="14"/>
                      <a:pt x="35" y="14"/>
                      <a:pt x="35" y="15"/>
                    </a:cubicBezTo>
                    <a:cubicBezTo>
                      <a:pt x="35" y="17"/>
                      <a:pt x="36" y="20"/>
                      <a:pt x="37" y="22"/>
                    </a:cubicBez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14" name="Fiji"/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auto">
              <a:xfrm>
                <a:off x="8640452" y="4974790"/>
                <a:ext cx="55475" cy="6130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6"/>
                  </a:cxn>
                  <a:cxn ang="0">
                    <a:pos x="8" y="11"/>
                  </a:cxn>
                  <a:cxn ang="0">
                    <a:pos x="10" y="11"/>
                  </a:cxn>
                  <a:cxn ang="0">
                    <a:pos x="6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10" h="11">
                    <a:moveTo>
                      <a:pt x="0" y="0"/>
                    </a:moveTo>
                    <a:lnTo>
                      <a:pt x="2" y="6"/>
                    </a:lnTo>
                    <a:lnTo>
                      <a:pt x="8" y="11"/>
                    </a:lnTo>
                    <a:lnTo>
                      <a:pt x="10" y="11"/>
                    </a:lnTo>
                    <a:lnTo>
                      <a:pt x="6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15" name="Australia"/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auto">
              <a:xfrm>
                <a:off x="7623277" y="5692361"/>
                <a:ext cx="27737" cy="27867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2" y="5"/>
                  </a:cxn>
                  <a:cxn ang="0">
                    <a:pos x="5" y="5"/>
                  </a:cxn>
                  <a:cxn ang="0">
                    <a:pos x="5" y="0"/>
                  </a:cxn>
                  <a:cxn ang="0">
                    <a:pos x="2" y="3"/>
                  </a:cxn>
                  <a:cxn ang="0">
                    <a:pos x="0" y="5"/>
                  </a:cxn>
                </a:cxnLst>
                <a:rect l="0" t="0" r="r" b="b"/>
                <a:pathLst>
                  <a:path w="5" h="5">
                    <a:moveTo>
                      <a:pt x="0" y="5"/>
                    </a:moveTo>
                    <a:lnTo>
                      <a:pt x="2" y="5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16" name="Australia"/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auto">
              <a:xfrm>
                <a:off x="7118455" y="4900932"/>
                <a:ext cx="1026288" cy="919617"/>
              </a:xfrm>
              <a:custGeom>
                <a:avLst/>
                <a:gdLst/>
                <a:ahLst/>
                <a:cxnLst>
                  <a:cxn ang="0">
                    <a:pos x="4" y="140"/>
                  </a:cxn>
                  <a:cxn ang="0">
                    <a:pos x="23" y="133"/>
                  </a:cxn>
                  <a:cxn ang="0">
                    <a:pos x="39" y="129"/>
                  </a:cxn>
                  <a:cxn ang="0">
                    <a:pos x="77" y="122"/>
                  </a:cxn>
                  <a:cxn ang="0">
                    <a:pos x="87" y="140"/>
                  </a:cxn>
                  <a:cxn ang="0">
                    <a:pos x="102" y="131"/>
                  </a:cxn>
                  <a:cxn ang="0">
                    <a:pos x="102" y="138"/>
                  </a:cxn>
                  <a:cxn ang="0">
                    <a:pos x="100" y="142"/>
                  </a:cxn>
                  <a:cxn ang="0">
                    <a:pos x="102" y="147"/>
                  </a:cxn>
                  <a:cxn ang="0">
                    <a:pos x="102" y="151"/>
                  </a:cxn>
                  <a:cxn ang="0">
                    <a:pos x="114" y="160"/>
                  </a:cxn>
                  <a:cxn ang="0">
                    <a:pos x="123" y="160"/>
                  </a:cxn>
                  <a:cxn ang="0">
                    <a:pos x="125" y="160"/>
                  </a:cxn>
                  <a:cxn ang="0">
                    <a:pos x="146" y="156"/>
                  </a:cxn>
                  <a:cxn ang="0">
                    <a:pos x="175" y="118"/>
                  </a:cxn>
                  <a:cxn ang="0">
                    <a:pos x="185" y="88"/>
                  </a:cxn>
                  <a:cxn ang="0">
                    <a:pos x="179" y="73"/>
                  </a:cxn>
                  <a:cxn ang="0">
                    <a:pos x="175" y="66"/>
                  </a:cxn>
                  <a:cxn ang="0">
                    <a:pos x="166" y="52"/>
                  </a:cxn>
                  <a:cxn ang="0">
                    <a:pos x="164" y="39"/>
                  </a:cxn>
                  <a:cxn ang="0">
                    <a:pos x="162" y="23"/>
                  </a:cxn>
                  <a:cxn ang="0">
                    <a:pos x="156" y="21"/>
                  </a:cxn>
                  <a:cxn ang="0">
                    <a:pos x="150" y="0"/>
                  </a:cxn>
                  <a:cxn ang="0">
                    <a:pos x="146" y="30"/>
                  </a:cxn>
                  <a:cxn ang="0">
                    <a:pos x="135" y="39"/>
                  </a:cxn>
                  <a:cxn ang="0">
                    <a:pos x="131" y="37"/>
                  </a:cxn>
                  <a:cxn ang="0">
                    <a:pos x="118" y="30"/>
                  </a:cxn>
                  <a:cxn ang="0">
                    <a:pos x="116" y="23"/>
                  </a:cxn>
                  <a:cxn ang="0">
                    <a:pos x="118" y="14"/>
                  </a:cxn>
                  <a:cxn ang="0">
                    <a:pos x="125" y="9"/>
                  </a:cxn>
                  <a:cxn ang="0">
                    <a:pos x="118" y="12"/>
                  </a:cxn>
                  <a:cxn ang="0">
                    <a:pos x="116" y="9"/>
                  </a:cxn>
                  <a:cxn ang="0">
                    <a:pos x="106" y="5"/>
                  </a:cxn>
                  <a:cxn ang="0">
                    <a:pos x="96" y="9"/>
                  </a:cxn>
                  <a:cxn ang="0">
                    <a:pos x="93" y="18"/>
                  </a:cxn>
                  <a:cxn ang="0">
                    <a:pos x="87" y="21"/>
                  </a:cxn>
                  <a:cxn ang="0">
                    <a:pos x="87" y="27"/>
                  </a:cxn>
                  <a:cxn ang="0">
                    <a:pos x="83" y="27"/>
                  </a:cxn>
                  <a:cxn ang="0">
                    <a:pos x="79" y="18"/>
                  </a:cxn>
                  <a:cxn ang="0">
                    <a:pos x="70" y="23"/>
                  </a:cxn>
                  <a:cxn ang="0">
                    <a:pos x="62" y="32"/>
                  </a:cxn>
                  <a:cxn ang="0">
                    <a:pos x="60" y="37"/>
                  </a:cxn>
                  <a:cxn ang="0">
                    <a:pos x="56" y="32"/>
                  </a:cxn>
                  <a:cxn ang="0">
                    <a:pos x="52" y="43"/>
                  </a:cxn>
                  <a:cxn ang="0">
                    <a:pos x="20" y="57"/>
                  </a:cxn>
                  <a:cxn ang="0">
                    <a:pos x="12" y="64"/>
                  </a:cxn>
                  <a:cxn ang="0">
                    <a:pos x="8" y="73"/>
                  </a:cxn>
                  <a:cxn ang="0">
                    <a:pos x="6" y="91"/>
                  </a:cxn>
                  <a:cxn ang="0">
                    <a:pos x="4" y="91"/>
                  </a:cxn>
                  <a:cxn ang="0">
                    <a:pos x="6" y="122"/>
                  </a:cxn>
                  <a:cxn ang="0">
                    <a:pos x="0" y="131"/>
                  </a:cxn>
                  <a:cxn ang="0">
                    <a:pos x="0" y="138"/>
                  </a:cxn>
                </a:cxnLst>
                <a:rect l="0" t="0" r="r" b="b"/>
                <a:pathLst>
                  <a:path w="185" h="165">
                    <a:moveTo>
                      <a:pt x="0" y="138"/>
                    </a:moveTo>
                    <a:lnTo>
                      <a:pt x="4" y="140"/>
                    </a:lnTo>
                    <a:lnTo>
                      <a:pt x="12" y="140"/>
                    </a:lnTo>
                    <a:lnTo>
                      <a:pt x="23" y="133"/>
                    </a:lnTo>
                    <a:lnTo>
                      <a:pt x="37" y="133"/>
                    </a:lnTo>
                    <a:lnTo>
                      <a:pt x="39" y="129"/>
                    </a:lnTo>
                    <a:lnTo>
                      <a:pt x="52" y="124"/>
                    </a:lnTo>
                    <a:lnTo>
                      <a:pt x="77" y="122"/>
                    </a:lnTo>
                    <a:lnTo>
                      <a:pt x="87" y="129"/>
                    </a:lnTo>
                    <a:lnTo>
                      <a:pt x="87" y="140"/>
                    </a:lnTo>
                    <a:lnTo>
                      <a:pt x="102" y="129"/>
                    </a:lnTo>
                    <a:lnTo>
                      <a:pt x="102" y="131"/>
                    </a:lnTo>
                    <a:lnTo>
                      <a:pt x="93" y="142"/>
                    </a:lnTo>
                    <a:lnTo>
                      <a:pt x="102" y="138"/>
                    </a:lnTo>
                    <a:lnTo>
                      <a:pt x="102" y="140"/>
                    </a:lnTo>
                    <a:lnTo>
                      <a:pt x="100" y="142"/>
                    </a:lnTo>
                    <a:lnTo>
                      <a:pt x="102" y="142"/>
                    </a:lnTo>
                    <a:lnTo>
                      <a:pt x="102" y="147"/>
                    </a:lnTo>
                    <a:lnTo>
                      <a:pt x="106" y="149"/>
                    </a:lnTo>
                    <a:lnTo>
                      <a:pt x="102" y="151"/>
                    </a:lnTo>
                    <a:lnTo>
                      <a:pt x="106" y="160"/>
                    </a:lnTo>
                    <a:lnTo>
                      <a:pt x="114" y="160"/>
                    </a:lnTo>
                    <a:lnTo>
                      <a:pt x="123" y="156"/>
                    </a:lnTo>
                    <a:lnTo>
                      <a:pt x="123" y="160"/>
                    </a:lnTo>
                    <a:lnTo>
                      <a:pt x="125" y="158"/>
                    </a:lnTo>
                    <a:lnTo>
                      <a:pt x="125" y="160"/>
                    </a:lnTo>
                    <a:lnTo>
                      <a:pt x="125" y="165"/>
                    </a:lnTo>
                    <a:lnTo>
                      <a:pt x="146" y="156"/>
                    </a:lnTo>
                    <a:lnTo>
                      <a:pt x="154" y="147"/>
                    </a:lnTo>
                    <a:lnTo>
                      <a:pt x="175" y="118"/>
                    </a:lnTo>
                    <a:lnTo>
                      <a:pt x="185" y="104"/>
                    </a:lnTo>
                    <a:lnTo>
                      <a:pt x="185" y="88"/>
                    </a:lnTo>
                    <a:lnTo>
                      <a:pt x="181" y="75"/>
                    </a:lnTo>
                    <a:lnTo>
                      <a:pt x="179" y="73"/>
                    </a:lnTo>
                    <a:lnTo>
                      <a:pt x="179" y="70"/>
                    </a:lnTo>
                    <a:lnTo>
                      <a:pt x="175" y="66"/>
                    </a:lnTo>
                    <a:lnTo>
                      <a:pt x="173" y="55"/>
                    </a:lnTo>
                    <a:lnTo>
                      <a:pt x="166" y="52"/>
                    </a:lnTo>
                    <a:lnTo>
                      <a:pt x="164" y="48"/>
                    </a:lnTo>
                    <a:lnTo>
                      <a:pt x="164" y="39"/>
                    </a:lnTo>
                    <a:lnTo>
                      <a:pt x="162" y="32"/>
                    </a:lnTo>
                    <a:lnTo>
                      <a:pt x="162" y="23"/>
                    </a:lnTo>
                    <a:lnTo>
                      <a:pt x="158" y="21"/>
                    </a:lnTo>
                    <a:lnTo>
                      <a:pt x="156" y="21"/>
                    </a:lnTo>
                    <a:lnTo>
                      <a:pt x="154" y="3"/>
                    </a:lnTo>
                    <a:lnTo>
                      <a:pt x="150" y="0"/>
                    </a:lnTo>
                    <a:lnTo>
                      <a:pt x="150" y="3"/>
                    </a:lnTo>
                    <a:lnTo>
                      <a:pt x="146" y="30"/>
                    </a:lnTo>
                    <a:lnTo>
                      <a:pt x="139" y="39"/>
                    </a:lnTo>
                    <a:lnTo>
                      <a:pt x="135" y="39"/>
                    </a:lnTo>
                    <a:lnTo>
                      <a:pt x="133" y="43"/>
                    </a:lnTo>
                    <a:lnTo>
                      <a:pt x="131" y="37"/>
                    </a:lnTo>
                    <a:lnTo>
                      <a:pt x="125" y="30"/>
                    </a:lnTo>
                    <a:lnTo>
                      <a:pt x="118" y="30"/>
                    </a:lnTo>
                    <a:lnTo>
                      <a:pt x="118" y="27"/>
                    </a:lnTo>
                    <a:lnTo>
                      <a:pt x="116" y="23"/>
                    </a:lnTo>
                    <a:lnTo>
                      <a:pt x="118" y="21"/>
                    </a:lnTo>
                    <a:lnTo>
                      <a:pt x="118" y="14"/>
                    </a:lnTo>
                    <a:lnTo>
                      <a:pt x="123" y="14"/>
                    </a:lnTo>
                    <a:lnTo>
                      <a:pt x="125" y="9"/>
                    </a:lnTo>
                    <a:lnTo>
                      <a:pt x="123" y="9"/>
                    </a:lnTo>
                    <a:lnTo>
                      <a:pt x="118" y="12"/>
                    </a:lnTo>
                    <a:lnTo>
                      <a:pt x="118" y="9"/>
                    </a:lnTo>
                    <a:lnTo>
                      <a:pt x="116" y="9"/>
                    </a:lnTo>
                    <a:lnTo>
                      <a:pt x="106" y="3"/>
                    </a:lnTo>
                    <a:lnTo>
                      <a:pt x="106" y="5"/>
                    </a:lnTo>
                    <a:lnTo>
                      <a:pt x="102" y="9"/>
                    </a:lnTo>
                    <a:lnTo>
                      <a:pt x="96" y="9"/>
                    </a:lnTo>
                    <a:lnTo>
                      <a:pt x="93" y="12"/>
                    </a:lnTo>
                    <a:lnTo>
                      <a:pt x="93" y="18"/>
                    </a:lnTo>
                    <a:lnTo>
                      <a:pt x="91" y="18"/>
                    </a:lnTo>
                    <a:lnTo>
                      <a:pt x="87" y="21"/>
                    </a:lnTo>
                    <a:lnTo>
                      <a:pt x="91" y="23"/>
                    </a:lnTo>
                    <a:lnTo>
                      <a:pt x="87" y="27"/>
                    </a:lnTo>
                    <a:lnTo>
                      <a:pt x="85" y="23"/>
                    </a:lnTo>
                    <a:lnTo>
                      <a:pt x="83" y="27"/>
                    </a:lnTo>
                    <a:lnTo>
                      <a:pt x="79" y="21"/>
                    </a:lnTo>
                    <a:lnTo>
                      <a:pt x="79" y="18"/>
                    </a:lnTo>
                    <a:lnTo>
                      <a:pt x="77" y="18"/>
                    </a:lnTo>
                    <a:lnTo>
                      <a:pt x="70" y="23"/>
                    </a:lnTo>
                    <a:lnTo>
                      <a:pt x="68" y="23"/>
                    </a:lnTo>
                    <a:lnTo>
                      <a:pt x="62" y="32"/>
                    </a:lnTo>
                    <a:lnTo>
                      <a:pt x="60" y="30"/>
                    </a:lnTo>
                    <a:lnTo>
                      <a:pt x="60" y="37"/>
                    </a:lnTo>
                    <a:lnTo>
                      <a:pt x="56" y="39"/>
                    </a:lnTo>
                    <a:lnTo>
                      <a:pt x="56" y="32"/>
                    </a:lnTo>
                    <a:lnTo>
                      <a:pt x="52" y="39"/>
                    </a:lnTo>
                    <a:lnTo>
                      <a:pt x="52" y="43"/>
                    </a:lnTo>
                    <a:lnTo>
                      <a:pt x="43" y="52"/>
                    </a:lnTo>
                    <a:lnTo>
                      <a:pt x="20" y="57"/>
                    </a:lnTo>
                    <a:lnTo>
                      <a:pt x="12" y="66"/>
                    </a:lnTo>
                    <a:lnTo>
                      <a:pt x="12" y="64"/>
                    </a:lnTo>
                    <a:lnTo>
                      <a:pt x="8" y="70"/>
                    </a:lnTo>
                    <a:lnTo>
                      <a:pt x="8" y="73"/>
                    </a:lnTo>
                    <a:lnTo>
                      <a:pt x="6" y="75"/>
                    </a:lnTo>
                    <a:lnTo>
                      <a:pt x="6" y="91"/>
                    </a:lnTo>
                    <a:lnTo>
                      <a:pt x="4" y="86"/>
                    </a:lnTo>
                    <a:lnTo>
                      <a:pt x="4" y="91"/>
                    </a:lnTo>
                    <a:lnTo>
                      <a:pt x="6" y="106"/>
                    </a:lnTo>
                    <a:lnTo>
                      <a:pt x="6" y="122"/>
                    </a:lnTo>
                    <a:lnTo>
                      <a:pt x="4" y="131"/>
                    </a:lnTo>
                    <a:lnTo>
                      <a:pt x="0" y="131"/>
                    </a:lnTo>
                    <a:lnTo>
                      <a:pt x="0" y="136"/>
                    </a:lnTo>
                    <a:lnTo>
                      <a:pt x="0" y="138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grpSp>
          <p:nvGrpSpPr>
            <p:cNvPr id="189" name="Armenia"/>
            <p:cNvGrpSpPr/>
            <p:nvPr/>
          </p:nvGrpSpPr>
          <p:grpSpPr>
            <a:xfrm>
              <a:off x="5298874" y="3259680"/>
              <a:ext cx="94308" cy="61308"/>
              <a:chOff x="5298874" y="3234474"/>
              <a:chExt cx="94308" cy="61308"/>
            </a:xfrm>
            <a:grpFill/>
          </p:grpSpPr>
          <p:sp>
            <p:nvSpPr>
              <p:cNvPr id="200" name="Armenia"/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auto">
              <a:xfrm>
                <a:off x="5343255" y="3256768"/>
                <a:ext cx="38833" cy="39014"/>
              </a:xfrm>
              <a:custGeom>
                <a:avLst/>
                <a:gdLst/>
                <a:ahLst/>
                <a:cxnLst>
                  <a:cxn ang="0">
                    <a:pos x="7" y="7"/>
                  </a:cxn>
                  <a:cxn ang="0">
                    <a:pos x="2" y="7"/>
                  </a:cxn>
                  <a:cxn ang="0">
                    <a:pos x="0" y="0"/>
                  </a:cxn>
                  <a:cxn ang="0">
                    <a:pos x="2" y="5"/>
                  </a:cxn>
                  <a:cxn ang="0">
                    <a:pos x="4" y="7"/>
                  </a:cxn>
                  <a:cxn ang="0">
                    <a:pos x="7" y="7"/>
                  </a:cxn>
                </a:cxnLst>
                <a:rect l="0" t="0" r="r" b="b"/>
                <a:pathLst>
                  <a:path w="7" h="7">
                    <a:moveTo>
                      <a:pt x="7" y="7"/>
                    </a:moveTo>
                    <a:lnTo>
                      <a:pt x="2" y="7"/>
                    </a:lnTo>
                    <a:lnTo>
                      <a:pt x="0" y="0"/>
                    </a:lnTo>
                    <a:lnTo>
                      <a:pt x="2" y="5"/>
                    </a:lnTo>
                    <a:lnTo>
                      <a:pt x="4" y="7"/>
                    </a:lnTo>
                    <a:lnTo>
                      <a:pt x="7" y="7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201" name="Armenia"/>
              <p:cNvSpPr>
                <a:spLocks/>
              </p:cNvSpPr>
              <p:nvPr>
                <p:custDataLst>
                  <p:tags r:id="rId111"/>
                </p:custDataLst>
              </p:nvPr>
            </p:nvSpPr>
            <p:spPr bwMode="auto">
              <a:xfrm>
                <a:off x="5298874" y="3234474"/>
                <a:ext cx="94308" cy="61307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2" y="4"/>
                  </a:cxn>
                  <a:cxn ang="0">
                    <a:pos x="0" y="0"/>
                  </a:cxn>
                  <a:cxn ang="0">
                    <a:pos x="8" y="0"/>
                  </a:cxn>
                  <a:cxn ang="0">
                    <a:pos x="10" y="2"/>
                  </a:cxn>
                  <a:cxn ang="0">
                    <a:pos x="10" y="4"/>
                  </a:cxn>
                  <a:cxn ang="0">
                    <a:pos x="15" y="4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0" y="9"/>
                  </a:cxn>
                  <a:cxn ang="0">
                    <a:pos x="8" y="7"/>
                  </a:cxn>
                  <a:cxn ang="0">
                    <a:pos x="8" y="4"/>
                  </a:cxn>
                </a:cxnLst>
                <a:rect l="0" t="0" r="r" b="b"/>
                <a:pathLst>
                  <a:path w="17" h="11">
                    <a:moveTo>
                      <a:pt x="8" y="4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10" y="2"/>
                    </a:lnTo>
                    <a:lnTo>
                      <a:pt x="10" y="4"/>
                    </a:lnTo>
                    <a:lnTo>
                      <a:pt x="15" y="4"/>
                    </a:lnTo>
                    <a:lnTo>
                      <a:pt x="17" y="11"/>
                    </a:lnTo>
                    <a:lnTo>
                      <a:pt x="15" y="11"/>
                    </a:lnTo>
                    <a:lnTo>
                      <a:pt x="10" y="9"/>
                    </a:lnTo>
                    <a:lnTo>
                      <a:pt x="8" y="7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grpSp>
          <p:nvGrpSpPr>
            <p:cNvPr id="190" name="Argentina"/>
            <p:cNvGrpSpPr/>
            <p:nvPr/>
          </p:nvGrpSpPr>
          <p:grpSpPr>
            <a:xfrm>
              <a:off x="2486292" y="5257632"/>
              <a:ext cx="393872" cy="1064527"/>
              <a:chOff x="2486292" y="5257632"/>
              <a:chExt cx="393872" cy="1064527"/>
            </a:xfrm>
            <a:grpFill/>
          </p:grpSpPr>
          <p:sp>
            <p:nvSpPr>
              <p:cNvPr id="197" name="Argentina"/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auto">
              <a:xfrm>
                <a:off x="2741477" y="6244131"/>
                <a:ext cx="105402" cy="7802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" y="5"/>
                  </a:cxn>
                  <a:cxn ang="0">
                    <a:pos x="19" y="12"/>
                  </a:cxn>
                  <a:cxn ang="0">
                    <a:pos x="10" y="14"/>
                  </a:cxn>
                  <a:cxn ang="0">
                    <a:pos x="8" y="14"/>
                  </a:cxn>
                  <a:cxn ang="0">
                    <a:pos x="4" y="7"/>
                  </a:cxn>
                  <a:cxn ang="0">
                    <a:pos x="0" y="0"/>
                  </a:cxn>
                </a:cxnLst>
                <a:rect l="0" t="0" r="r" b="b"/>
                <a:pathLst>
                  <a:path w="19" h="14">
                    <a:moveTo>
                      <a:pt x="0" y="0"/>
                    </a:moveTo>
                    <a:lnTo>
                      <a:pt x="6" y="5"/>
                    </a:lnTo>
                    <a:lnTo>
                      <a:pt x="19" y="12"/>
                    </a:lnTo>
                    <a:lnTo>
                      <a:pt x="10" y="14"/>
                    </a:lnTo>
                    <a:lnTo>
                      <a:pt x="8" y="14"/>
                    </a:lnTo>
                    <a:lnTo>
                      <a:pt x="4" y="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198" name="Argentina"/>
              <p:cNvSpPr>
                <a:spLocks/>
              </p:cNvSpPr>
              <p:nvPr>
                <p:custDataLst>
                  <p:tags r:id="rId108"/>
                </p:custDataLst>
              </p:nvPr>
            </p:nvSpPr>
            <p:spPr bwMode="auto">
              <a:xfrm>
                <a:off x="2647169" y="6244131"/>
                <a:ext cx="138687" cy="78028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0" y="0"/>
                  </a:cxn>
                  <a:cxn ang="0">
                    <a:pos x="15" y="3"/>
                  </a:cxn>
                  <a:cxn ang="0">
                    <a:pos x="17" y="3"/>
                  </a:cxn>
                  <a:cxn ang="0">
                    <a:pos x="15" y="5"/>
                  </a:cxn>
                  <a:cxn ang="0">
                    <a:pos x="15" y="9"/>
                  </a:cxn>
                  <a:cxn ang="0">
                    <a:pos x="0" y="3"/>
                  </a:cxn>
                  <a:cxn ang="0">
                    <a:pos x="0" y="5"/>
                  </a:cxn>
                  <a:cxn ang="0">
                    <a:pos x="2" y="9"/>
                  </a:cxn>
                  <a:cxn ang="0">
                    <a:pos x="4" y="9"/>
                  </a:cxn>
                  <a:cxn ang="0">
                    <a:pos x="15" y="12"/>
                  </a:cxn>
                  <a:cxn ang="0">
                    <a:pos x="19" y="12"/>
                  </a:cxn>
                  <a:cxn ang="0">
                    <a:pos x="19" y="14"/>
                  </a:cxn>
                  <a:cxn ang="0">
                    <a:pos x="25" y="14"/>
                  </a:cxn>
                  <a:cxn ang="0">
                    <a:pos x="21" y="7"/>
                  </a:cxn>
                  <a:cxn ang="0">
                    <a:pos x="17" y="0"/>
                  </a:cxn>
                </a:cxnLst>
                <a:rect l="0" t="0" r="r" b="b"/>
                <a:pathLst>
                  <a:path w="25" h="14">
                    <a:moveTo>
                      <a:pt x="17" y="0"/>
                    </a:moveTo>
                    <a:lnTo>
                      <a:pt x="10" y="0"/>
                    </a:lnTo>
                    <a:lnTo>
                      <a:pt x="15" y="3"/>
                    </a:lnTo>
                    <a:lnTo>
                      <a:pt x="17" y="3"/>
                    </a:lnTo>
                    <a:lnTo>
                      <a:pt x="15" y="5"/>
                    </a:lnTo>
                    <a:lnTo>
                      <a:pt x="15" y="9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9"/>
                    </a:lnTo>
                    <a:lnTo>
                      <a:pt x="4" y="9"/>
                    </a:lnTo>
                    <a:lnTo>
                      <a:pt x="15" y="12"/>
                    </a:lnTo>
                    <a:lnTo>
                      <a:pt x="19" y="12"/>
                    </a:lnTo>
                    <a:lnTo>
                      <a:pt x="19" y="14"/>
                    </a:lnTo>
                    <a:lnTo>
                      <a:pt x="25" y="14"/>
                    </a:lnTo>
                    <a:lnTo>
                      <a:pt x="21" y="7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  <p:sp>
            <p:nvSpPr>
              <p:cNvPr id="199" name="Argentina"/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auto">
              <a:xfrm>
                <a:off x="2486292" y="5257632"/>
                <a:ext cx="393872" cy="964205"/>
              </a:xfrm>
              <a:custGeom>
                <a:avLst/>
                <a:gdLst/>
                <a:ahLst/>
                <a:cxnLst>
                  <a:cxn ang="0">
                    <a:pos x="56" y="69"/>
                  </a:cxn>
                  <a:cxn ang="0">
                    <a:pos x="65" y="78"/>
                  </a:cxn>
                  <a:cxn ang="0">
                    <a:pos x="69" y="85"/>
                  </a:cxn>
                  <a:cxn ang="0">
                    <a:pos x="65" y="94"/>
                  </a:cxn>
                  <a:cxn ang="0">
                    <a:pos x="48" y="101"/>
                  </a:cxn>
                  <a:cxn ang="0">
                    <a:pos x="44" y="112"/>
                  </a:cxn>
                  <a:cxn ang="0">
                    <a:pos x="39" y="117"/>
                  </a:cxn>
                  <a:cxn ang="0">
                    <a:pos x="46" y="117"/>
                  </a:cxn>
                  <a:cxn ang="0">
                    <a:pos x="48" y="121"/>
                  </a:cxn>
                  <a:cxn ang="0">
                    <a:pos x="44" y="119"/>
                  </a:cxn>
                  <a:cxn ang="0">
                    <a:pos x="46" y="121"/>
                  </a:cxn>
                  <a:cxn ang="0">
                    <a:pos x="44" y="130"/>
                  </a:cxn>
                  <a:cxn ang="0">
                    <a:pos x="37" y="135"/>
                  </a:cxn>
                  <a:cxn ang="0">
                    <a:pos x="37" y="144"/>
                  </a:cxn>
                  <a:cxn ang="0">
                    <a:pos x="46" y="146"/>
                  </a:cxn>
                  <a:cxn ang="0">
                    <a:pos x="44" y="155"/>
                  </a:cxn>
                  <a:cxn ang="0">
                    <a:pos x="39" y="164"/>
                  </a:cxn>
                  <a:cxn ang="0">
                    <a:pos x="48" y="173"/>
                  </a:cxn>
                  <a:cxn ang="0">
                    <a:pos x="31" y="173"/>
                  </a:cxn>
                  <a:cxn ang="0">
                    <a:pos x="23" y="164"/>
                  </a:cxn>
                  <a:cxn ang="0">
                    <a:pos x="21" y="144"/>
                  </a:cxn>
                  <a:cxn ang="0">
                    <a:pos x="17" y="135"/>
                  </a:cxn>
                  <a:cxn ang="0">
                    <a:pos x="12" y="121"/>
                  </a:cxn>
                  <a:cxn ang="0">
                    <a:pos x="8" y="112"/>
                  </a:cxn>
                  <a:cxn ang="0">
                    <a:pos x="4" y="87"/>
                  </a:cxn>
                  <a:cxn ang="0">
                    <a:pos x="4" y="78"/>
                  </a:cxn>
                  <a:cxn ang="0">
                    <a:pos x="0" y="54"/>
                  </a:cxn>
                  <a:cxn ang="0">
                    <a:pos x="4" y="27"/>
                  </a:cxn>
                  <a:cxn ang="0">
                    <a:pos x="6" y="11"/>
                  </a:cxn>
                  <a:cxn ang="0">
                    <a:pos x="12" y="0"/>
                  </a:cxn>
                  <a:cxn ang="0">
                    <a:pos x="25" y="2"/>
                  </a:cxn>
                  <a:cxn ang="0">
                    <a:pos x="44" y="15"/>
                  </a:cxn>
                  <a:cxn ang="0">
                    <a:pos x="52" y="24"/>
                  </a:cxn>
                  <a:cxn ang="0">
                    <a:pos x="60" y="33"/>
                  </a:cxn>
                  <a:cxn ang="0">
                    <a:pos x="65" y="27"/>
                  </a:cxn>
                  <a:cxn ang="0">
                    <a:pos x="69" y="22"/>
                  </a:cxn>
                  <a:cxn ang="0">
                    <a:pos x="69" y="33"/>
                  </a:cxn>
                  <a:cxn ang="0">
                    <a:pos x="56" y="49"/>
                  </a:cxn>
                </a:cxnLst>
                <a:rect l="0" t="0" r="r" b="b"/>
                <a:pathLst>
                  <a:path w="71" h="173">
                    <a:moveTo>
                      <a:pt x="56" y="49"/>
                    </a:moveTo>
                    <a:lnTo>
                      <a:pt x="56" y="69"/>
                    </a:lnTo>
                    <a:lnTo>
                      <a:pt x="56" y="74"/>
                    </a:lnTo>
                    <a:lnTo>
                      <a:pt x="65" y="78"/>
                    </a:lnTo>
                    <a:lnTo>
                      <a:pt x="62" y="83"/>
                    </a:lnTo>
                    <a:lnTo>
                      <a:pt x="69" y="85"/>
                    </a:lnTo>
                    <a:lnTo>
                      <a:pt x="69" y="87"/>
                    </a:lnTo>
                    <a:lnTo>
                      <a:pt x="65" y="94"/>
                    </a:lnTo>
                    <a:lnTo>
                      <a:pt x="54" y="96"/>
                    </a:lnTo>
                    <a:lnTo>
                      <a:pt x="48" y="101"/>
                    </a:lnTo>
                    <a:lnTo>
                      <a:pt x="48" y="110"/>
                    </a:lnTo>
                    <a:lnTo>
                      <a:pt x="44" y="112"/>
                    </a:lnTo>
                    <a:lnTo>
                      <a:pt x="37" y="110"/>
                    </a:lnTo>
                    <a:lnTo>
                      <a:pt x="39" y="117"/>
                    </a:lnTo>
                    <a:lnTo>
                      <a:pt x="44" y="119"/>
                    </a:lnTo>
                    <a:lnTo>
                      <a:pt x="46" y="117"/>
                    </a:lnTo>
                    <a:lnTo>
                      <a:pt x="48" y="119"/>
                    </a:lnTo>
                    <a:lnTo>
                      <a:pt x="48" y="121"/>
                    </a:lnTo>
                    <a:lnTo>
                      <a:pt x="46" y="121"/>
                    </a:lnTo>
                    <a:lnTo>
                      <a:pt x="44" y="119"/>
                    </a:lnTo>
                    <a:lnTo>
                      <a:pt x="44" y="121"/>
                    </a:lnTo>
                    <a:lnTo>
                      <a:pt x="46" y="121"/>
                    </a:lnTo>
                    <a:lnTo>
                      <a:pt x="44" y="126"/>
                    </a:lnTo>
                    <a:lnTo>
                      <a:pt x="44" y="130"/>
                    </a:lnTo>
                    <a:lnTo>
                      <a:pt x="44" y="135"/>
                    </a:lnTo>
                    <a:lnTo>
                      <a:pt x="37" y="135"/>
                    </a:lnTo>
                    <a:lnTo>
                      <a:pt x="37" y="139"/>
                    </a:lnTo>
                    <a:lnTo>
                      <a:pt x="37" y="144"/>
                    </a:lnTo>
                    <a:lnTo>
                      <a:pt x="44" y="146"/>
                    </a:lnTo>
                    <a:lnTo>
                      <a:pt x="46" y="146"/>
                    </a:lnTo>
                    <a:lnTo>
                      <a:pt x="48" y="148"/>
                    </a:lnTo>
                    <a:lnTo>
                      <a:pt x="44" y="155"/>
                    </a:lnTo>
                    <a:lnTo>
                      <a:pt x="44" y="162"/>
                    </a:lnTo>
                    <a:lnTo>
                      <a:pt x="39" y="164"/>
                    </a:lnTo>
                    <a:lnTo>
                      <a:pt x="39" y="168"/>
                    </a:lnTo>
                    <a:lnTo>
                      <a:pt x="48" y="173"/>
                    </a:lnTo>
                    <a:lnTo>
                      <a:pt x="44" y="173"/>
                    </a:lnTo>
                    <a:lnTo>
                      <a:pt x="31" y="173"/>
                    </a:lnTo>
                    <a:lnTo>
                      <a:pt x="25" y="164"/>
                    </a:lnTo>
                    <a:lnTo>
                      <a:pt x="23" y="164"/>
                    </a:lnTo>
                    <a:lnTo>
                      <a:pt x="21" y="162"/>
                    </a:lnTo>
                    <a:lnTo>
                      <a:pt x="21" y="144"/>
                    </a:lnTo>
                    <a:lnTo>
                      <a:pt x="17" y="130"/>
                    </a:lnTo>
                    <a:lnTo>
                      <a:pt x="17" y="135"/>
                    </a:lnTo>
                    <a:lnTo>
                      <a:pt x="14" y="130"/>
                    </a:lnTo>
                    <a:lnTo>
                      <a:pt x="12" y="121"/>
                    </a:lnTo>
                    <a:lnTo>
                      <a:pt x="12" y="117"/>
                    </a:lnTo>
                    <a:lnTo>
                      <a:pt x="8" y="112"/>
                    </a:lnTo>
                    <a:lnTo>
                      <a:pt x="8" y="96"/>
                    </a:lnTo>
                    <a:lnTo>
                      <a:pt x="4" y="87"/>
                    </a:lnTo>
                    <a:lnTo>
                      <a:pt x="6" y="83"/>
                    </a:lnTo>
                    <a:lnTo>
                      <a:pt x="4" y="78"/>
                    </a:lnTo>
                    <a:lnTo>
                      <a:pt x="6" y="69"/>
                    </a:lnTo>
                    <a:lnTo>
                      <a:pt x="0" y="54"/>
                    </a:lnTo>
                    <a:lnTo>
                      <a:pt x="0" y="36"/>
                    </a:lnTo>
                    <a:lnTo>
                      <a:pt x="4" y="27"/>
                    </a:lnTo>
                    <a:lnTo>
                      <a:pt x="0" y="15"/>
                    </a:lnTo>
                    <a:lnTo>
                      <a:pt x="6" y="11"/>
                    </a:lnTo>
                    <a:lnTo>
                      <a:pt x="6" y="6"/>
                    </a:lnTo>
                    <a:lnTo>
                      <a:pt x="12" y="0"/>
                    </a:lnTo>
                    <a:lnTo>
                      <a:pt x="21" y="2"/>
                    </a:lnTo>
                    <a:lnTo>
                      <a:pt x="25" y="2"/>
                    </a:lnTo>
                    <a:lnTo>
                      <a:pt x="37" y="11"/>
                    </a:lnTo>
                    <a:lnTo>
                      <a:pt x="44" y="15"/>
                    </a:lnTo>
                    <a:lnTo>
                      <a:pt x="52" y="18"/>
                    </a:lnTo>
                    <a:lnTo>
                      <a:pt x="52" y="24"/>
                    </a:lnTo>
                    <a:lnTo>
                      <a:pt x="48" y="31"/>
                    </a:lnTo>
                    <a:lnTo>
                      <a:pt x="60" y="33"/>
                    </a:lnTo>
                    <a:lnTo>
                      <a:pt x="62" y="33"/>
                    </a:lnTo>
                    <a:lnTo>
                      <a:pt x="65" y="27"/>
                    </a:lnTo>
                    <a:lnTo>
                      <a:pt x="65" y="22"/>
                    </a:lnTo>
                    <a:lnTo>
                      <a:pt x="69" y="22"/>
                    </a:lnTo>
                    <a:lnTo>
                      <a:pt x="71" y="31"/>
                    </a:lnTo>
                    <a:lnTo>
                      <a:pt x="69" y="33"/>
                    </a:lnTo>
                    <a:lnTo>
                      <a:pt x="62" y="42"/>
                    </a:lnTo>
                    <a:lnTo>
                      <a:pt x="56" y="49"/>
                    </a:lnTo>
                    <a:close/>
                  </a:path>
                </a:pathLst>
              </a:custGeom>
              <a:grpFill/>
              <a:ln w="635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 sz="2844" kern="0">
                  <a:solidFill>
                    <a:srgbClr val="002663"/>
                  </a:solidFill>
                </a:endParaRPr>
              </a:p>
            </p:txBody>
          </p:sp>
        </p:grpSp>
        <p:sp>
          <p:nvSpPr>
            <p:cNvPr id="191" name="Antigua and Barbuda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2508482" y="3964595"/>
              <a:ext cx="44380" cy="1114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2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8" h="2">
                  <a:moveTo>
                    <a:pt x="0" y="2"/>
                  </a:moveTo>
                  <a:lnTo>
                    <a:pt x="4" y="2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92" name="Angola"/>
            <p:cNvSpPr>
              <a:spLocks/>
            </p:cNvSpPr>
            <p:nvPr/>
          </p:nvSpPr>
          <p:spPr bwMode="auto">
            <a:xfrm>
              <a:off x="4535950" y="4744151"/>
              <a:ext cx="336870" cy="397226"/>
            </a:xfrm>
            <a:custGeom>
              <a:avLst/>
              <a:gdLst>
                <a:gd name="T0" fmla="*/ 2 w 926"/>
                <a:gd name="T1" fmla="*/ 819 h 921"/>
                <a:gd name="T2" fmla="*/ 9 w 926"/>
                <a:gd name="T3" fmla="*/ 819 h 921"/>
                <a:gd name="T4" fmla="*/ 20 w 926"/>
                <a:gd name="T5" fmla="*/ 749 h 921"/>
                <a:gd name="T6" fmla="*/ 36 w 926"/>
                <a:gd name="T7" fmla="*/ 684 h 921"/>
                <a:gd name="T8" fmla="*/ 50 w 926"/>
                <a:gd name="T9" fmla="*/ 628 h 921"/>
                <a:gd name="T10" fmla="*/ 62 w 926"/>
                <a:gd name="T11" fmla="*/ 595 h 921"/>
                <a:gd name="T12" fmla="*/ 90 w 926"/>
                <a:gd name="T13" fmla="*/ 548 h 921"/>
                <a:gd name="T14" fmla="*/ 120 w 926"/>
                <a:gd name="T15" fmla="*/ 517 h 921"/>
                <a:gd name="T16" fmla="*/ 154 w 926"/>
                <a:gd name="T17" fmla="*/ 451 h 921"/>
                <a:gd name="T18" fmla="*/ 156 w 926"/>
                <a:gd name="T19" fmla="*/ 397 h 921"/>
                <a:gd name="T20" fmla="*/ 157 w 926"/>
                <a:gd name="T21" fmla="*/ 360 h 921"/>
                <a:gd name="T22" fmla="*/ 136 w 926"/>
                <a:gd name="T23" fmla="*/ 338 h 921"/>
                <a:gd name="T24" fmla="*/ 114 w 926"/>
                <a:gd name="T25" fmla="*/ 282 h 921"/>
                <a:gd name="T26" fmla="*/ 115 w 926"/>
                <a:gd name="T27" fmla="*/ 237 h 921"/>
                <a:gd name="T28" fmla="*/ 120 w 926"/>
                <a:gd name="T29" fmla="*/ 191 h 921"/>
                <a:gd name="T30" fmla="*/ 97 w 926"/>
                <a:gd name="T31" fmla="*/ 133 h 921"/>
                <a:gd name="T32" fmla="*/ 66 w 926"/>
                <a:gd name="T33" fmla="*/ 68 h 921"/>
                <a:gd name="T34" fmla="*/ 47 w 926"/>
                <a:gd name="T35" fmla="*/ 27 h 921"/>
                <a:gd name="T36" fmla="*/ 65 w 926"/>
                <a:gd name="T37" fmla="*/ 20 h 921"/>
                <a:gd name="T38" fmla="*/ 80 w 926"/>
                <a:gd name="T39" fmla="*/ 17 h 921"/>
                <a:gd name="T40" fmla="*/ 98 w 926"/>
                <a:gd name="T41" fmla="*/ 10 h 921"/>
                <a:gd name="T42" fmla="*/ 111 w 926"/>
                <a:gd name="T43" fmla="*/ 8 h 921"/>
                <a:gd name="T44" fmla="*/ 136 w 926"/>
                <a:gd name="T45" fmla="*/ 4 h 921"/>
                <a:gd name="T46" fmla="*/ 221 w 926"/>
                <a:gd name="T47" fmla="*/ 8 h 921"/>
                <a:gd name="T48" fmla="*/ 336 w 926"/>
                <a:gd name="T49" fmla="*/ 4 h 921"/>
                <a:gd name="T50" fmla="*/ 383 w 926"/>
                <a:gd name="T51" fmla="*/ 55 h 921"/>
                <a:gd name="T52" fmla="*/ 409 w 926"/>
                <a:gd name="T53" fmla="*/ 120 h 921"/>
                <a:gd name="T54" fmla="*/ 440 w 926"/>
                <a:gd name="T55" fmla="*/ 166 h 921"/>
                <a:gd name="T56" fmla="*/ 493 w 926"/>
                <a:gd name="T57" fmla="*/ 166 h 921"/>
                <a:gd name="T58" fmla="*/ 567 w 926"/>
                <a:gd name="T59" fmla="*/ 166 h 921"/>
                <a:gd name="T60" fmla="*/ 592 w 926"/>
                <a:gd name="T61" fmla="*/ 125 h 921"/>
                <a:gd name="T62" fmla="*/ 639 w 926"/>
                <a:gd name="T63" fmla="*/ 91 h 921"/>
                <a:gd name="T64" fmla="*/ 668 w 926"/>
                <a:gd name="T65" fmla="*/ 113 h 921"/>
                <a:gd name="T66" fmla="*/ 766 w 926"/>
                <a:gd name="T67" fmla="*/ 124 h 921"/>
                <a:gd name="T68" fmla="*/ 770 w 926"/>
                <a:gd name="T69" fmla="*/ 213 h 921"/>
                <a:gd name="T70" fmla="*/ 776 w 926"/>
                <a:gd name="T71" fmla="*/ 305 h 921"/>
                <a:gd name="T72" fmla="*/ 790 w 926"/>
                <a:gd name="T73" fmla="*/ 379 h 921"/>
                <a:gd name="T74" fmla="*/ 792 w 926"/>
                <a:gd name="T75" fmla="*/ 410 h 921"/>
                <a:gd name="T76" fmla="*/ 813 w 926"/>
                <a:gd name="T77" fmla="*/ 398 h 921"/>
                <a:gd name="T78" fmla="*/ 882 w 926"/>
                <a:gd name="T79" fmla="*/ 391 h 921"/>
                <a:gd name="T80" fmla="*/ 923 w 926"/>
                <a:gd name="T81" fmla="*/ 387 h 921"/>
                <a:gd name="T82" fmla="*/ 925 w 926"/>
                <a:gd name="T83" fmla="*/ 428 h 921"/>
                <a:gd name="T84" fmla="*/ 923 w 926"/>
                <a:gd name="T85" fmla="*/ 498 h 921"/>
                <a:gd name="T86" fmla="*/ 877 w 926"/>
                <a:gd name="T87" fmla="*/ 545 h 921"/>
                <a:gd name="T88" fmla="*/ 765 w 926"/>
                <a:gd name="T89" fmla="*/ 782 h 921"/>
                <a:gd name="T90" fmla="*/ 833 w 926"/>
                <a:gd name="T91" fmla="*/ 863 h 921"/>
                <a:gd name="T92" fmla="*/ 869 w 926"/>
                <a:gd name="T93" fmla="*/ 891 h 921"/>
                <a:gd name="T94" fmla="*/ 716 w 926"/>
                <a:gd name="T95" fmla="*/ 920 h 921"/>
                <a:gd name="T96" fmla="*/ 630 w 926"/>
                <a:gd name="T97" fmla="*/ 910 h 921"/>
                <a:gd name="T98" fmla="*/ 537 w 926"/>
                <a:gd name="T99" fmla="*/ 903 h 921"/>
                <a:gd name="T100" fmla="*/ 472 w 926"/>
                <a:gd name="T101" fmla="*/ 872 h 921"/>
                <a:gd name="T102" fmla="*/ 179 w 926"/>
                <a:gd name="T103" fmla="*/ 874 h 921"/>
                <a:gd name="T104" fmla="*/ 103 w 926"/>
                <a:gd name="T105" fmla="*/ 843 h 921"/>
                <a:gd name="T106" fmla="*/ 19 w 926"/>
                <a:gd name="T107" fmla="*/ 863 h 921"/>
                <a:gd name="T108" fmla="*/ 7 w 926"/>
                <a:gd name="T109" fmla="*/ 862 h 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26" h="921">
                  <a:moveTo>
                    <a:pt x="6" y="862"/>
                  </a:moveTo>
                  <a:cubicBezTo>
                    <a:pt x="5" y="847"/>
                    <a:pt x="1" y="833"/>
                    <a:pt x="2" y="819"/>
                  </a:cubicBezTo>
                  <a:cubicBezTo>
                    <a:pt x="0" y="813"/>
                    <a:pt x="10" y="819"/>
                    <a:pt x="9" y="823"/>
                  </a:cubicBezTo>
                  <a:cubicBezTo>
                    <a:pt x="11" y="832"/>
                    <a:pt x="10" y="824"/>
                    <a:pt x="9" y="819"/>
                  </a:cubicBezTo>
                  <a:cubicBezTo>
                    <a:pt x="8" y="801"/>
                    <a:pt x="7" y="782"/>
                    <a:pt x="9" y="763"/>
                  </a:cubicBezTo>
                  <a:cubicBezTo>
                    <a:pt x="12" y="758"/>
                    <a:pt x="18" y="755"/>
                    <a:pt x="20" y="749"/>
                  </a:cubicBezTo>
                  <a:cubicBezTo>
                    <a:pt x="25" y="737"/>
                    <a:pt x="25" y="724"/>
                    <a:pt x="31" y="713"/>
                  </a:cubicBezTo>
                  <a:cubicBezTo>
                    <a:pt x="36" y="704"/>
                    <a:pt x="33" y="693"/>
                    <a:pt x="36" y="684"/>
                  </a:cubicBezTo>
                  <a:cubicBezTo>
                    <a:pt x="41" y="673"/>
                    <a:pt x="39" y="661"/>
                    <a:pt x="44" y="651"/>
                  </a:cubicBezTo>
                  <a:cubicBezTo>
                    <a:pt x="46" y="643"/>
                    <a:pt x="46" y="635"/>
                    <a:pt x="50" y="628"/>
                  </a:cubicBezTo>
                  <a:cubicBezTo>
                    <a:pt x="53" y="621"/>
                    <a:pt x="58" y="614"/>
                    <a:pt x="57" y="606"/>
                  </a:cubicBezTo>
                  <a:cubicBezTo>
                    <a:pt x="56" y="601"/>
                    <a:pt x="59" y="598"/>
                    <a:pt x="62" y="595"/>
                  </a:cubicBezTo>
                  <a:cubicBezTo>
                    <a:pt x="62" y="584"/>
                    <a:pt x="67" y="575"/>
                    <a:pt x="71" y="566"/>
                  </a:cubicBezTo>
                  <a:cubicBezTo>
                    <a:pt x="78" y="561"/>
                    <a:pt x="85" y="555"/>
                    <a:pt x="90" y="548"/>
                  </a:cubicBezTo>
                  <a:cubicBezTo>
                    <a:pt x="92" y="542"/>
                    <a:pt x="92" y="536"/>
                    <a:pt x="93" y="530"/>
                  </a:cubicBezTo>
                  <a:cubicBezTo>
                    <a:pt x="102" y="526"/>
                    <a:pt x="111" y="521"/>
                    <a:pt x="120" y="517"/>
                  </a:cubicBezTo>
                  <a:cubicBezTo>
                    <a:pt x="130" y="506"/>
                    <a:pt x="142" y="495"/>
                    <a:pt x="146" y="481"/>
                  </a:cubicBezTo>
                  <a:cubicBezTo>
                    <a:pt x="151" y="471"/>
                    <a:pt x="152" y="461"/>
                    <a:pt x="154" y="451"/>
                  </a:cubicBezTo>
                  <a:cubicBezTo>
                    <a:pt x="155" y="442"/>
                    <a:pt x="153" y="434"/>
                    <a:pt x="155" y="426"/>
                  </a:cubicBezTo>
                  <a:cubicBezTo>
                    <a:pt x="159" y="416"/>
                    <a:pt x="158" y="406"/>
                    <a:pt x="156" y="397"/>
                  </a:cubicBezTo>
                  <a:cubicBezTo>
                    <a:pt x="156" y="392"/>
                    <a:pt x="160" y="389"/>
                    <a:pt x="162" y="385"/>
                  </a:cubicBezTo>
                  <a:cubicBezTo>
                    <a:pt x="160" y="377"/>
                    <a:pt x="158" y="368"/>
                    <a:pt x="157" y="360"/>
                  </a:cubicBezTo>
                  <a:cubicBezTo>
                    <a:pt x="153" y="355"/>
                    <a:pt x="148" y="352"/>
                    <a:pt x="144" y="349"/>
                  </a:cubicBezTo>
                  <a:cubicBezTo>
                    <a:pt x="139" y="346"/>
                    <a:pt x="138" y="342"/>
                    <a:pt x="136" y="338"/>
                  </a:cubicBezTo>
                  <a:cubicBezTo>
                    <a:pt x="134" y="331"/>
                    <a:pt x="130" y="325"/>
                    <a:pt x="125" y="319"/>
                  </a:cubicBezTo>
                  <a:cubicBezTo>
                    <a:pt x="121" y="307"/>
                    <a:pt x="116" y="295"/>
                    <a:pt x="114" y="282"/>
                  </a:cubicBezTo>
                  <a:cubicBezTo>
                    <a:pt x="112" y="271"/>
                    <a:pt x="107" y="260"/>
                    <a:pt x="107" y="248"/>
                  </a:cubicBezTo>
                  <a:cubicBezTo>
                    <a:pt x="109" y="244"/>
                    <a:pt x="112" y="240"/>
                    <a:pt x="115" y="237"/>
                  </a:cubicBezTo>
                  <a:cubicBezTo>
                    <a:pt x="118" y="233"/>
                    <a:pt x="125" y="230"/>
                    <a:pt x="124" y="224"/>
                  </a:cubicBezTo>
                  <a:cubicBezTo>
                    <a:pt x="125" y="213"/>
                    <a:pt x="124" y="202"/>
                    <a:pt x="120" y="191"/>
                  </a:cubicBezTo>
                  <a:cubicBezTo>
                    <a:pt x="120" y="185"/>
                    <a:pt x="113" y="181"/>
                    <a:pt x="111" y="175"/>
                  </a:cubicBezTo>
                  <a:cubicBezTo>
                    <a:pt x="105" y="162"/>
                    <a:pt x="101" y="147"/>
                    <a:pt x="97" y="133"/>
                  </a:cubicBezTo>
                  <a:cubicBezTo>
                    <a:pt x="92" y="121"/>
                    <a:pt x="92" y="108"/>
                    <a:pt x="87" y="96"/>
                  </a:cubicBezTo>
                  <a:cubicBezTo>
                    <a:pt x="81" y="87"/>
                    <a:pt x="72" y="78"/>
                    <a:pt x="66" y="68"/>
                  </a:cubicBezTo>
                  <a:cubicBezTo>
                    <a:pt x="62" y="58"/>
                    <a:pt x="54" y="50"/>
                    <a:pt x="49" y="40"/>
                  </a:cubicBezTo>
                  <a:cubicBezTo>
                    <a:pt x="49" y="36"/>
                    <a:pt x="47" y="31"/>
                    <a:pt x="47" y="27"/>
                  </a:cubicBezTo>
                  <a:cubicBezTo>
                    <a:pt x="48" y="24"/>
                    <a:pt x="51" y="23"/>
                    <a:pt x="53" y="22"/>
                  </a:cubicBezTo>
                  <a:cubicBezTo>
                    <a:pt x="57" y="21"/>
                    <a:pt x="62" y="23"/>
                    <a:pt x="65" y="20"/>
                  </a:cubicBezTo>
                  <a:cubicBezTo>
                    <a:pt x="68" y="20"/>
                    <a:pt x="69" y="19"/>
                    <a:pt x="72" y="19"/>
                  </a:cubicBezTo>
                  <a:cubicBezTo>
                    <a:pt x="75" y="20"/>
                    <a:pt x="77" y="14"/>
                    <a:pt x="80" y="17"/>
                  </a:cubicBezTo>
                  <a:cubicBezTo>
                    <a:pt x="83" y="16"/>
                    <a:pt x="86" y="17"/>
                    <a:pt x="88" y="16"/>
                  </a:cubicBezTo>
                  <a:cubicBezTo>
                    <a:pt x="91" y="14"/>
                    <a:pt x="96" y="14"/>
                    <a:pt x="98" y="10"/>
                  </a:cubicBezTo>
                  <a:cubicBezTo>
                    <a:pt x="98" y="7"/>
                    <a:pt x="101" y="7"/>
                    <a:pt x="104" y="7"/>
                  </a:cubicBezTo>
                  <a:cubicBezTo>
                    <a:pt x="106" y="4"/>
                    <a:pt x="108" y="9"/>
                    <a:pt x="111" y="8"/>
                  </a:cubicBezTo>
                  <a:cubicBezTo>
                    <a:pt x="111" y="7"/>
                    <a:pt x="115" y="6"/>
                    <a:pt x="115" y="5"/>
                  </a:cubicBezTo>
                  <a:cubicBezTo>
                    <a:pt x="122" y="6"/>
                    <a:pt x="129" y="6"/>
                    <a:pt x="136" y="4"/>
                  </a:cubicBezTo>
                  <a:cubicBezTo>
                    <a:pt x="148" y="5"/>
                    <a:pt x="160" y="5"/>
                    <a:pt x="172" y="3"/>
                  </a:cubicBezTo>
                  <a:cubicBezTo>
                    <a:pt x="187" y="6"/>
                    <a:pt x="205" y="7"/>
                    <a:pt x="221" y="8"/>
                  </a:cubicBezTo>
                  <a:cubicBezTo>
                    <a:pt x="234" y="5"/>
                    <a:pt x="249" y="5"/>
                    <a:pt x="263" y="5"/>
                  </a:cubicBezTo>
                  <a:cubicBezTo>
                    <a:pt x="287" y="4"/>
                    <a:pt x="311" y="5"/>
                    <a:pt x="336" y="4"/>
                  </a:cubicBezTo>
                  <a:cubicBezTo>
                    <a:pt x="349" y="5"/>
                    <a:pt x="374" y="0"/>
                    <a:pt x="373" y="19"/>
                  </a:cubicBezTo>
                  <a:cubicBezTo>
                    <a:pt x="387" y="28"/>
                    <a:pt x="377" y="43"/>
                    <a:pt x="383" y="55"/>
                  </a:cubicBezTo>
                  <a:cubicBezTo>
                    <a:pt x="385" y="70"/>
                    <a:pt x="399" y="81"/>
                    <a:pt x="400" y="95"/>
                  </a:cubicBezTo>
                  <a:cubicBezTo>
                    <a:pt x="392" y="103"/>
                    <a:pt x="405" y="114"/>
                    <a:pt x="409" y="120"/>
                  </a:cubicBezTo>
                  <a:cubicBezTo>
                    <a:pt x="416" y="123"/>
                    <a:pt x="413" y="124"/>
                    <a:pt x="416" y="130"/>
                  </a:cubicBezTo>
                  <a:cubicBezTo>
                    <a:pt x="425" y="141"/>
                    <a:pt x="431" y="155"/>
                    <a:pt x="440" y="166"/>
                  </a:cubicBezTo>
                  <a:cubicBezTo>
                    <a:pt x="445" y="181"/>
                    <a:pt x="464" y="166"/>
                    <a:pt x="474" y="171"/>
                  </a:cubicBezTo>
                  <a:cubicBezTo>
                    <a:pt x="483" y="181"/>
                    <a:pt x="485" y="167"/>
                    <a:pt x="493" y="166"/>
                  </a:cubicBezTo>
                  <a:cubicBezTo>
                    <a:pt x="506" y="170"/>
                    <a:pt x="516" y="163"/>
                    <a:pt x="528" y="161"/>
                  </a:cubicBezTo>
                  <a:cubicBezTo>
                    <a:pt x="539" y="168"/>
                    <a:pt x="553" y="166"/>
                    <a:pt x="567" y="166"/>
                  </a:cubicBezTo>
                  <a:cubicBezTo>
                    <a:pt x="584" y="172"/>
                    <a:pt x="578" y="154"/>
                    <a:pt x="582" y="144"/>
                  </a:cubicBezTo>
                  <a:cubicBezTo>
                    <a:pt x="575" y="133"/>
                    <a:pt x="593" y="135"/>
                    <a:pt x="592" y="125"/>
                  </a:cubicBezTo>
                  <a:cubicBezTo>
                    <a:pt x="586" y="113"/>
                    <a:pt x="592" y="102"/>
                    <a:pt x="593" y="91"/>
                  </a:cubicBezTo>
                  <a:cubicBezTo>
                    <a:pt x="609" y="91"/>
                    <a:pt x="624" y="91"/>
                    <a:pt x="639" y="91"/>
                  </a:cubicBezTo>
                  <a:cubicBezTo>
                    <a:pt x="650" y="96"/>
                    <a:pt x="652" y="81"/>
                    <a:pt x="662" y="85"/>
                  </a:cubicBezTo>
                  <a:cubicBezTo>
                    <a:pt x="685" y="80"/>
                    <a:pt x="663" y="102"/>
                    <a:pt x="668" y="113"/>
                  </a:cubicBezTo>
                  <a:cubicBezTo>
                    <a:pt x="693" y="113"/>
                    <a:pt x="718" y="112"/>
                    <a:pt x="743" y="113"/>
                  </a:cubicBezTo>
                  <a:cubicBezTo>
                    <a:pt x="752" y="112"/>
                    <a:pt x="767" y="111"/>
                    <a:pt x="766" y="124"/>
                  </a:cubicBezTo>
                  <a:cubicBezTo>
                    <a:pt x="768" y="137"/>
                    <a:pt x="759" y="148"/>
                    <a:pt x="759" y="161"/>
                  </a:cubicBezTo>
                  <a:cubicBezTo>
                    <a:pt x="762" y="178"/>
                    <a:pt x="776" y="195"/>
                    <a:pt x="770" y="213"/>
                  </a:cubicBezTo>
                  <a:cubicBezTo>
                    <a:pt x="763" y="231"/>
                    <a:pt x="766" y="250"/>
                    <a:pt x="762" y="268"/>
                  </a:cubicBezTo>
                  <a:cubicBezTo>
                    <a:pt x="758" y="282"/>
                    <a:pt x="767" y="294"/>
                    <a:pt x="776" y="305"/>
                  </a:cubicBezTo>
                  <a:cubicBezTo>
                    <a:pt x="793" y="311"/>
                    <a:pt x="788" y="331"/>
                    <a:pt x="797" y="344"/>
                  </a:cubicBezTo>
                  <a:cubicBezTo>
                    <a:pt x="791" y="355"/>
                    <a:pt x="806" y="373"/>
                    <a:pt x="790" y="379"/>
                  </a:cubicBezTo>
                  <a:cubicBezTo>
                    <a:pt x="781" y="387"/>
                    <a:pt x="794" y="398"/>
                    <a:pt x="792" y="408"/>
                  </a:cubicBezTo>
                  <a:cubicBezTo>
                    <a:pt x="791" y="409"/>
                    <a:pt x="790" y="410"/>
                    <a:pt x="792" y="410"/>
                  </a:cubicBezTo>
                  <a:cubicBezTo>
                    <a:pt x="792" y="409"/>
                    <a:pt x="792" y="409"/>
                    <a:pt x="792" y="408"/>
                  </a:cubicBezTo>
                  <a:cubicBezTo>
                    <a:pt x="797" y="406"/>
                    <a:pt x="809" y="403"/>
                    <a:pt x="813" y="398"/>
                  </a:cubicBezTo>
                  <a:cubicBezTo>
                    <a:pt x="816" y="400"/>
                    <a:pt x="833" y="402"/>
                    <a:pt x="839" y="399"/>
                  </a:cubicBezTo>
                  <a:cubicBezTo>
                    <a:pt x="854" y="406"/>
                    <a:pt x="868" y="396"/>
                    <a:pt x="882" y="391"/>
                  </a:cubicBezTo>
                  <a:cubicBezTo>
                    <a:pt x="895" y="392"/>
                    <a:pt x="914" y="403"/>
                    <a:pt x="921" y="386"/>
                  </a:cubicBezTo>
                  <a:cubicBezTo>
                    <a:pt x="923" y="387"/>
                    <a:pt x="923" y="387"/>
                    <a:pt x="923" y="387"/>
                  </a:cubicBezTo>
                  <a:cubicBezTo>
                    <a:pt x="922" y="388"/>
                    <a:pt x="922" y="389"/>
                    <a:pt x="923" y="391"/>
                  </a:cubicBezTo>
                  <a:cubicBezTo>
                    <a:pt x="923" y="403"/>
                    <a:pt x="926" y="416"/>
                    <a:pt x="925" y="428"/>
                  </a:cubicBezTo>
                  <a:cubicBezTo>
                    <a:pt x="917" y="439"/>
                    <a:pt x="922" y="451"/>
                    <a:pt x="920" y="463"/>
                  </a:cubicBezTo>
                  <a:cubicBezTo>
                    <a:pt x="916" y="475"/>
                    <a:pt x="921" y="487"/>
                    <a:pt x="923" y="498"/>
                  </a:cubicBezTo>
                  <a:cubicBezTo>
                    <a:pt x="915" y="512"/>
                    <a:pt x="904" y="531"/>
                    <a:pt x="919" y="543"/>
                  </a:cubicBezTo>
                  <a:cubicBezTo>
                    <a:pt x="909" y="549"/>
                    <a:pt x="891" y="544"/>
                    <a:pt x="877" y="545"/>
                  </a:cubicBezTo>
                  <a:cubicBezTo>
                    <a:pt x="842" y="545"/>
                    <a:pt x="806" y="544"/>
                    <a:pt x="771" y="544"/>
                  </a:cubicBezTo>
                  <a:cubicBezTo>
                    <a:pt x="769" y="623"/>
                    <a:pt x="767" y="702"/>
                    <a:pt x="765" y="782"/>
                  </a:cubicBezTo>
                  <a:cubicBezTo>
                    <a:pt x="776" y="793"/>
                    <a:pt x="771" y="812"/>
                    <a:pt x="788" y="818"/>
                  </a:cubicBezTo>
                  <a:cubicBezTo>
                    <a:pt x="805" y="831"/>
                    <a:pt x="816" y="850"/>
                    <a:pt x="833" y="863"/>
                  </a:cubicBezTo>
                  <a:cubicBezTo>
                    <a:pt x="843" y="873"/>
                    <a:pt x="851" y="885"/>
                    <a:pt x="865" y="890"/>
                  </a:cubicBezTo>
                  <a:cubicBezTo>
                    <a:pt x="866" y="890"/>
                    <a:pt x="868" y="891"/>
                    <a:pt x="869" y="891"/>
                  </a:cubicBezTo>
                  <a:cubicBezTo>
                    <a:pt x="869" y="893"/>
                    <a:pt x="869" y="893"/>
                    <a:pt x="869" y="893"/>
                  </a:cubicBezTo>
                  <a:cubicBezTo>
                    <a:pt x="818" y="902"/>
                    <a:pt x="767" y="911"/>
                    <a:pt x="716" y="920"/>
                  </a:cubicBezTo>
                  <a:cubicBezTo>
                    <a:pt x="703" y="906"/>
                    <a:pt x="685" y="921"/>
                    <a:pt x="671" y="919"/>
                  </a:cubicBezTo>
                  <a:cubicBezTo>
                    <a:pt x="656" y="920"/>
                    <a:pt x="645" y="904"/>
                    <a:pt x="630" y="910"/>
                  </a:cubicBezTo>
                  <a:cubicBezTo>
                    <a:pt x="613" y="910"/>
                    <a:pt x="596" y="906"/>
                    <a:pt x="579" y="908"/>
                  </a:cubicBezTo>
                  <a:cubicBezTo>
                    <a:pt x="565" y="903"/>
                    <a:pt x="551" y="905"/>
                    <a:pt x="537" y="903"/>
                  </a:cubicBezTo>
                  <a:cubicBezTo>
                    <a:pt x="523" y="899"/>
                    <a:pt x="514" y="887"/>
                    <a:pt x="506" y="876"/>
                  </a:cubicBezTo>
                  <a:cubicBezTo>
                    <a:pt x="497" y="867"/>
                    <a:pt x="483" y="873"/>
                    <a:pt x="472" y="872"/>
                  </a:cubicBezTo>
                  <a:cubicBezTo>
                    <a:pt x="387" y="872"/>
                    <a:pt x="303" y="871"/>
                    <a:pt x="219" y="871"/>
                  </a:cubicBezTo>
                  <a:cubicBezTo>
                    <a:pt x="205" y="869"/>
                    <a:pt x="193" y="874"/>
                    <a:pt x="179" y="874"/>
                  </a:cubicBezTo>
                  <a:cubicBezTo>
                    <a:pt x="168" y="865"/>
                    <a:pt x="152" y="862"/>
                    <a:pt x="144" y="850"/>
                  </a:cubicBezTo>
                  <a:cubicBezTo>
                    <a:pt x="133" y="838"/>
                    <a:pt x="116" y="839"/>
                    <a:pt x="103" y="843"/>
                  </a:cubicBezTo>
                  <a:cubicBezTo>
                    <a:pt x="87" y="852"/>
                    <a:pt x="72" y="864"/>
                    <a:pt x="55" y="859"/>
                  </a:cubicBezTo>
                  <a:cubicBezTo>
                    <a:pt x="39" y="853"/>
                    <a:pt x="30" y="853"/>
                    <a:pt x="19" y="863"/>
                  </a:cubicBezTo>
                  <a:cubicBezTo>
                    <a:pt x="17" y="863"/>
                    <a:pt x="17" y="863"/>
                    <a:pt x="17" y="863"/>
                  </a:cubicBezTo>
                  <a:cubicBezTo>
                    <a:pt x="7" y="862"/>
                    <a:pt x="7" y="862"/>
                    <a:pt x="7" y="862"/>
                  </a:cubicBezTo>
                  <a:lnTo>
                    <a:pt x="6" y="86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93" name="Andorra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4250931" y="3164805"/>
              <a:ext cx="36000" cy="36000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4" y="7"/>
                </a:cxn>
                <a:cxn ang="0">
                  <a:pos x="10" y="7"/>
                </a:cxn>
                <a:cxn ang="0">
                  <a:pos x="10" y="5"/>
                </a:cxn>
                <a:cxn ang="0">
                  <a:pos x="8" y="5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5"/>
                </a:cxn>
              </a:cxnLst>
              <a:rect l="0" t="0" r="r" b="b"/>
              <a:pathLst>
                <a:path w="10" h="7">
                  <a:moveTo>
                    <a:pt x="0" y="5"/>
                  </a:moveTo>
                  <a:lnTo>
                    <a:pt x="4" y="7"/>
                  </a:lnTo>
                  <a:lnTo>
                    <a:pt x="10" y="7"/>
                  </a:lnTo>
                  <a:lnTo>
                    <a:pt x="10" y="5"/>
                  </a:lnTo>
                  <a:lnTo>
                    <a:pt x="8" y="5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94" name="Algeria"/>
            <p:cNvSpPr>
              <a:spLocks/>
            </p:cNvSpPr>
            <p:nvPr/>
          </p:nvSpPr>
          <p:spPr bwMode="auto">
            <a:xfrm>
              <a:off x="4038733" y="3362203"/>
              <a:ext cx="511985" cy="574977"/>
            </a:xfrm>
            <a:custGeom>
              <a:avLst/>
              <a:gdLst>
                <a:gd name="T0" fmla="*/ 1209 w 1408"/>
                <a:gd name="T1" fmla="*/ 16 h 1333"/>
                <a:gd name="T2" fmla="*/ 1216 w 1408"/>
                <a:gd name="T3" fmla="*/ 16 h 1333"/>
                <a:gd name="T4" fmla="*/ 1190 w 1408"/>
                <a:gd name="T5" fmla="*/ 42 h 1333"/>
                <a:gd name="T6" fmla="*/ 1188 w 1408"/>
                <a:gd name="T7" fmla="*/ 100 h 1333"/>
                <a:gd name="T8" fmla="*/ 1187 w 1408"/>
                <a:gd name="T9" fmla="*/ 156 h 1333"/>
                <a:gd name="T10" fmla="*/ 1155 w 1408"/>
                <a:gd name="T11" fmla="*/ 198 h 1333"/>
                <a:gd name="T12" fmla="*/ 1142 w 1408"/>
                <a:gd name="T13" fmla="*/ 280 h 1333"/>
                <a:gd name="T14" fmla="*/ 1180 w 1408"/>
                <a:gd name="T15" fmla="*/ 334 h 1333"/>
                <a:gd name="T16" fmla="*/ 1250 w 1408"/>
                <a:gd name="T17" fmla="*/ 493 h 1333"/>
                <a:gd name="T18" fmla="*/ 1252 w 1408"/>
                <a:gd name="T19" fmla="*/ 503 h 1333"/>
                <a:gd name="T20" fmla="*/ 1268 w 1408"/>
                <a:gd name="T21" fmla="*/ 627 h 1333"/>
                <a:gd name="T22" fmla="*/ 1265 w 1408"/>
                <a:gd name="T23" fmla="*/ 697 h 1333"/>
                <a:gd name="T24" fmla="*/ 1259 w 1408"/>
                <a:gd name="T25" fmla="*/ 779 h 1333"/>
                <a:gd name="T26" fmla="*/ 1274 w 1408"/>
                <a:gd name="T27" fmla="*/ 863 h 1333"/>
                <a:gd name="T28" fmla="*/ 1306 w 1408"/>
                <a:gd name="T29" fmla="*/ 926 h 1333"/>
                <a:gd name="T30" fmla="*/ 1379 w 1408"/>
                <a:gd name="T31" fmla="*/ 940 h 1333"/>
                <a:gd name="T32" fmla="*/ 1079 w 1408"/>
                <a:gd name="T33" fmla="*/ 1194 h 1333"/>
                <a:gd name="T34" fmla="*/ 844 w 1408"/>
                <a:gd name="T35" fmla="*/ 1318 h 1333"/>
                <a:gd name="T36" fmla="*/ 767 w 1408"/>
                <a:gd name="T37" fmla="*/ 1308 h 1333"/>
                <a:gd name="T38" fmla="*/ 732 w 1408"/>
                <a:gd name="T39" fmla="*/ 1251 h 1333"/>
                <a:gd name="T40" fmla="*/ 667 w 1408"/>
                <a:gd name="T41" fmla="*/ 1222 h 1333"/>
                <a:gd name="T42" fmla="*/ 632 w 1408"/>
                <a:gd name="T43" fmla="*/ 1167 h 1333"/>
                <a:gd name="T44" fmla="*/ 240 w 1408"/>
                <a:gd name="T45" fmla="*/ 863 h 1333"/>
                <a:gd name="T46" fmla="*/ 0 w 1408"/>
                <a:gd name="T47" fmla="*/ 679 h 1333"/>
                <a:gd name="T48" fmla="*/ 16 w 1408"/>
                <a:gd name="T49" fmla="*/ 573 h 1333"/>
                <a:gd name="T50" fmla="*/ 75 w 1408"/>
                <a:gd name="T51" fmla="*/ 539 h 1333"/>
                <a:gd name="T52" fmla="*/ 146 w 1408"/>
                <a:gd name="T53" fmla="*/ 513 h 1333"/>
                <a:gd name="T54" fmla="*/ 222 w 1408"/>
                <a:gd name="T55" fmla="*/ 497 h 1333"/>
                <a:gd name="T56" fmla="*/ 303 w 1408"/>
                <a:gd name="T57" fmla="*/ 448 h 1333"/>
                <a:gd name="T58" fmla="*/ 368 w 1408"/>
                <a:gd name="T59" fmla="*/ 425 h 1333"/>
                <a:gd name="T60" fmla="*/ 368 w 1408"/>
                <a:gd name="T61" fmla="*/ 385 h 1333"/>
                <a:gd name="T62" fmla="*/ 431 w 1408"/>
                <a:gd name="T63" fmla="*/ 350 h 1333"/>
                <a:gd name="T64" fmla="*/ 525 w 1408"/>
                <a:gd name="T65" fmla="*/ 346 h 1333"/>
                <a:gd name="T66" fmla="*/ 553 w 1408"/>
                <a:gd name="T67" fmla="*/ 324 h 1333"/>
                <a:gd name="T68" fmla="*/ 537 w 1408"/>
                <a:gd name="T69" fmla="*/ 278 h 1333"/>
                <a:gd name="T70" fmla="*/ 530 w 1408"/>
                <a:gd name="T71" fmla="*/ 221 h 1333"/>
                <a:gd name="T72" fmla="*/ 531 w 1408"/>
                <a:gd name="T73" fmla="*/ 166 h 1333"/>
                <a:gd name="T74" fmla="*/ 511 w 1408"/>
                <a:gd name="T75" fmla="*/ 125 h 1333"/>
                <a:gd name="T76" fmla="*/ 539 w 1408"/>
                <a:gd name="T77" fmla="*/ 126 h 1333"/>
                <a:gd name="T78" fmla="*/ 591 w 1408"/>
                <a:gd name="T79" fmla="*/ 95 h 1333"/>
                <a:gd name="T80" fmla="*/ 627 w 1408"/>
                <a:gd name="T81" fmla="*/ 82 h 1333"/>
                <a:gd name="T82" fmla="*/ 650 w 1408"/>
                <a:gd name="T83" fmla="*/ 76 h 1333"/>
                <a:gd name="T84" fmla="*/ 673 w 1408"/>
                <a:gd name="T85" fmla="*/ 69 h 1333"/>
                <a:gd name="T86" fmla="*/ 717 w 1408"/>
                <a:gd name="T87" fmla="*/ 42 h 1333"/>
                <a:gd name="T88" fmla="*/ 794 w 1408"/>
                <a:gd name="T89" fmla="*/ 29 h 1333"/>
                <a:gd name="T90" fmla="*/ 854 w 1408"/>
                <a:gd name="T91" fmla="*/ 22 h 1333"/>
                <a:gd name="T92" fmla="*/ 886 w 1408"/>
                <a:gd name="T93" fmla="*/ 17 h 1333"/>
                <a:gd name="T94" fmla="*/ 923 w 1408"/>
                <a:gd name="T95" fmla="*/ 10 h 1333"/>
                <a:gd name="T96" fmla="*/ 985 w 1408"/>
                <a:gd name="T97" fmla="*/ 14 h 1333"/>
                <a:gd name="T98" fmla="*/ 1012 w 1408"/>
                <a:gd name="T99" fmla="*/ 27 h 1333"/>
                <a:gd name="T100" fmla="*/ 1062 w 1408"/>
                <a:gd name="T101" fmla="*/ 13 h 1333"/>
                <a:gd name="T102" fmla="*/ 1096 w 1408"/>
                <a:gd name="T103" fmla="*/ 10 h 1333"/>
                <a:gd name="T104" fmla="*/ 1123 w 1408"/>
                <a:gd name="T105" fmla="*/ 12 h 1333"/>
                <a:gd name="T106" fmla="*/ 1150 w 1408"/>
                <a:gd name="T107" fmla="*/ 9 h 1333"/>
                <a:gd name="T108" fmla="*/ 1190 w 1408"/>
                <a:gd name="T109" fmla="*/ 14 h 1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08" h="1333">
                  <a:moveTo>
                    <a:pt x="1190" y="14"/>
                  </a:moveTo>
                  <a:cubicBezTo>
                    <a:pt x="1196" y="15"/>
                    <a:pt x="1202" y="17"/>
                    <a:pt x="1209" y="16"/>
                  </a:cubicBezTo>
                  <a:cubicBezTo>
                    <a:pt x="1211" y="16"/>
                    <a:pt x="1213" y="16"/>
                    <a:pt x="1215" y="15"/>
                  </a:cubicBezTo>
                  <a:cubicBezTo>
                    <a:pt x="1216" y="16"/>
                    <a:pt x="1216" y="16"/>
                    <a:pt x="1216" y="16"/>
                  </a:cubicBezTo>
                  <a:cubicBezTo>
                    <a:pt x="1220" y="30"/>
                    <a:pt x="1210" y="23"/>
                    <a:pt x="1203" y="27"/>
                  </a:cubicBezTo>
                  <a:cubicBezTo>
                    <a:pt x="1209" y="36"/>
                    <a:pt x="1197" y="41"/>
                    <a:pt x="1190" y="42"/>
                  </a:cubicBezTo>
                  <a:cubicBezTo>
                    <a:pt x="1181" y="48"/>
                    <a:pt x="1194" y="48"/>
                    <a:pt x="1197" y="52"/>
                  </a:cubicBezTo>
                  <a:cubicBezTo>
                    <a:pt x="1196" y="68"/>
                    <a:pt x="1187" y="83"/>
                    <a:pt x="1188" y="100"/>
                  </a:cubicBezTo>
                  <a:cubicBezTo>
                    <a:pt x="1197" y="110"/>
                    <a:pt x="1189" y="121"/>
                    <a:pt x="1189" y="132"/>
                  </a:cubicBezTo>
                  <a:cubicBezTo>
                    <a:pt x="1204" y="137"/>
                    <a:pt x="1188" y="146"/>
                    <a:pt x="1187" y="156"/>
                  </a:cubicBezTo>
                  <a:cubicBezTo>
                    <a:pt x="1183" y="159"/>
                    <a:pt x="1184" y="164"/>
                    <a:pt x="1185" y="169"/>
                  </a:cubicBezTo>
                  <a:cubicBezTo>
                    <a:pt x="1185" y="187"/>
                    <a:pt x="1166" y="190"/>
                    <a:pt x="1155" y="198"/>
                  </a:cubicBezTo>
                  <a:cubicBezTo>
                    <a:pt x="1152" y="214"/>
                    <a:pt x="1129" y="212"/>
                    <a:pt x="1130" y="230"/>
                  </a:cubicBezTo>
                  <a:cubicBezTo>
                    <a:pt x="1127" y="249"/>
                    <a:pt x="1146" y="262"/>
                    <a:pt x="1142" y="280"/>
                  </a:cubicBezTo>
                  <a:cubicBezTo>
                    <a:pt x="1150" y="290"/>
                    <a:pt x="1169" y="289"/>
                    <a:pt x="1173" y="304"/>
                  </a:cubicBezTo>
                  <a:cubicBezTo>
                    <a:pt x="1181" y="312"/>
                    <a:pt x="1179" y="324"/>
                    <a:pt x="1180" y="334"/>
                  </a:cubicBezTo>
                  <a:cubicBezTo>
                    <a:pt x="1195" y="345"/>
                    <a:pt x="1211" y="356"/>
                    <a:pt x="1226" y="367"/>
                  </a:cubicBezTo>
                  <a:cubicBezTo>
                    <a:pt x="1234" y="409"/>
                    <a:pt x="1242" y="451"/>
                    <a:pt x="1250" y="493"/>
                  </a:cubicBezTo>
                  <a:cubicBezTo>
                    <a:pt x="1250" y="497"/>
                    <a:pt x="1251" y="500"/>
                    <a:pt x="1253" y="500"/>
                  </a:cubicBezTo>
                  <a:cubicBezTo>
                    <a:pt x="1252" y="503"/>
                    <a:pt x="1252" y="503"/>
                    <a:pt x="1252" y="503"/>
                  </a:cubicBezTo>
                  <a:cubicBezTo>
                    <a:pt x="1245" y="506"/>
                    <a:pt x="1231" y="511"/>
                    <a:pt x="1243" y="519"/>
                  </a:cubicBezTo>
                  <a:cubicBezTo>
                    <a:pt x="1266" y="549"/>
                    <a:pt x="1277" y="590"/>
                    <a:pt x="1268" y="627"/>
                  </a:cubicBezTo>
                  <a:cubicBezTo>
                    <a:pt x="1265" y="637"/>
                    <a:pt x="1262" y="649"/>
                    <a:pt x="1268" y="659"/>
                  </a:cubicBezTo>
                  <a:cubicBezTo>
                    <a:pt x="1274" y="671"/>
                    <a:pt x="1277" y="687"/>
                    <a:pt x="1265" y="697"/>
                  </a:cubicBezTo>
                  <a:cubicBezTo>
                    <a:pt x="1259" y="710"/>
                    <a:pt x="1256" y="724"/>
                    <a:pt x="1263" y="738"/>
                  </a:cubicBezTo>
                  <a:cubicBezTo>
                    <a:pt x="1269" y="750"/>
                    <a:pt x="1274" y="771"/>
                    <a:pt x="1259" y="779"/>
                  </a:cubicBezTo>
                  <a:cubicBezTo>
                    <a:pt x="1247" y="783"/>
                    <a:pt x="1233" y="789"/>
                    <a:pt x="1232" y="803"/>
                  </a:cubicBezTo>
                  <a:cubicBezTo>
                    <a:pt x="1246" y="823"/>
                    <a:pt x="1260" y="843"/>
                    <a:pt x="1274" y="863"/>
                  </a:cubicBezTo>
                  <a:cubicBezTo>
                    <a:pt x="1277" y="876"/>
                    <a:pt x="1268" y="895"/>
                    <a:pt x="1280" y="903"/>
                  </a:cubicBezTo>
                  <a:cubicBezTo>
                    <a:pt x="1290" y="910"/>
                    <a:pt x="1290" y="930"/>
                    <a:pt x="1306" y="926"/>
                  </a:cubicBezTo>
                  <a:cubicBezTo>
                    <a:pt x="1318" y="916"/>
                    <a:pt x="1331" y="926"/>
                    <a:pt x="1344" y="929"/>
                  </a:cubicBezTo>
                  <a:cubicBezTo>
                    <a:pt x="1355" y="933"/>
                    <a:pt x="1367" y="936"/>
                    <a:pt x="1379" y="940"/>
                  </a:cubicBezTo>
                  <a:cubicBezTo>
                    <a:pt x="1389" y="960"/>
                    <a:pt x="1398" y="979"/>
                    <a:pt x="1408" y="998"/>
                  </a:cubicBezTo>
                  <a:cubicBezTo>
                    <a:pt x="1298" y="1062"/>
                    <a:pt x="1188" y="1128"/>
                    <a:pt x="1079" y="1194"/>
                  </a:cubicBezTo>
                  <a:cubicBezTo>
                    <a:pt x="1038" y="1228"/>
                    <a:pt x="998" y="1263"/>
                    <a:pt x="957" y="1297"/>
                  </a:cubicBezTo>
                  <a:cubicBezTo>
                    <a:pt x="919" y="1304"/>
                    <a:pt x="882" y="1311"/>
                    <a:pt x="844" y="1318"/>
                  </a:cubicBezTo>
                  <a:cubicBezTo>
                    <a:pt x="827" y="1321"/>
                    <a:pt x="811" y="1324"/>
                    <a:pt x="794" y="1326"/>
                  </a:cubicBezTo>
                  <a:cubicBezTo>
                    <a:pt x="783" y="1333"/>
                    <a:pt x="757" y="1323"/>
                    <a:pt x="767" y="1308"/>
                  </a:cubicBezTo>
                  <a:cubicBezTo>
                    <a:pt x="781" y="1298"/>
                    <a:pt x="768" y="1282"/>
                    <a:pt x="773" y="1268"/>
                  </a:cubicBezTo>
                  <a:cubicBezTo>
                    <a:pt x="763" y="1256"/>
                    <a:pt x="747" y="1254"/>
                    <a:pt x="732" y="1251"/>
                  </a:cubicBezTo>
                  <a:cubicBezTo>
                    <a:pt x="715" y="1255"/>
                    <a:pt x="714" y="1232"/>
                    <a:pt x="701" y="1231"/>
                  </a:cubicBezTo>
                  <a:cubicBezTo>
                    <a:pt x="688" y="1237"/>
                    <a:pt x="677" y="1230"/>
                    <a:pt x="667" y="1222"/>
                  </a:cubicBezTo>
                  <a:cubicBezTo>
                    <a:pt x="667" y="1205"/>
                    <a:pt x="650" y="1204"/>
                    <a:pt x="640" y="1195"/>
                  </a:cubicBezTo>
                  <a:cubicBezTo>
                    <a:pt x="621" y="1198"/>
                    <a:pt x="639" y="1176"/>
                    <a:pt x="632" y="1167"/>
                  </a:cubicBezTo>
                  <a:cubicBezTo>
                    <a:pt x="606" y="1148"/>
                    <a:pt x="579" y="1130"/>
                    <a:pt x="553" y="1111"/>
                  </a:cubicBezTo>
                  <a:cubicBezTo>
                    <a:pt x="450" y="1027"/>
                    <a:pt x="345" y="944"/>
                    <a:pt x="240" y="863"/>
                  </a:cubicBezTo>
                  <a:cubicBezTo>
                    <a:pt x="239" y="862"/>
                    <a:pt x="239" y="862"/>
                    <a:pt x="239" y="862"/>
                  </a:cubicBezTo>
                  <a:cubicBezTo>
                    <a:pt x="160" y="801"/>
                    <a:pt x="80" y="740"/>
                    <a:pt x="0" y="679"/>
                  </a:cubicBezTo>
                  <a:cubicBezTo>
                    <a:pt x="1" y="670"/>
                    <a:pt x="3" y="660"/>
                    <a:pt x="4" y="651"/>
                  </a:cubicBezTo>
                  <a:cubicBezTo>
                    <a:pt x="8" y="625"/>
                    <a:pt x="12" y="599"/>
                    <a:pt x="16" y="573"/>
                  </a:cubicBezTo>
                  <a:cubicBezTo>
                    <a:pt x="27" y="569"/>
                    <a:pt x="36" y="563"/>
                    <a:pt x="44" y="556"/>
                  </a:cubicBezTo>
                  <a:cubicBezTo>
                    <a:pt x="54" y="549"/>
                    <a:pt x="66" y="547"/>
                    <a:pt x="75" y="539"/>
                  </a:cubicBezTo>
                  <a:cubicBezTo>
                    <a:pt x="86" y="532"/>
                    <a:pt x="94" y="524"/>
                    <a:pt x="106" y="526"/>
                  </a:cubicBezTo>
                  <a:cubicBezTo>
                    <a:pt x="117" y="516"/>
                    <a:pt x="130" y="506"/>
                    <a:pt x="146" y="513"/>
                  </a:cubicBezTo>
                  <a:cubicBezTo>
                    <a:pt x="160" y="521"/>
                    <a:pt x="173" y="514"/>
                    <a:pt x="176" y="499"/>
                  </a:cubicBezTo>
                  <a:cubicBezTo>
                    <a:pt x="191" y="502"/>
                    <a:pt x="207" y="499"/>
                    <a:pt x="222" y="497"/>
                  </a:cubicBezTo>
                  <a:cubicBezTo>
                    <a:pt x="239" y="498"/>
                    <a:pt x="255" y="489"/>
                    <a:pt x="266" y="477"/>
                  </a:cubicBezTo>
                  <a:cubicBezTo>
                    <a:pt x="277" y="464"/>
                    <a:pt x="284" y="449"/>
                    <a:pt x="303" y="448"/>
                  </a:cubicBezTo>
                  <a:cubicBezTo>
                    <a:pt x="315" y="446"/>
                    <a:pt x="327" y="443"/>
                    <a:pt x="338" y="436"/>
                  </a:cubicBezTo>
                  <a:cubicBezTo>
                    <a:pt x="345" y="427"/>
                    <a:pt x="356" y="423"/>
                    <a:pt x="368" y="425"/>
                  </a:cubicBezTo>
                  <a:cubicBezTo>
                    <a:pt x="385" y="427"/>
                    <a:pt x="377" y="405"/>
                    <a:pt x="366" y="407"/>
                  </a:cubicBezTo>
                  <a:cubicBezTo>
                    <a:pt x="365" y="398"/>
                    <a:pt x="377" y="391"/>
                    <a:pt x="368" y="385"/>
                  </a:cubicBezTo>
                  <a:cubicBezTo>
                    <a:pt x="364" y="371"/>
                    <a:pt x="378" y="363"/>
                    <a:pt x="389" y="371"/>
                  </a:cubicBezTo>
                  <a:cubicBezTo>
                    <a:pt x="403" y="365"/>
                    <a:pt x="430" y="370"/>
                    <a:pt x="431" y="350"/>
                  </a:cubicBezTo>
                  <a:cubicBezTo>
                    <a:pt x="440" y="338"/>
                    <a:pt x="459" y="344"/>
                    <a:pt x="473" y="340"/>
                  </a:cubicBezTo>
                  <a:cubicBezTo>
                    <a:pt x="490" y="342"/>
                    <a:pt x="508" y="345"/>
                    <a:pt x="525" y="346"/>
                  </a:cubicBezTo>
                  <a:cubicBezTo>
                    <a:pt x="532" y="344"/>
                    <a:pt x="548" y="354"/>
                    <a:pt x="548" y="342"/>
                  </a:cubicBezTo>
                  <a:cubicBezTo>
                    <a:pt x="535" y="345"/>
                    <a:pt x="549" y="329"/>
                    <a:pt x="553" y="324"/>
                  </a:cubicBezTo>
                  <a:cubicBezTo>
                    <a:pt x="567" y="324"/>
                    <a:pt x="559" y="311"/>
                    <a:pt x="551" y="308"/>
                  </a:cubicBezTo>
                  <a:cubicBezTo>
                    <a:pt x="541" y="302"/>
                    <a:pt x="529" y="289"/>
                    <a:pt x="537" y="278"/>
                  </a:cubicBezTo>
                  <a:cubicBezTo>
                    <a:pt x="529" y="267"/>
                    <a:pt x="524" y="254"/>
                    <a:pt x="534" y="243"/>
                  </a:cubicBezTo>
                  <a:cubicBezTo>
                    <a:pt x="538" y="234"/>
                    <a:pt x="523" y="230"/>
                    <a:pt x="530" y="221"/>
                  </a:cubicBezTo>
                  <a:cubicBezTo>
                    <a:pt x="532" y="209"/>
                    <a:pt x="539" y="197"/>
                    <a:pt x="533" y="185"/>
                  </a:cubicBezTo>
                  <a:cubicBezTo>
                    <a:pt x="527" y="178"/>
                    <a:pt x="544" y="171"/>
                    <a:pt x="531" y="166"/>
                  </a:cubicBezTo>
                  <a:cubicBezTo>
                    <a:pt x="526" y="159"/>
                    <a:pt x="543" y="152"/>
                    <a:pt x="530" y="147"/>
                  </a:cubicBezTo>
                  <a:cubicBezTo>
                    <a:pt x="525" y="140"/>
                    <a:pt x="512" y="134"/>
                    <a:pt x="511" y="125"/>
                  </a:cubicBezTo>
                  <a:cubicBezTo>
                    <a:pt x="511" y="124"/>
                    <a:pt x="511" y="124"/>
                    <a:pt x="511" y="124"/>
                  </a:cubicBezTo>
                  <a:cubicBezTo>
                    <a:pt x="520" y="125"/>
                    <a:pt x="530" y="129"/>
                    <a:pt x="539" y="126"/>
                  </a:cubicBezTo>
                  <a:cubicBezTo>
                    <a:pt x="550" y="124"/>
                    <a:pt x="560" y="119"/>
                    <a:pt x="570" y="115"/>
                  </a:cubicBezTo>
                  <a:cubicBezTo>
                    <a:pt x="578" y="109"/>
                    <a:pt x="584" y="102"/>
                    <a:pt x="591" y="95"/>
                  </a:cubicBezTo>
                  <a:cubicBezTo>
                    <a:pt x="595" y="88"/>
                    <a:pt x="602" y="86"/>
                    <a:pt x="609" y="83"/>
                  </a:cubicBezTo>
                  <a:cubicBezTo>
                    <a:pt x="615" y="81"/>
                    <a:pt x="621" y="80"/>
                    <a:pt x="627" y="82"/>
                  </a:cubicBezTo>
                  <a:cubicBezTo>
                    <a:pt x="631" y="83"/>
                    <a:pt x="634" y="79"/>
                    <a:pt x="638" y="77"/>
                  </a:cubicBezTo>
                  <a:cubicBezTo>
                    <a:pt x="642" y="73"/>
                    <a:pt x="646" y="73"/>
                    <a:pt x="650" y="76"/>
                  </a:cubicBezTo>
                  <a:cubicBezTo>
                    <a:pt x="654" y="79"/>
                    <a:pt x="658" y="78"/>
                    <a:pt x="662" y="76"/>
                  </a:cubicBezTo>
                  <a:cubicBezTo>
                    <a:pt x="667" y="75"/>
                    <a:pt x="671" y="73"/>
                    <a:pt x="673" y="69"/>
                  </a:cubicBezTo>
                  <a:cubicBezTo>
                    <a:pt x="680" y="61"/>
                    <a:pt x="688" y="53"/>
                    <a:pt x="698" y="52"/>
                  </a:cubicBezTo>
                  <a:cubicBezTo>
                    <a:pt x="705" y="52"/>
                    <a:pt x="711" y="46"/>
                    <a:pt x="717" y="42"/>
                  </a:cubicBezTo>
                  <a:cubicBezTo>
                    <a:pt x="731" y="37"/>
                    <a:pt x="746" y="34"/>
                    <a:pt x="761" y="30"/>
                  </a:cubicBezTo>
                  <a:cubicBezTo>
                    <a:pt x="772" y="29"/>
                    <a:pt x="783" y="30"/>
                    <a:pt x="794" y="29"/>
                  </a:cubicBezTo>
                  <a:cubicBezTo>
                    <a:pt x="809" y="29"/>
                    <a:pt x="824" y="26"/>
                    <a:pt x="839" y="28"/>
                  </a:cubicBezTo>
                  <a:cubicBezTo>
                    <a:pt x="844" y="27"/>
                    <a:pt x="849" y="24"/>
                    <a:pt x="854" y="22"/>
                  </a:cubicBezTo>
                  <a:cubicBezTo>
                    <a:pt x="858" y="20"/>
                    <a:pt x="862" y="15"/>
                    <a:pt x="866" y="16"/>
                  </a:cubicBezTo>
                  <a:cubicBezTo>
                    <a:pt x="872" y="20"/>
                    <a:pt x="879" y="17"/>
                    <a:pt x="886" y="17"/>
                  </a:cubicBezTo>
                  <a:cubicBezTo>
                    <a:pt x="890" y="20"/>
                    <a:pt x="896" y="19"/>
                    <a:pt x="901" y="18"/>
                  </a:cubicBezTo>
                  <a:cubicBezTo>
                    <a:pt x="908" y="16"/>
                    <a:pt x="915" y="11"/>
                    <a:pt x="923" y="10"/>
                  </a:cubicBezTo>
                  <a:cubicBezTo>
                    <a:pt x="935" y="12"/>
                    <a:pt x="947" y="11"/>
                    <a:pt x="959" y="11"/>
                  </a:cubicBezTo>
                  <a:cubicBezTo>
                    <a:pt x="967" y="13"/>
                    <a:pt x="977" y="11"/>
                    <a:pt x="985" y="14"/>
                  </a:cubicBezTo>
                  <a:cubicBezTo>
                    <a:pt x="988" y="18"/>
                    <a:pt x="992" y="20"/>
                    <a:pt x="995" y="23"/>
                  </a:cubicBezTo>
                  <a:cubicBezTo>
                    <a:pt x="1001" y="25"/>
                    <a:pt x="1006" y="29"/>
                    <a:pt x="1012" y="27"/>
                  </a:cubicBezTo>
                  <a:cubicBezTo>
                    <a:pt x="1021" y="26"/>
                    <a:pt x="1028" y="20"/>
                    <a:pt x="1037" y="19"/>
                  </a:cubicBezTo>
                  <a:cubicBezTo>
                    <a:pt x="1045" y="18"/>
                    <a:pt x="1054" y="17"/>
                    <a:pt x="1062" y="13"/>
                  </a:cubicBezTo>
                  <a:cubicBezTo>
                    <a:pt x="1067" y="10"/>
                    <a:pt x="1070" y="4"/>
                    <a:pt x="1074" y="0"/>
                  </a:cubicBezTo>
                  <a:cubicBezTo>
                    <a:pt x="1082" y="3"/>
                    <a:pt x="1090" y="5"/>
                    <a:pt x="1096" y="10"/>
                  </a:cubicBezTo>
                  <a:cubicBezTo>
                    <a:pt x="1100" y="12"/>
                    <a:pt x="1105" y="10"/>
                    <a:pt x="1109" y="13"/>
                  </a:cubicBezTo>
                  <a:cubicBezTo>
                    <a:pt x="1113" y="17"/>
                    <a:pt x="1118" y="14"/>
                    <a:pt x="1123" y="12"/>
                  </a:cubicBezTo>
                  <a:cubicBezTo>
                    <a:pt x="1128" y="12"/>
                    <a:pt x="1131" y="7"/>
                    <a:pt x="1134" y="3"/>
                  </a:cubicBezTo>
                  <a:cubicBezTo>
                    <a:pt x="1140" y="5"/>
                    <a:pt x="1145" y="7"/>
                    <a:pt x="1150" y="9"/>
                  </a:cubicBezTo>
                  <a:cubicBezTo>
                    <a:pt x="1157" y="10"/>
                    <a:pt x="1162" y="15"/>
                    <a:pt x="1167" y="19"/>
                  </a:cubicBezTo>
                  <a:cubicBezTo>
                    <a:pt x="1175" y="18"/>
                    <a:pt x="1182" y="18"/>
                    <a:pt x="1190" y="14"/>
                  </a:cubicBez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95" name="Albania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4733029" y="3184313"/>
              <a:ext cx="33285" cy="10032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6" y="11"/>
                </a:cxn>
                <a:cxn ang="0">
                  <a:pos x="4" y="18"/>
                </a:cxn>
                <a:cxn ang="0">
                  <a:pos x="0" y="13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4" y="4"/>
                </a:cxn>
              </a:cxnLst>
              <a:rect l="0" t="0" r="r" b="b"/>
              <a:pathLst>
                <a:path w="6" h="18">
                  <a:moveTo>
                    <a:pt x="4" y="4"/>
                  </a:moveTo>
                  <a:lnTo>
                    <a:pt x="6" y="11"/>
                  </a:lnTo>
                  <a:lnTo>
                    <a:pt x="4" y="18"/>
                  </a:lnTo>
                  <a:lnTo>
                    <a:pt x="0" y="13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  <p:sp>
          <p:nvSpPr>
            <p:cNvPr id="196" name="Afghanistan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5748221" y="3306929"/>
              <a:ext cx="338397" cy="289819"/>
            </a:xfrm>
            <a:custGeom>
              <a:avLst/>
              <a:gdLst/>
              <a:ahLst/>
              <a:cxnLst>
                <a:cxn ang="0">
                  <a:pos x="23" y="7"/>
                </a:cxn>
                <a:cxn ang="0">
                  <a:pos x="30" y="9"/>
                </a:cxn>
                <a:cxn ang="0">
                  <a:pos x="32" y="9"/>
                </a:cxn>
                <a:cxn ang="0">
                  <a:pos x="38" y="7"/>
                </a:cxn>
                <a:cxn ang="0">
                  <a:pos x="40" y="7"/>
                </a:cxn>
                <a:cxn ang="0">
                  <a:pos x="44" y="0"/>
                </a:cxn>
                <a:cxn ang="0">
                  <a:pos x="46" y="5"/>
                </a:cxn>
                <a:cxn ang="0">
                  <a:pos x="48" y="9"/>
                </a:cxn>
                <a:cxn ang="0">
                  <a:pos x="55" y="7"/>
                </a:cxn>
                <a:cxn ang="0">
                  <a:pos x="61" y="7"/>
                </a:cxn>
                <a:cxn ang="0">
                  <a:pos x="61" y="9"/>
                </a:cxn>
                <a:cxn ang="0">
                  <a:pos x="57" y="9"/>
                </a:cxn>
                <a:cxn ang="0">
                  <a:pos x="55" y="9"/>
                </a:cxn>
                <a:cxn ang="0">
                  <a:pos x="48" y="14"/>
                </a:cxn>
                <a:cxn ang="0">
                  <a:pos x="48" y="23"/>
                </a:cxn>
                <a:cxn ang="0">
                  <a:pos x="48" y="25"/>
                </a:cxn>
                <a:cxn ang="0">
                  <a:pos x="44" y="25"/>
                </a:cxn>
                <a:cxn ang="0">
                  <a:pos x="46" y="30"/>
                </a:cxn>
                <a:cxn ang="0">
                  <a:pos x="44" y="32"/>
                </a:cxn>
                <a:cxn ang="0">
                  <a:pos x="44" y="41"/>
                </a:cxn>
                <a:cxn ang="0">
                  <a:pos x="32" y="43"/>
                </a:cxn>
                <a:cxn ang="0">
                  <a:pos x="32" y="50"/>
                </a:cxn>
                <a:cxn ang="0">
                  <a:pos x="13" y="52"/>
                </a:cxn>
                <a:cxn ang="0">
                  <a:pos x="7" y="50"/>
                </a:cxn>
                <a:cxn ang="0">
                  <a:pos x="9" y="43"/>
                </a:cxn>
                <a:cxn ang="0">
                  <a:pos x="9" y="41"/>
                </a:cxn>
                <a:cxn ang="0">
                  <a:pos x="4" y="41"/>
                </a:cxn>
                <a:cxn ang="0">
                  <a:pos x="0" y="30"/>
                </a:cxn>
                <a:cxn ang="0">
                  <a:pos x="0" y="25"/>
                </a:cxn>
                <a:cxn ang="0">
                  <a:pos x="4" y="23"/>
                </a:cxn>
                <a:cxn ang="0">
                  <a:pos x="4" y="16"/>
                </a:cxn>
                <a:cxn ang="0">
                  <a:pos x="9" y="21"/>
                </a:cxn>
                <a:cxn ang="0">
                  <a:pos x="13" y="16"/>
                </a:cxn>
                <a:cxn ang="0">
                  <a:pos x="17" y="14"/>
                </a:cxn>
                <a:cxn ang="0">
                  <a:pos x="17" y="7"/>
                </a:cxn>
                <a:cxn ang="0">
                  <a:pos x="21" y="7"/>
                </a:cxn>
                <a:cxn ang="0">
                  <a:pos x="23" y="7"/>
                </a:cxn>
              </a:cxnLst>
              <a:rect l="0" t="0" r="r" b="b"/>
              <a:pathLst>
                <a:path w="61" h="52">
                  <a:moveTo>
                    <a:pt x="23" y="7"/>
                  </a:moveTo>
                  <a:lnTo>
                    <a:pt x="30" y="9"/>
                  </a:lnTo>
                  <a:lnTo>
                    <a:pt x="32" y="9"/>
                  </a:lnTo>
                  <a:lnTo>
                    <a:pt x="38" y="7"/>
                  </a:lnTo>
                  <a:lnTo>
                    <a:pt x="40" y="7"/>
                  </a:lnTo>
                  <a:lnTo>
                    <a:pt x="44" y="0"/>
                  </a:lnTo>
                  <a:lnTo>
                    <a:pt x="46" y="5"/>
                  </a:lnTo>
                  <a:lnTo>
                    <a:pt x="48" y="9"/>
                  </a:lnTo>
                  <a:lnTo>
                    <a:pt x="55" y="7"/>
                  </a:lnTo>
                  <a:lnTo>
                    <a:pt x="61" y="7"/>
                  </a:lnTo>
                  <a:lnTo>
                    <a:pt x="61" y="9"/>
                  </a:lnTo>
                  <a:lnTo>
                    <a:pt x="57" y="9"/>
                  </a:lnTo>
                  <a:lnTo>
                    <a:pt x="55" y="9"/>
                  </a:lnTo>
                  <a:lnTo>
                    <a:pt x="48" y="14"/>
                  </a:lnTo>
                  <a:lnTo>
                    <a:pt x="48" y="23"/>
                  </a:lnTo>
                  <a:lnTo>
                    <a:pt x="48" y="25"/>
                  </a:lnTo>
                  <a:lnTo>
                    <a:pt x="44" y="25"/>
                  </a:lnTo>
                  <a:lnTo>
                    <a:pt x="46" y="30"/>
                  </a:lnTo>
                  <a:lnTo>
                    <a:pt x="44" y="32"/>
                  </a:lnTo>
                  <a:lnTo>
                    <a:pt x="44" y="41"/>
                  </a:lnTo>
                  <a:lnTo>
                    <a:pt x="32" y="43"/>
                  </a:lnTo>
                  <a:lnTo>
                    <a:pt x="32" y="50"/>
                  </a:lnTo>
                  <a:lnTo>
                    <a:pt x="13" y="52"/>
                  </a:lnTo>
                  <a:lnTo>
                    <a:pt x="7" y="50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4" y="41"/>
                  </a:lnTo>
                  <a:lnTo>
                    <a:pt x="0" y="30"/>
                  </a:lnTo>
                  <a:lnTo>
                    <a:pt x="0" y="25"/>
                  </a:lnTo>
                  <a:lnTo>
                    <a:pt x="4" y="23"/>
                  </a:lnTo>
                  <a:lnTo>
                    <a:pt x="4" y="16"/>
                  </a:lnTo>
                  <a:lnTo>
                    <a:pt x="9" y="21"/>
                  </a:lnTo>
                  <a:lnTo>
                    <a:pt x="13" y="16"/>
                  </a:lnTo>
                  <a:lnTo>
                    <a:pt x="17" y="14"/>
                  </a:lnTo>
                  <a:lnTo>
                    <a:pt x="17" y="7"/>
                  </a:lnTo>
                  <a:lnTo>
                    <a:pt x="21" y="7"/>
                  </a:lnTo>
                  <a:lnTo>
                    <a:pt x="23" y="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2844" kern="0">
                <a:solidFill>
                  <a:srgbClr val="002663"/>
                </a:solidFill>
              </a:endParaRPr>
            </a:p>
          </p:txBody>
        </p:sp>
      </p:grpSp>
      <p:sp>
        <p:nvSpPr>
          <p:cNvPr id="387" name="Oval 386"/>
          <p:cNvSpPr/>
          <p:nvPr/>
        </p:nvSpPr>
        <p:spPr>
          <a:xfrm>
            <a:off x="2573710" y="1978112"/>
            <a:ext cx="72692" cy="87127"/>
          </a:xfrm>
          <a:prstGeom prst="ellipse">
            <a:avLst/>
          </a:prstGeom>
          <a:solidFill>
            <a:schemeClr val="accent6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88" name="Group 21506"/>
          <p:cNvGrpSpPr/>
          <p:nvPr/>
        </p:nvGrpSpPr>
        <p:grpSpPr>
          <a:xfrm>
            <a:off x="2987230" y="4863297"/>
            <a:ext cx="1926097" cy="856849"/>
            <a:chOff x="3225532" y="2734999"/>
            <a:chExt cx="2030183" cy="928340"/>
          </a:xfrm>
        </p:grpSpPr>
        <p:sp>
          <p:nvSpPr>
            <p:cNvPr id="389" name="Rounded Rectangle 21508"/>
            <p:cNvSpPr/>
            <p:nvPr/>
          </p:nvSpPr>
          <p:spPr>
            <a:xfrm>
              <a:off x="3225532" y="2734999"/>
              <a:ext cx="2030183" cy="928340"/>
            </a:xfrm>
            <a:prstGeom prst="roundRect">
              <a:avLst/>
            </a:prstGeom>
            <a:ln w="19050"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rgbClr val="4E4F52"/>
                </a:solidFill>
              </a:endParaRPr>
            </a:p>
          </p:txBody>
        </p:sp>
        <p:pic>
          <p:nvPicPr>
            <p:cNvPr id="391" name="Picture 14" descr="Image result for axa logo"/>
            <p:cNvPicPr>
              <a:picLocks noChangeAspect="1" noChangeArrowheads="1"/>
            </p:cNvPicPr>
            <p:nvPr/>
          </p:nvPicPr>
          <p:blipFill>
            <a:blip r:embed="rId28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4145" y="2881617"/>
              <a:ext cx="559001" cy="5596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95" name="Rounded Rectangle 21508"/>
          <p:cNvSpPr/>
          <p:nvPr/>
        </p:nvSpPr>
        <p:spPr>
          <a:xfrm>
            <a:off x="972330" y="4885507"/>
            <a:ext cx="1926097" cy="834640"/>
          </a:xfrm>
          <a:prstGeom prst="roundRect">
            <a:avLst/>
          </a:prstGeom>
          <a:ln w="1905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4E4F52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8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1116" y="4970295"/>
            <a:ext cx="623988" cy="623988"/>
          </a:xfrm>
          <a:prstGeom prst="rect">
            <a:avLst/>
          </a:prstGeom>
        </p:spPr>
      </p:pic>
      <p:sp>
        <p:nvSpPr>
          <p:cNvPr id="397" name="Oval 396"/>
          <p:cNvSpPr/>
          <p:nvPr/>
        </p:nvSpPr>
        <p:spPr>
          <a:xfrm>
            <a:off x="1521553" y="2378729"/>
            <a:ext cx="72692" cy="87127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99" name="Straight Connector 398"/>
          <p:cNvCxnSpPr>
            <a:stCxn id="387" idx="5"/>
            <a:endCxn id="389" idx="0"/>
          </p:cNvCxnSpPr>
          <p:nvPr/>
        </p:nvCxnSpPr>
        <p:spPr>
          <a:xfrm>
            <a:off x="2635757" y="2052480"/>
            <a:ext cx="1314522" cy="2810817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01" name="Straight Connector 400"/>
          <p:cNvCxnSpPr>
            <a:stCxn id="397" idx="5"/>
            <a:endCxn id="395" idx="0"/>
          </p:cNvCxnSpPr>
          <p:nvPr/>
        </p:nvCxnSpPr>
        <p:spPr>
          <a:xfrm>
            <a:off x="1583600" y="2453097"/>
            <a:ext cx="351779" cy="243241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6" name="Rounded Rectangle 405"/>
          <p:cNvSpPr/>
          <p:nvPr/>
        </p:nvSpPr>
        <p:spPr>
          <a:xfrm>
            <a:off x="5045446" y="2913472"/>
            <a:ext cx="777945" cy="699796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/>
              <a:t>Threat</a:t>
            </a:r>
            <a:endParaRPr lang="en-US" sz="1100" dirty="0"/>
          </a:p>
        </p:txBody>
      </p:sp>
      <p:sp>
        <p:nvSpPr>
          <p:cNvPr id="407" name="Rounded Rectangle 406"/>
          <p:cNvSpPr/>
          <p:nvPr/>
        </p:nvSpPr>
        <p:spPr>
          <a:xfrm>
            <a:off x="5053926" y="4734551"/>
            <a:ext cx="770153" cy="47148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/>
              <a:t>Counter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630100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20351" y="77000"/>
            <a:ext cx="8305800" cy="487363"/>
          </a:xfrm>
        </p:spPr>
        <p:txBody>
          <a:bodyPr/>
          <a:lstStyle/>
          <a:p>
            <a:r>
              <a:rPr lang="en-US" dirty="0" smtClean="0"/>
              <a:t>Next steps involves gauging the interest of municipal brokers and leveraging our potential to undercut</a:t>
            </a:r>
            <a:endParaRPr lang="en-US" dirty="0"/>
          </a:p>
        </p:txBody>
      </p:sp>
      <p:graphicFrame>
        <p:nvGraphicFramePr>
          <p:cNvPr id="6" name="Diagram 5"/>
          <p:cNvGraphicFramePr/>
          <p:nvPr>
            <p:extLst/>
          </p:nvPr>
        </p:nvGraphicFramePr>
        <p:xfrm>
          <a:off x="219355" y="2519720"/>
          <a:ext cx="8324289" cy="353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8153400" y="61118"/>
            <a:ext cx="914400" cy="914400"/>
            <a:chOff x="2634224" y="1540"/>
            <a:chExt cx="1072887" cy="1072887"/>
          </a:xfrm>
          <a:solidFill>
            <a:srgbClr val="5381AC"/>
          </a:solidFill>
        </p:grpSpPr>
        <p:sp>
          <p:nvSpPr>
            <p:cNvPr id="8" name="Oval 7"/>
            <p:cNvSpPr/>
            <p:nvPr/>
          </p:nvSpPr>
          <p:spPr>
            <a:xfrm>
              <a:off x="2634224" y="1540"/>
              <a:ext cx="1072887" cy="107288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Oval 4"/>
            <p:cNvSpPr/>
            <p:nvPr/>
          </p:nvSpPr>
          <p:spPr>
            <a:xfrm>
              <a:off x="2791345" y="158661"/>
              <a:ext cx="758645" cy="75864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kern="1200" dirty="0" smtClean="0">
                  <a:solidFill>
                    <a:schemeClr val="bg1"/>
                  </a:solidFill>
                </a:rPr>
                <a:t>Viability</a:t>
              </a:r>
              <a:endParaRPr lang="en-US" sz="1000" b="1" kern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018839" y="1093548"/>
            <a:ext cx="6725319" cy="1308143"/>
            <a:chOff x="4787230" y="809998"/>
            <a:chExt cx="2048152" cy="1846587"/>
          </a:xfrm>
        </p:grpSpPr>
        <p:sp>
          <p:nvSpPr>
            <p:cNvPr id="14" name="Rounded Rectangle 13"/>
            <p:cNvSpPr/>
            <p:nvPr/>
          </p:nvSpPr>
          <p:spPr>
            <a:xfrm>
              <a:off x="4787230" y="809998"/>
              <a:ext cx="2048152" cy="1846587"/>
            </a:xfrm>
            <a:prstGeom prst="roundRect">
              <a:avLst>
                <a:gd name="adj" fmla="val 10000"/>
              </a:avLst>
            </a:prstGeom>
            <a:noFill/>
            <a:ln>
              <a:solidFill>
                <a:schemeClr val="accent3">
                  <a:lumMod val="75000"/>
                </a:schemeClr>
              </a:solidFill>
              <a:prstDash val="sysDot"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ounded Rectangle 4"/>
            <p:cNvSpPr/>
            <p:nvPr/>
          </p:nvSpPr>
          <p:spPr>
            <a:xfrm>
              <a:off x="4843635" y="864084"/>
              <a:ext cx="1939982" cy="173841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dirty="0" smtClean="0">
                  <a:solidFill>
                    <a:srgbClr val="616265"/>
                  </a:solidFill>
                </a:rPr>
                <a:t>Example of Liberty Mutual’s Potential to Undercut 		Domestic </a:t>
              </a:r>
              <a:r>
                <a:rPr lang="en-US" sz="2000" b="1" dirty="0">
                  <a:solidFill>
                    <a:srgbClr val="616265"/>
                  </a:solidFill>
                </a:rPr>
                <a:t>C</a:t>
              </a:r>
              <a:r>
                <a:rPr lang="en-US" sz="2000" b="1" dirty="0" smtClean="0">
                  <a:solidFill>
                    <a:srgbClr val="616265"/>
                  </a:solidFill>
                </a:rPr>
                <a:t>ompetition</a:t>
              </a:r>
              <a:endParaRPr lang="en-US" sz="2000" b="1" kern="1200" dirty="0">
                <a:solidFill>
                  <a:srgbClr val="616265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1615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18</a:t>
            </a:fld>
            <a:endParaRPr lang="en-US">
              <a:solidFill>
                <a:srgbClr val="FFFFFF">
                  <a:alpha val="99000"/>
                </a:srgb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oduct </a:t>
            </a:r>
            <a:r>
              <a:rPr lang="en-US" dirty="0" smtClean="0"/>
              <a:t>Innovation </a:t>
            </a:r>
            <a:r>
              <a:rPr lang="en-US" dirty="0"/>
              <a:t>Team </a:t>
            </a:r>
            <a:r>
              <a:rPr lang="en-US" dirty="0" smtClean="0"/>
              <a:t>Overview</a:t>
            </a:r>
          </a:p>
          <a:p>
            <a:r>
              <a:rPr lang="en-US" dirty="0" smtClean="0"/>
              <a:t>Parametric Snow Insurance</a:t>
            </a:r>
          </a:p>
          <a:p>
            <a:r>
              <a:rPr lang="en-US" b="1" dirty="0" smtClean="0"/>
              <a:t>Leveraging Telematics</a:t>
            </a:r>
          </a:p>
          <a:p>
            <a:r>
              <a:rPr lang="en-US" dirty="0" smtClean="0"/>
              <a:t>Key Takeaways &amp; </a:t>
            </a:r>
            <a:r>
              <a:rPr lang="en-US" dirty="0"/>
              <a:t>Acknowledgements </a:t>
            </a: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B365D0-5BFF-4591-B84D-8953AC9A16AD}" type="datetime1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8/6/2018</a:t>
            </a:fld>
            <a:endParaRPr lang="en-US" dirty="0">
              <a:solidFill>
                <a:srgbClr val="FFFFFF">
                  <a:alpha val="99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098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74073" y="95753"/>
            <a:ext cx="8305800" cy="487363"/>
          </a:xfrm>
        </p:spPr>
        <p:txBody>
          <a:bodyPr/>
          <a:lstStyle/>
          <a:p>
            <a:r>
              <a:rPr lang="en-US" dirty="0" smtClean="0"/>
              <a:t>By utilizing cloud services, large quantities of telematics data can be analyzed through python </a:t>
            </a:r>
            <a:endParaRPr lang="en-US" dirty="0"/>
          </a:p>
        </p:txBody>
      </p:sp>
      <p:pic>
        <p:nvPicPr>
          <p:cNvPr id="9222" name="Picture 6" descr="https://cortex.lmig.com/cortex-horizontal.18127a6b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2650" y="2977500"/>
            <a:ext cx="4762500" cy="838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4" name="Picture 8" descr="aw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112506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8" name="Picture 12" descr="jupyterHub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800" y="1127918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6136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2</a:t>
            </a:fld>
            <a:endParaRPr lang="en-US">
              <a:solidFill>
                <a:srgbClr val="FFFFFF">
                  <a:alpha val="99000"/>
                </a:srgb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Product </a:t>
            </a:r>
            <a:r>
              <a:rPr lang="en-US" b="1" dirty="0" smtClean="0"/>
              <a:t>Innovation </a:t>
            </a:r>
            <a:r>
              <a:rPr lang="en-US" b="1" dirty="0"/>
              <a:t>Team </a:t>
            </a:r>
            <a:r>
              <a:rPr lang="en-US" b="1" dirty="0" smtClean="0"/>
              <a:t>Overview</a:t>
            </a:r>
          </a:p>
          <a:p>
            <a:r>
              <a:rPr lang="en-US" dirty="0" smtClean="0"/>
              <a:t>Parametric Snow Insurance</a:t>
            </a:r>
          </a:p>
          <a:p>
            <a:r>
              <a:rPr lang="en-US" dirty="0" smtClean="0"/>
              <a:t>Leveraging Telematics</a:t>
            </a:r>
          </a:p>
          <a:p>
            <a:r>
              <a:rPr lang="en-US" dirty="0" smtClean="0"/>
              <a:t>Key Takeaways &amp; Acknowledgement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B365D0-5BFF-4591-B84D-8953AC9A16AD}" type="datetime1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8/6/2018</a:t>
            </a:fld>
            <a:endParaRPr lang="en-US" dirty="0">
              <a:solidFill>
                <a:srgbClr val="FFFFFF">
                  <a:alpha val="99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642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90945" y="79868"/>
            <a:ext cx="85921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sz="2400" dirty="0" smtClean="0">
                <a:solidFill>
                  <a:srgbClr val="666666"/>
                </a:solidFill>
              </a:rPr>
              <a:t>Using telematics data, we can better understand our client’s behaviors and complement other Liberty functions</a:t>
            </a:r>
            <a:endParaRPr lang="en-US" sz="2400" dirty="0" smtClean="0">
              <a:solidFill>
                <a:srgbClr val="000000"/>
              </a:solidFill>
            </a:endParaRPr>
          </a:p>
        </p:txBody>
      </p:sp>
      <p:sp>
        <p:nvSpPr>
          <p:cNvPr id="3" name="Rectangle 16"/>
          <p:cNvSpPr>
            <a:spLocks noChangeArrowheads="1"/>
          </p:cNvSpPr>
          <p:nvPr/>
        </p:nvSpPr>
        <p:spPr bwMode="auto">
          <a:xfrm>
            <a:off x="228600" y="16811"/>
            <a:ext cx="7848600" cy="348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35000"/>
              </a:spcBef>
              <a:spcAft>
                <a:spcPct val="0"/>
              </a:spcAft>
              <a:buClr>
                <a:srgbClr val="001D61"/>
              </a:buClr>
              <a:buFont typeface="Wingdings" pitchFamily="2" charset="2"/>
              <a:buNone/>
            </a:pPr>
            <a:endParaRPr lang="en-US" sz="1400" i="1" dirty="0">
              <a:solidFill>
                <a:srgbClr val="666666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04800" y="1041396"/>
            <a:ext cx="4114800" cy="2472265"/>
          </a:xfrm>
          <a:prstGeom prst="rect">
            <a:avLst/>
          </a:prstGeom>
          <a:noFill/>
          <a:ln>
            <a:solidFill>
              <a:schemeClr val="accent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0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04800" y="1041396"/>
            <a:ext cx="4114800" cy="381000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accent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>
                <a:solidFill>
                  <a:srgbClr val="000000"/>
                </a:solidFill>
              </a:rPr>
              <a:t>User 28 Cumulative Stops</a:t>
            </a:r>
            <a:endParaRPr lang="en-US" sz="1000" dirty="0">
              <a:solidFill>
                <a:srgbClr val="000000"/>
              </a:solidFill>
            </a:endParaRPr>
          </a:p>
          <a:p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04800" y="3585635"/>
            <a:ext cx="4114800" cy="2472265"/>
          </a:xfrm>
          <a:prstGeom prst="rect">
            <a:avLst/>
          </a:prstGeom>
          <a:noFill/>
          <a:ln>
            <a:solidFill>
              <a:schemeClr val="accent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0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04800" y="3585635"/>
            <a:ext cx="4114800" cy="381000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accent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>
                <a:solidFill>
                  <a:srgbClr val="000000"/>
                </a:solidFill>
              </a:rPr>
              <a:t>User 28 After Hour Stops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10100" y="1041396"/>
            <a:ext cx="4114800" cy="2472265"/>
          </a:xfrm>
          <a:prstGeom prst="rect">
            <a:avLst/>
          </a:prstGeom>
          <a:noFill/>
          <a:ln>
            <a:solidFill>
              <a:schemeClr val="accent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00">
              <a:solidFill>
                <a:srgbClr val="FFFFFF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610100" y="1041396"/>
            <a:ext cx="4114800" cy="381000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accent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>
                <a:solidFill>
                  <a:srgbClr val="000000"/>
                </a:solidFill>
              </a:rPr>
              <a:t>User 28 Stops (Any Given Monday)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610100" y="3585635"/>
            <a:ext cx="4114800" cy="2472265"/>
          </a:xfrm>
          <a:prstGeom prst="rect">
            <a:avLst/>
          </a:prstGeom>
          <a:noFill/>
          <a:ln>
            <a:solidFill>
              <a:schemeClr val="accent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0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610100" y="3585635"/>
            <a:ext cx="4114800" cy="381000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accent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>
                <a:solidFill>
                  <a:srgbClr val="000000"/>
                </a:solidFill>
              </a:rPr>
              <a:t>User 28 Stops before Long Weekends/ Holidays</a:t>
            </a:r>
            <a:endParaRPr lang="en-US" sz="1000" dirty="0">
              <a:solidFill>
                <a:srgbClr val="00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422396"/>
            <a:ext cx="4038600" cy="2021842"/>
          </a:xfrm>
          <a:prstGeom prst="rect">
            <a:avLst/>
          </a:prstGeom>
        </p:spPr>
      </p:pic>
      <p:sp>
        <p:nvSpPr>
          <p:cNvPr id="29" name="Date Placeholder 3"/>
          <p:cNvSpPr txBox="1">
            <a:spLocks/>
          </p:cNvSpPr>
          <p:nvPr/>
        </p:nvSpPr>
        <p:spPr>
          <a:xfrm>
            <a:off x="6934200" y="6553200"/>
            <a:ext cx="914400" cy="228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AB365D0-5BFF-4591-B84D-8953AC9A16AD}" type="datetime1">
              <a:rPr lang="en-US" sz="1200" smtClean="0">
                <a:solidFill>
                  <a:srgbClr val="FFFFFF">
                    <a:alpha val="99000"/>
                  </a:srgbClr>
                </a:solidFill>
                <a:latin typeface="+mj-lt"/>
              </a:rPr>
              <a:pPr/>
              <a:t>8/6/2018</a:t>
            </a:fld>
            <a:endParaRPr lang="en-US" sz="1200" dirty="0">
              <a:solidFill>
                <a:srgbClr val="FFFFFF">
                  <a:alpha val="99000"/>
                </a:srgbClr>
              </a:solidFill>
              <a:latin typeface="+mj-lt"/>
            </a:endParaRPr>
          </a:p>
        </p:txBody>
      </p:sp>
      <p:pic>
        <p:nvPicPr>
          <p:cNvPr id="31" name="Picture 30" descr="C:\Users\n0343539\Desktop\User 28 before 10.PN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0100" y="1409570"/>
            <a:ext cx="4114800" cy="2034668"/>
          </a:xfrm>
          <a:prstGeom prst="rect">
            <a:avLst/>
          </a:prstGeom>
          <a:noFill/>
          <a:ln>
            <a:noFill/>
          </a:ln>
        </p:spPr>
      </p:pic>
      <p:pic>
        <p:nvPicPr>
          <p:cNvPr id="33" name="Picture 32" descr="C:\Users\n0343539\Desktop\User 28 potential house.PNG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696" y="3933818"/>
            <a:ext cx="4166103" cy="2009782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0101" y="3949445"/>
            <a:ext cx="4114800" cy="2108455"/>
          </a:xfrm>
          <a:prstGeom prst="rect">
            <a:avLst/>
          </a:prstGeom>
        </p:spPr>
      </p:pic>
      <p:sp>
        <p:nvSpPr>
          <p:cNvPr id="8" name="Flowchart: Connector 7"/>
          <p:cNvSpPr/>
          <p:nvPr/>
        </p:nvSpPr>
        <p:spPr>
          <a:xfrm>
            <a:off x="1524000" y="2590800"/>
            <a:ext cx="914400" cy="457200"/>
          </a:xfrm>
          <a:prstGeom prst="flowChartConnector">
            <a:avLst/>
          </a:prstGeom>
          <a:noFill/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Flowchart: Connector 11"/>
          <p:cNvSpPr/>
          <p:nvPr/>
        </p:nvSpPr>
        <p:spPr>
          <a:xfrm>
            <a:off x="5943600" y="2362200"/>
            <a:ext cx="304800" cy="304800"/>
          </a:xfrm>
          <a:prstGeom prst="flowChartConnector">
            <a:avLst/>
          </a:prstGeom>
          <a:noFill/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lowchart: Connector 21"/>
          <p:cNvSpPr/>
          <p:nvPr/>
        </p:nvSpPr>
        <p:spPr>
          <a:xfrm>
            <a:off x="914400" y="5181600"/>
            <a:ext cx="304800" cy="304800"/>
          </a:xfrm>
          <a:prstGeom prst="flowChartConnector">
            <a:avLst/>
          </a:prstGeom>
          <a:noFill/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lowchart: Connector 22"/>
          <p:cNvSpPr/>
          <p:nvPr/>
        </p:nvSpPr>
        <p:spPr>
          <a:xfrm rot="16200000">
            <a:off x="5967284" y="5105400"/>
            <a:ext cx="914400" cy="457200"/>
          </a:xfrm>
          <a:prstGeom prst="flowChartConnector">
            <a:avLst/>
          </a:prstGeom>
          <a:noFill/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000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8600" y="92339"/>
            <a:ext cx="859214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sz="2200" dirty="0" smtClean="0">
                <a:solidFill>
                  <a:srgbClr val="666666"/>
                </a:solidFill>
              </a:rPr>
              <a:t>By looking deeper at driver variables, we can refine our estimation model and create value for our telematics services</a:t>
            </a:r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3" name="Rectangle 16"/>
          <p:cNvSpPr>
            <a:spLocks noChangeArrowheads="1"/>
          </p:cNvSpPr>
          <p:nvPr/>
        </p:nvSpPr>
        <p:spPr bwMode="auto">
          <a:xfrm>
            <a:off x="228600" y="16811"/>
            <a:ext cx="7848600" cy="348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35000"/>
              </a:spcBef>
              <a:spcAft>
                <a:spcPct val="0"/>
              </a:spcAft>
              <a:buClr>
                <a:srgbClr val="001D61"/>
              </a:buClr>
              <a:buFont typeface="Wingdings" pitchFamily="2" charset="2"/>
              <a:buNone/>
            </a:pPr>
            <a:endParaRPr lang="en-US" sz="1400" i="1" dirty="0">
              <a:solidFill>
                <a:srgbClr val="666666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04800" y="1041396"/>
            <a:ext cx="4114800" cy="2472265"/>
          </a:xfrm>
          <a:prstGeom prst="rect">
            <a:avLst/>
          </a:prstGeom>
          <a:noFill/>
          <a:ln>
            <a:solidFill>
              <a:schemeClr val="accent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0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04800" y="1041396"/>
            <a:ext cx="4114800" cy="381000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accent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>
                <a:solidFill>
                  <a:srgbClr val="000000"/>
                </a:solidFill>
              </a:rPr>
              <a:t>Distance Distribution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04800" y="3585635"/>
            <a:ext cx="4114800" cy="2738965"/>
          </a:xfrm>
          <a:prstGeom prst="rect">
            <a:avLst/>
          </a:prstGeom>
          <a:noFill/>
          <a:ln>
            <a:solidFill>
              <a:schemeClr val="accent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0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04800" y="3693277"/>
            <a:ext cx="4114800" cy="273358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accent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>
                <a:solidFill>
                  <a:srgbClr val="000000"/>
                </a:solidFill>
              </a:rPr>
              <a:t>Top 4 States Within 20 Miles of Estimation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10100" y="1041396"/>
            <a:ext cx="4114800" cy="2472265"/>
          </a:xfrm>
          <a:prstGeom prst="rect">
            <a:avLst/>
          </a:prstGeom>
          <a:noFill/>
          <a:ln>
            <a:solidFill>
              <a:schemeClr val="accent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00">
              <a:solidFill>
                <a:srgbClr val="FFFFFF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610100" y="1041396"/>
            <a:ext cx="4114800" cy="381000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accent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>
                <a:solidFill>
                  <a:srgbClr val="000000"/>
                </a:solidFill>
              </a:rPr>
              <a:t>Distance Distribution (Outliers Eliminated)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610100" y="3585635"/>
            <a:ext cx="4114800" cy="2472265"/>
          </a:xfrm>
          <a:prstGeom prst="rect">
            <a:avLst/>
          </a:prstGeom>
          <a:noFill/>
          <a:ln>
            <a:solidFill>
              <a:schemeClr val="accent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0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610100" y="3693275"/>
            <a:ext cx="4114800" cy="273359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accent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>
                <a:solidFill>
                  <a:srgbClr val="000000"/>
                </a:solidFill>
              </a:rPr>
              <a:t>Top 4 States By Accuracy of Prediction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9" name="Date Placeholder 3"/>
          <p:cNvSpPr txBox="1">
            <a:spLocks/>
          </p:cNvSpPr>
          <p:nvPr/>
        </p:nvSpPr>
        <p:spPr>
          <a:xfrm>
            <a:off x="6934200" y="6553200"/>
            <a:ext cx="914400" cy="228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AB365D0-5BFF-4591-B84D-8953AC9A16AD}" type="datetime1">
              <a:rPr lang="en-US" sz="1200" smtClean="0">
                <a:solidFill>
                  <a:srgbClr val="FFFFFF">
                    <a:alpha val="99000"/>
                  </a:srgbClr>
                </a:solidFill>
                <a:latin typeface="+mj-lt"/>
              </a:rPr>
              <a:pPr/>
              <a:t>8/6/2018</a:t>
            </a:fld>
            <a:endParaRPr lang="en-US" sz="1200" dirty="0">
              <a:solidFill>
                <a:srgbClr val="FFFFFF">
                  <a:alpha val="99000"/>
                </a:srgbClr>
              </a:solidFill>
              <a:latin typeface="+mj-lt"/>
            </a:endParaRPr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37974898"/>
              </p:ext>
            </p:extLst>
          </p:nvPr>
        </p:nvGraphicFramePr>
        <p:xfrm>
          <a:off x="304800" y="1339927"/>
          <a:ext cx="4140200" cy="23533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6" name="Acrobat Document" r:id="rId4" imgW="4114709" imgH="2743065" progId="AcroExch.Document.11">
                  <p:embed/>
                </p:oleObj>
              </mc:Choice>
              <mc:Fallback>
                <p:oleObj name="Acrobat Document" r:id="rId4" imgW="4114709" imgH="2743065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4800" y="1339927"/>
                        <a:ext cx="4140200" cy="23533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42453582"/>
              </p:ext>
            </p:extLst>
          </p:nvPr>
        </p:nvGraphicFramePr>
        <p:xfrm>
          <a:off x="4610099" y="1339927"/>
          <a:ext cx="4114801" cy="2326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7" name="Acrobat Document" r:id="rId6" imgW="4114709" imgH="2743065" progId="AcroExch.Document.11">
                  <p:embed/>
                </p:oleObj>
              </mc:Choice>
              <mc:Fallback>
                <p:oleObj name="Acrobat Document" r:id="rId6" imgW="4114709" imgH="2743065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610099" y="1339927"/>
                        <a:ext cx="4114801" cy="2326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0099" y="3966635"/>
            <a:ext cx="4038600" cy="2357965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3991807"/>
            <a:ext cx="4114800" cy="2332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667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22</a:t>
            </a:fld>
            <a:endParaRPr lang="en-US">
              <a:solidFill>
                <a:srgbClr val="FFFFFF">
                  <a:alpha val="99000"/>
                </a:srgb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oduct </a:t>
            </a:r>
            <a:r>
              <a:rPr lang="en-US" dirty="0" smtClean="0"/>
              <a:t>Innovation </a:t>
            </a:r>
            <a:r>
              <a:rPr lang="en-US" dirty="0"/>
              <a:t>Team </a:t>
            </a:r>
            <a:r>
              <a:rPr lang="en-US" dirty="0" smtClean="0"/>
              <a:t>Overview</a:t>
            </a:r>
          </a:p>
          <a:p>
            <a:r>
              <a:rPr lang="en-US" dirty="0" smtClean="0"/>
              <a:t>Parametric Snow Insurance</a:t>
            </a:r>
          </a:p>
          <a:p>
            <a:r>
              <a:rPr lang="en-US" dirty="0" smtClean="0"/>
              <a:t>Leveraging Telematics</a:t>
            </a:r>
          </a:p>
          <a:p>
            <a:r>
              <a:rPr lang="en-US" b="1" dirty="0" smtClean="0"/>
              <a:t>Key Takeaways &amp; </a:t>
            </a:r>
            <a:r>
              <a:rPr lang="en-US" b="1" dirty="0"/>
              <a:t>Acknowledgements </a:t>
            </a:r>
            <a:endParaRPr lang="en-US" b="1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B365D0-5BFF-4591-B84D-8953AC9A16AD}" type="datetime1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8/6/2018</a:t>
            </a:fld>
            <a:endParaRPr lang="en-US" dirty="0">
              <a:solidFill>
                <a:srgbClr val="FFFFFF">
                  <a:alpha val="99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462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419099" y="3048000"/>
            <a:ext cx="8267701" cy="3276600"/>
          </a:xfrm>
          <a:prstGeom prst="rect">
            <a:avLst/>
          </a:prstGeom>
          <a:solidFill>
            <a:srgbClr val="F2F2F2"/>
          </a:solidFill>
          <a:ln w="285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00" dirty="0">
              <a:solidFill>
                <a:srgbClr val="00206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keaways and acknowledgements</a:t>
            </a:r>
            <a:endParaRPr lang="en-US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565762059"/>
              </p:ext>
            </p:extLst>
          </p:nvPr>
        </p:nvGraphicFramePr>
        <p:xfrm>
          <a:off x="571500" y="3352800"/>
          <a:ext cx="8039100" cy="2895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Rectangle 17"/>
          <p:cNvSpPr/>
          <p:nvPr/>
        </p:nvSpPr>
        <p:spPr>
          <a:xfrm>
            <a:off x="411793" y="3048000"/>
            <a:ext cx="8275007" cy="376567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Thank you!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19099" y="898659"/>
            <a:ext cx="8267701" cy="323359"/>
          </a:xfrm>
          <a:prstGeom prst="rect">
            <a:avLst/>
          </a:prstGeom>
          <a:solidFill>
            <a:schemeClr val="bg2">
              <a:lumMod val="50000"/>
            </a:schemeClr>
          </a:solidFill>
          <a:ln w="25400" cap="flat" cmpd="sng" algn="ctr">
            <a:solidFill>
              <a:schemeClr val="accent4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 smtClean="0">
                <a:solidFill>
                  <a:srgbClr val="FFFFFF"/>
                </a:solidFill>
                <a:latin typeface="Arial"/>
              </a:rPr>
              <a:t>Takeaways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19100" y="1231849"/>
            <a:ext cx="8267701" cy="1816151"/>
          </a:xfrm>
          <a:prstGeom prst="rect">
            <a:avLst/>
          </a:prstGeom>
          <a:solidFill>
            <a:srgbClr val="EAEAEA"/>
          </a:solidFill>
        </p:spPr>
        <p:txBody>
          <a:bodyPr wrap="square" rIns="0" rtlCol="0">
            <a:noAutofit/>
          </a:bodyPr>
          <a:lstStyle/>
          <a:p>
            <a:pPr>
              <a:defRPr/>
            </a:pPr>
            <a:r>
              <a:rPr lang="en-US" sz="1400" dirty="0"/>
              <a:t>	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956818" y="1325835"/>
            <a:ext cx="6078781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200" b="1" dirty="0" smtClean="0"/>
          </a:p>
          <a:p>
            <a:r>
              <a:rPr lang="en-US" sz="1200" b="1" dirty="0" smtClean="0"/>
              <a:t>	Successful Teams 	  	Technical Skills</a:t>
            </a:r>
          </a:p>
          <a:p>
            <a:endParaRPr lang="en-US" sz="600" b="1" dirty="0" smtClean="0"/>
          </a:p>
          <a:p>
            <a:endParaRPr lang="en-US" sz="600" b="1" dirty="0" smtClean="0"/>
          </a:p>
          <a:p>
            <a:endParaRPr lang="en-US" sz="1200" b="1" dirty="0" smtClean="0"/>
          </a:p>
          <a:p>
            <a:endParaRPr lang="en-US" sz="1200" b="1" dirty="0" smtClean="0"/>
          </a:p>
          <a:p>
            <a:endParaRPr lang="en-US" sz="1200" b="1" dirty="0"/>
          </a:p>
          <a:p>
            <a:r>
              <a:rPr lang="en-US" sz="1200" b="1" dirty="0"/>
              <a:t>	</a:t>
            </a:r>
            <a:r>
              <a:rPr lang="en-US" sz="1200" b="1" dirty="0" smtClean="0"/>
              <a:t>Flexible &amp; Critical 		Solaria</a:t>
            </a:r>
          </a:p>
          <a:p>
            <a:r>
              <a:rPr lang="en-US" sz="1200" b="1" dirty="0"/>
              <a:t>	</a:t>
            </a:r>
            <a:r>
              <a:rPr lang="en-US" sz="1200" b="1" dirty="0" smtClean="0"/>
              <a:t>      Thinking</a:t>
            </a:r>
          </a:p>
          <a:p>
            <a:endParaRPr lang="en-US" sz="600" dirty="0"/>
          </a:p>
          <a:p>
            <a:endParaRPr lang="en-US" sz="1200" b="1" dirty="0" smtClean="0"/>
          </a:p>
          <a:p>
            <a:endParaRPr lang="en-US" sz="1200" b="1" dirty="0"/>
          </a:p>
          <a:p>
            <a:endParaRPr lang="en-US" sz="1200" b="1" dirty="0" smtClean="0"/>
          </a:p>
          <a:p>
            <a:endParaRPr lang="en-US" sz="1200" b="1" dirty="0"/>
          </a:p>
          <a:p>
            <a:endParaRPr lang="en-US" sz="1200" b="1" dirty="0"/>
          </a:p>
          <a:p>
            <a:r>
              <a:rPr lang="en-US" sz="1200" b="1" dirty="0" smtClean="0"/>
              <a:t>	</a:t>
            </a:r>
            <a:endParaRPr lang="en-US" sz="1200" b="1" dirty="0"/>
          </a:p>
        </p:txBody>
      </p:sp>
      <p:grpSp>
        <p:nvGrpSpPr>
          <p:cNvPr id="23" name="Group 164"/>
          <p:cNvGrpSpPr/>
          <p:nvPr/>
        </p:nvGrpSpPr>
        <p:grpSpPr>
          <a:xfrm>
            <a:off x="1867665" y="1344256"/>
            <a:ext cx="570736" cy="406476"/>
            <a:chOff x="1598613" y="1849438"/>
            <a:chExt cx="1520825" cy="803275"/>
          </a:xfrm>
          <a:solidFill>
            <a:schemeClr val="accent1"/>
          </a:solidFill>
        </p:grpSpPr>
        <p:sp>
          <p:nvSpPr>
            <p:cNvPr id="24" name="Freeform 95"/>
            <p:cNvSpPr>
              <a:spLocks/>
            </p:cNvSpPr>
            <p:nvPr/>
          </p:nvSpPr>
          <p:spPr bwMode="auto">
            <a:xfrm>
              <a:off x="1998663" y="2295525"/>
              <a:ext cx="720725" cy="357188"/>
            </a:xfrm>
            <a:custGeom>
              <a:avLst/>
              <a:gdLst/>
              <a:ahLst/>
              <a:cxnLst>
                <a:cxn ang="0">
                  <a:pos x="151" y="0"/>
                </a:cxn>
                <a:cxn ang="0">
                  <a:pos x="209" y="137"/>
                </a:cxn>
                <a:cxn ang="0">
                  <a:pos x="216" y="45"/>
                </a:cxn>
                <a:cxn ang="0">
                  <a:pos x="201" y="40"/>
                </a:cxn>
                <a:cxn ang="0">
                  <a:pos x="201" y="28"/>
                </a:cxn>
                <a:cxn ang="0">
                  <a:pos x="260" y="28"/>
                </a:cxn>
                <a:cxn ang="0">
                  <a:pos x="260" y="41"/>
                </a:cxn>
                <a:cxn ang="0">
                  <a:pos x="243" y="45"/>
                </a:cxn>
                <a:cxn ang="0">
                  <a:pos x="247" y="138"/>
                </a:cxn>
                <a:cxn ang="0">
                  <a:pos x="306" y="0"/>
                </a:cxn>
                <a:cxn ang="0">
                  <a:pos x="308" y="2"/>
                </a:cxn>
                <a:cxn ang="0">
                  <a:pos x="310" y="9"/>
                </a:cxn>
                <a:cxn ang="0">
                  <a:pos x="316" y="17"/>
                </a:cxn>
                <a:cxn ang="0">
                  <a:pos x="327" y="29"/>
                </a:cxn>
                <a:cxn ang="0">
                  <a:pos x="342" y="40"/>
                </a:cxn>
                <a:cxn ang="0">
                  <a:pos x="362" y="50"/>
                </a:cxn>
                <a:cxn ang="0">
                  <a:pos x="389" y="57"/>
                </a:cxn>
                <a:cxn ang="0">
                  <a:pos x="412" y="65"/>
                </a:cxn>
                <a:cxn ang="0">
                  <a:pos x="427" y="77"/>
                </a:cxn>
                <a:cxn ang="0">
                  <a:pos x="439" y="94"/>
                </a:cxn>
                <a:cxn ang="0">
                  <a:pos x="447" y="115"/>
                </a:cxn>
                <a:cxn ang="0">
                  <a:pos x="454" y="152"/>
                </a:cxn>
                <a:cxn ang="0">
                  <a:pos x="454" y="225"/>
                </a:cxn>
                <a:cxn ang="0">
                  <a:pos x="0" y="225"/>
                </a:cxn>
                <a:cxn ang="0">
                  <a:pos x="0" y="181"/>
                </a:cxn>
                <a:cxn ang="0">
                  <a:pos x="3" y="145"/>
                </a:cxn>
                <a:cxn ang="0">
                  <a:pos x="10" y="115"/>
                </a:cxn>
                <a:cxn ang="0">
                  <a:pos x="20" y="92"/>
                </a:cxn>
                <a:cxn ang="0">
                  <a:pos x="36" y="75"/>
                </a:cxn>
                <a:cxn ang="0">
                  <a:pos x="54" y="63"/>
                </a:cxn>
                <a:cxn ang="0">
                  <a:pos x="102" y="46"/>
                </a:cxn>
                <a:cxn ang="0">
                  <a:pos x="121" y="36"/>
                </a:cxn>
                <a:cxn ang="0">
                  <a:pos x="144" y="12"/>
                </a:cxn>
                <a:cxn ang="0">
                  <a:pos x="150" y="4"/>
                </a:cxn>
                <a:cxn ang="0">
                  <a:pos x="151" y="0"/>
                </a:cxn>
              </a:cxnLst>
              <a:rect l="0" t="0" r="r" b="b"/>
              <a:pathLst>
                <a:path w="454" h="225">
                  <a:moveTo>
                    <a:pt x="151" y="0"/>
                  </a:moveTo>
                  <a:lnTo>
                    <a:pt x="209" y="137"/>
                  </a:lnTo>
                  <a:lnTo>
                    <a:pt x="216" y="45"/>
                  </a:lnTo>
                  <a:lnTo>
                    <a:pt x="201" y="40"/>
                  </a:lnTo>
                  <a:lnTo>
                    <a:pt x="201" y="28"/>
                  </a:lnTo>
                  <a:lnTo>
                    <a:pt x="260" y="28"/>
                  </a:lnTo>
                  <a:lnTo>
                    <a:pt x="260" y="41"/>
                  </a:lnTo>
                  <a:lnTo>
                    <a:pt x="243" y="45"/>
                  </a:lnTo>
                  <a:lnTo>
                    <a:pt x="247" y="138"/>
                  </a:lnTo>
                  <a:lnTo>
                    <a:pt x="306" y="0"/>
                  </a:lnTo>
                  <a:lnTo>
                    <a:pt x="308" y="2"/>
                  </a:lnTo>
                  <a:lnTo>
                    <a:pt x="310" y="9"/>
                  </a:lnTo>
                  <a:lnTo>
                    <a:pt x="316" y="17"/>
                  </a:lnTo>
                  <a:lnTo>
                    <a:pt x="327" y="29"/>
                  </a:lnTo>
                  <a:lnTo>
                    <a:pt x="342" y="40"/>
                  </a:lnTo>
                  <a:lnTo>
                    <a:pt x="362" y="50"/>
                  </a:lnTo>
                  <a:lnTo>
                    <a:pt x="389" y="57"/>
                  </a:lnTo>
                  <a:lnTo>
                    <a:pt x="412" y="65"/>
                  </a:lnTo>
                  <a:lnTo>
                    <a:pt x="427" y="77"/>
                  </a:lnTo>
                  <a:lnTo>
                    <a:pt x="439" y="94"/>
                  </a:lnTo>
                  <a:lnTo>
                    <a:pt x="447" y="115"/>
                  </a:lnTo>
                  <a:lnTo>
                    <a:pt x="454" y="152"/>
                  </a:lnTo>
                  <a:lnTo>
                    <a:pt x="454" y="225"/>
                  </a:lnTo>
                  <a:lnTo>
                    <a:pt x="0" y="225"/>
                  </a:lnTo>
                  <a:lnTo>
                    <a:pt x="0" y="181"/>
                  </a:lnTo>
                  <a:lnTo>
                    <a:pt x="3" y="145"/>
                  </a:lnTo>
                  <a:lnTo>
                    <a:pt x="10" y="115"/>
                  </a:lnTo>
                  <a:lnTo>
                    <a:pt x="20" y="92"/>
                  </a:lnTo>
                  <a:lnTo>
                    <a:pt x="36" y="75"/>
                  </a:lnTo>
                  <a:lnTo>
                    <a:pt x="54" y="63"/>
                  </a:lnTo>
                  <a:lnTo>
                    <a:pt x="102" y="46"/>
                  </a:lnTo>
                  <a:lnTo>
                    <a:pt x="121" y="36"/>
                  </a:lnTo>
                  <a:lnTo>
                    <a:pt x="144" y="12"/>
                  </a:lnTo>
                  <a:lnTo>
                    <a:pt x="150" y="4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Freeform 96"/>
            <p:cNvSpPr>
              <a:spLocks/>
            </p:cNvSpPr>
            <p:nvPr/>
          </p:nvSpPr>
          <p:spPr bwMode="auto">
            <a:xfrm>
              <a:off x="2195513" y="1849438"/>
              <a:ext cx="342900" cy="449263"/>
            </a:xfrm>
            <a:custGeom>
              <a:avLst/>
              <a:gdLst/>
              <a:ahLst/>
              <a:cxnLst>
                <a:cxn ang="0">
                  <a:pos x="107" y="0"/>
                </a:cxn>
                <a:cxn ang="0">
                  <a:pos x="134" y="2"/>
                </a:cxn>
                <a:cxn ang="0">
                  <a:pos x="157" y="10"/>
                </a:cxn>
                <a:cxn ang="0">
                  <a:pos x="174" y="21"/>
                </a:cxn>
                <a:cxn ang="0">
                  <a:pos x="186" y="36"/>
                </a:cxn>
                <a:cxn ang="0">
                  <a:pos x="194" y="53"/>
                </a:cxn>
                <a:cxn ang="0">
                  <a:pos x="199" y="73"/>
                </a:cxn>
                <a:cxn ang="0">
                  <a:pos x="203" y="94"/>
                </a:cxn>
                <a:cxn ang="0">
                  <a:pos x="203" y="119"/>
                </a:cxn>
                <a:cxn ang="0">
                  <a:pos x="209" y="125"/>
                </a:cxn>
                <a:cxn ang="0">
                  <a:pos x="214" y="135"/>
                </a:cxn>
                <a:cxn ang="0">
                  <a:pos x="216" y="147"/>
                </a:cxn>
                <a:cxn ang="0">
                  <a:pos x="213" y="160"/>
                </a:cxn>
                <a:cxn ang="0">
                  <a:pos x="208" y="171"/>
                </a:cxn>
                <a:cxn ang="0">
                  <a:pos x="197" y="174"/>
                </a:cxn>
                <a:cxn ang="0">
                  <a:pos x="194" y="174"/>
                </a:cxn>
                <a:cxn ang="0">
                  <a:pos x="187" y="201"/>
                </a:cxn>
                <a:cxn ang="0">
                  <a:pos x="177" y="225"/>
                </a:cxn>
                <a:cxn ang="0">
                  <a:pos x="163" y="249"/>
                </a:cxn>
                <a:cxn ang="0">
                  <a:pos x="148" y="266"/>
                </a:cxn>
                <a:cxn ang="0">
                  <a:pos x="129" y="278"/>
                </a:cxn>
                <a:cxn ang="0">
                  <a:pos x="107" y="283"/>
                </a:cxn>
                <a:cxn ang="0">
                  <a:pos x="85" y="278"/>
                </a:cxn>
                <a:cxn ang="0">
                  <a:pos x="68" y="266"/>
                </a:cxn>
                <a:cxn ang="0">
                  <a:pos x="51" y="249"/>
                </a:cxn>
                <a:cxn ang="0">
                  <a:pos x="39" y="225"/>
                </a:cxn>
                <a:cxn ang="0">
                  <a:pos x="29" y="201"/>
                </a:cxn>
                <a:cxn ang="0">
                  <a:pos x="20" y="174"/>
                </a:cxn>
                <a:cxn ang="0">
                  <a:pos x="19" y="174"/>
                </a:cxn>
                <a:cxn ang="0">
                  <a:pos x="9" y="171"/>
                </a:cxn>
                <a:cxn ang="0">
                  <a:pos x="3" y="160"/>
                </a:cxn>
                <a:cxn ang="0">
                  <a:pos x="0" y="147"/>
                </a:cxn>
                <a:cxn ang="0">
                  <a:pos x="2" y="138"/>
                </a:cxn>
                <a:cxn ang="0">
                  <a:pos x="3" y="131"/>
                </a:cxn>
                <a:cxn ang="0">
                  <a:pos x="7" y="125"/>
                </a:cxn>
                <a:cxn ang="0">
                  <a:pos x="12" y="121"/>
                </a:cxn>
                <a:cxn ang="0">
                  <a:pos x="12" y="114"/>
                </a:cxn>
                <a:cxn ang="0">
                  <a:pos x="15" y="73"/>
                </a:cxn>
                <a:cxn ang="0">
                  <a:pos x="22" y="55"/>
                </a:cxn>
                <a:cxn ang="0">
                  <a:pos x="31" y="38"/>
                </a:cxn>
                <a:cxn ang="0">
                  <a:pos x="44" y="22"/>
                </a:cxn>
                <a:cxn ang="0">
                  <a:pos x="60" y="10"/>
                </a:cxn>
                <a:cxn ang="0">
                  <a:pos x="82" y="3"/>
                </a:cxn>
                <a:cxn ang="0">
                  <a:pos x="107" y="0"/>
                </a:cxn>
              </a:cxnLst>
              <a:rect l="0" t="0" r="r" b="b"/>
              <a:pathLst>
                <a:path w="216" h="283">
                  <a:moveTo>
                    <a:pt x="107" y="0"/>
                  </a:moveTo>
                  <a:lnTo>
                    <a:pt x="134" y="2"/>
                  </a:lnTo>
                  <a:lnTo>
                    <a:pt x="157" y="10"/>
                  </a:lnTo>
                  <a:lnTo>
                    <a:pt x="174" y="21"/>
                  </a:lnTo>
                  <a:lnTo>
                    <a:pt x="186" y="36"/>
                  </a:lnTo>
                  <a:lnTo>
                    <a:pt x="194" y="53"/>
                  </a:lnTo>
                  <a:lnTo>
                    <a:pt x="199" y="73"/>
                  </a:lnTo>
                  <a:lnTo>
                    <a:pt x="203" y="94"/>
                  </a:lnTo>
                  <a:lnTo>
                    <a:pt x="203" y="119"/>
                  </a:lnTo>
                  <a:lnTo>
                    <a:pt x="209" y="125"/>
                  </a:lnTo>
                  <a:lnTo>
                    <a:pt x="214" y="135"/>
                  </a:lnTo>
                  <a:lnTo>
                    <a:pt x="216" y="147"/>
                  </a:lnTo>
                  <a:lnTo>
                    <a:pt x="213" y="160"/>
                  </a:lnTo>
                  <a:lnTo>
                    <a:pt x="208" y="171"/>
                  </a:lnTo>
                  <a:lnTo>
                    <a:pt x="197" y="174"/>
                  </a:lnTo>
                  <a:lnTo>
                    <a:pt x="194" y="174"/>
                  </a:lnTo>
                  <a:lnTo>
                    <a:pt x="187" y="201"/>
                  </a:lnTo>
                  <a:lnTo>
                    <a:pt x="177" y="225"/>
                  </a:lnTo>
                  <a:lnTo>
                    <a:pt x="163" y="249"/>
                  </a:lnTo>
                  <a:lnTo>
                    <a:pt x="148" y="266"/>
                  </a:lnTo>
                  <a:lnTo>
                    <a:pt x="129" y="278"/>
                  </a:lnTo>
                  <a:lnTo>
                    <a:pt x="107" y="283"/>
                  </a:lnTo>
                  <a:lnTo>
                    <a:pt x="85" y="278"/>
                  </a:lnTo>
                  <a:lnTo>
                    <a:pt x="68" y="266"/>
                  </a:lnTo>
                  <a:lnTo>
                    <a:pt x="51" y="249"/>
                  </a:lnTo>
                  <a:lnTo>
                    <a:pt x="39" y="225"/>
                  </a:lnTo>
                  <a:lnTo>
                    <a:pt x="29" y="201"/>
                  </a:lnTo>
                  <a:lnTo>
                    <a:pt x="20" y="174"/>
                  </a:lnTo>
                  <a:lnTo>
                    <a:pt x="19" y="174"/>
                  </a:lnTo>
                  <a:lnTo>
                    <a:pt x="9" y="171"/>
                  </a:lnTo>
                  <a:lnTo>
                    <a:pt x="3" y="160"/>
                  </a:lnTo>
                  <a:lnTo>
                    <a:pt x="0" y="147"/>
                  </a:lnTo>
                  <a:lnTo>
                    <a:pt x="2" y="138"/>
                  </a:lnTo>
                  <a:lnTo>
                    <a:pt x="3" y="131"/>
                  </a:lnTo>
                  <a:lnTo>
                    <a:pt x="7" y="125"/>
                  </a:lnTo>
                  <a:lnTo>
                    <a:pt x="12" y="121"/>
                  </a:lnTo>
                  <a:lnTo>
                    <a:pt x="12" y="114"/>
                  </a:lnTo>
                  <a:lnTo>
                    <a:pt x="15" y="73"/>
                  </a:lnTo>
                  <a:lnTo>
                    <a:pt x="22" y="55"/>
                  </a:lnTo>
                  <a:lnTo>
                    <a:pt x="31" y="38"/>
                  </a:lnTo>
                  <a:lnTo>
                    <a:pt x="44" y="22"/>
                  </a:lnTo>
                  <a:lnTo>
                    <a:pt x="60" y="10"/>
                  </a:lnTo>
                  <a:lnTo>
                    <a:pt x="82" y="3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Freeform 97"/>
            <p:cNvSpPr>
              <a:spLocks/>
            </p:cNvSpPr>
            <p:nvPr/>
          </p:nvSpPr>
          <p:spPr bwMode="auto">
            <a:xfrm>
              <a:off x="1598613" y="2382838"/>
              <a:ext cx="403225" cy="269875"/>
            </a:xfrm>
            <a:custGeom>
              <a:avLst/>
              <a:gdLst/>
              <a:ahLst/>
              <a:cxnLst>
                <a:cxn ang="0">
                  <a:pos x="114" y="0"/>
                </a:cxn>
                <a:cxn ang="0">
                  <a:pos x="158" y="104"/>
                </a:cxn>
                <a:cxn ang="0">
                  <a:pos x="163" y="34"/>
                </a:cxn>
                <a:cxn ang="0">
                  <a:pos x="151" y="29"/>
                </a:cxn>
                <a:cxn ang="0">
                  <a:pos x="151" y="20"/>
                </a:cxn>
                <a:cxn ang="0">
                  <a:pos x="196" y="20"/>
                </a:cxn>
                <a:cxn ang="0">
                  <a:pos x="196" y="31"/>
                </a:cxn>
                <a:cxn ang="0">
                  <a:pos x="184" y="34"/>
                </a:cxn>
                <a:cxn ang="0">
                  <a:pos x="187" y="104"/>
                </a:cxn>
                <a:cxn ang="0">
                  <a:pos x="233" y="0"/>
                </a:cxn>
                <a:cxn ang="0">
                  <a:pos x="233" y="2"/>
                </a:cxn>
                <a:cxn ang="0">
                  <a:pos x="235" y="3"/>
                </a:cxn>
                <a:cxn ang="0">
                  <a:pos x="237" y="8"/>
                </a:cxn>
                <a:cxn ang="0">
                  <a:pos x="240" y="14"/>
                </a:cxn>
                <a:cxn ang="0">
                  <a:pos x="247" y="19"/>
                </a:cxn>
                <a:cxn ang="0">
                  <a:pos x="254" y="26"/>
                </a:cxn>
                <a:cxn ang="0">
                  <a:pos x="245" y="43"/>
                </a:cxn>
                <a:cxn ang="0">
                  <a:pos x="237" y="66"/>
                </a:cxn>
                <a:cxn ang="0">
                  <a:pos x="231" y="95"/>
                </a:cxn>
                <a:cxn ang="0">
                  <a:pos x="228" y="130"/>
                </a:cxn>
                <a:cxn ang="0">
                  <a:pos x="230" y="170"/>
                </a:cxn>
                <a:cxn ang="0">
                  <a:pos x="0" y="170"/>
                </a:cxn>
                <a:cxn ang="0">
                  <a:pos x="0" y="136"/>
                </a:cxn>
                <a:cxn ang="0">
                  <a:pos x="3" y="104"/>
                </a:cxn>
                <a:cxn ang="0">
                  <a:pos x="10" y="78"/>
                </a:cxn>
                <a:cxn ang="0">
                  <a:pos x="22" y="61"/>
                </a:cxn>
                <a:cxn ang="0">
                  <a:pos x="37" y="48"/>
                </a:cxn>
                <a:cxn ang="0">
                  <a:pos x="60" y="41"/>
                </a:cxn>
                <a:cxn ang="0">
                  <a:pos x="80" y="34"/>
                </a:cxn>
                <a:cxn ang="0">
                  <a:pos x="95" y="22"/>
                </a:cxn>
                <a:cxn ang="0">
                  <a:pos x="106" y="12"/>
                </a:cxn>
                <a:cxn ang="0">
                  <a:pos x="112" y="3"/>
                </a:cxn>
                <a:cxn ang="0">
                  <a:pos x="114" y="0"/>
                </a:cxn>
              </a:cxnLst>
              <a:rect l="0" t="0" r="r" b="b"/>
              <a:pathLst>
                <a:path w="254" h="170">
                  <a:moveTo>
                    <a:pt x="114" y="0"/>
                  </a:moveTo>
                  <a:lnTo>
                    <a:pt x="158" y="104"/>
                  </a:lnTo>
                  <a:lnTo>
                    <a:pt x="163" y="34"/>
                  </a:lnTo>
                  <a:lnTo>
                    <a:pt x="151" y="29"/>
                  </a:lnTo>
                  <a:lnTo>
                    <a:pt x="151" y="20"/>
                  </a:lnTo>
                  <a:lnTo>
                    <a:pt x="196" y="20"/>
                  </a:lnTo>
                  <a:lnTo>
                    <a:pt x="196" y="31"/>
                  </a:lnTo>
                  <a:lnTo>
                    <a:pt x="184" y="34"/>
                  </a:lnTo>
                  <a:lnTo>
                    <a:pt x="187" y="104"/>
                  </a:lnTo>
                  <a:lnTo>
                    <a:pt x="233" y="0"/>
                  </a:lnTo>
                  <a:lnTo>
                    <a:pt x="233" y="2"/>
                  </a:lnTo>
                  <a:lnTo>
                    <a:pt x="235" y="3"/>
                  </a:lnTo>
                  <a:lnTo>
                    <a:pt x="237" y="8"/>
                  </a:lnTo>
                  <a:lnTo>
                    <a:pt x="240" y="14"/>
                  </a:lnTo>
                  <a:lnTo>
                    <a:pt x="247" y="19"/>
                  </a:lnTo>
                  <a:lnTo>
                    <a:pt x="254" y="26"/>
                  </a:lnTo>
                  <a:lnTo>
                    <a:pt x="245" y="43"/>
                  </a:lnTo>
                  <a:lnTo>
                    <a:pt x="237" y="66"/>
                  </a:lnTo>
                  <a:lnTo>
                    <a:pt x="231" y="95"/>
                  </a:lnTo>
                  <a:lnTo>
                    <a:pt x="228" y="130"/>
                  </a:lnTo>
                  <a:lnTo>
                    <a:pt x="230" y="170"/>
                  </a:lnTo>
                  <a:lnTo>
                    <a:pt x="0" y="170"/>
                  </a:lnTo>
                  <a:lnTo>
                    <a:pt x="0" y="136"/>
                  </a:lnTo>
                  <a:lnTo>
                    <a:pt x="3" y="104"/>
                  </a:lnTo>
                  <a:lnTo>
                    <a:pt x="10" y="78"/>
                  </a:lnTo>
                  <a:lnTo>
                    <a:pt x="22" y="61"/>
                  </a:lnTo>
                  <a:lnTo>
                    <a:pt x="37" y="48"/>
                  </a:lnTo>
                  <a:lnTo>
                    <a:pt x="60" y="41"/>
                  </a:lnTo>
                  <a:lnTo>
                    <a:pt x="80" y="34"/>
                  </a:lnTo>
                  <a:lnTo>
                    <a:pt x="95" y="22"/>
                  </a:lnTo>
                  <a:lnTo>
                    <a:pt x="106" y="12"/>
                  </a:lnTo>
                  <a:lnTo>
                    <a:pt x="112" y="3"/>
                  </a:lnTo>
                  <a:lnTo>
                    <a:pt x="1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Freeform 98"/>
            <p:cNvSpPr>
              <a:spLocks/>
            </p:cNvSpPr>
            <p:nvPr/>
          </p:nvSpPr>
          <p:spPr bwMode="auto">
            <a:xfrm>
              <a:off x="1747838" y="2044700"/>
              <a:ext cx="258762" cy="341313"/>
            </a:xfrm>
            <a:custGeom>
              <a:avLst/>
              <a:gdLst/>
              <a:ahLst/>
              <a:cxnLst>
                <a:cxn ang="0">
                  <a:pos x="81" y="0"/>
                </a:cxn>
                <a:cxn ang="0">
                  <a:pos x="105" y="2"/>
                </a:cxn>
                <a:cxn ang="0">
                  <a:pos x="122" y="8"/>
                </a:cxn>
                <a:cxn ang="0">
                  <a:pos x="136" y="20"/>
                </a:cxn>
                <a:cxn ang="0">
                  <a:pos x="144" y="36"/>
                </a:cxn>
                <a:cxn ang="0">
                  <a:pos x="149" y="51"/>
                </a:cxn>
                <a:cxn ang="0">
                  <a:pos x="153" y="70"/>
                </a:cxn>
                <a:cxn ang="0">
                  <a:pos x="153" y="90"/>
                </a:cxn>
                <a:cxn ang="0">
                  <a:pos x="158" y="94"/>
                </a:cxn>
                <a:cxn ang="0">
                  <a:pos x="163" y="104"/>
                </a:cxn>
                <a:cxn ang="0">
                  <a:pos x="163" y="117"/>
                </a:cxn>
                <a:cxn ang="0">
                  <a:pos x="160" y="123"/>
                </a:cxn>
                <a:cxn ang="0">
                  <a:pos x="158" y="128"/>
                </a:cxn>
                <a:cxn ang="0">
                  <a:pos x="153" y="129"/>
                </a:cxn>
                <a:cxn ang="0">
                  <a:pos x="149" y="131"/>
                </a:cxn>
                <a:cxn ang="0">
                  <a:pos x="148" y="131"/>
                </a:cxn>
                <a:cxn ang="0">
                  <a:pos x="141" y="152"/>
                </a:cxn>
                <a:cxn ang="0">
                  <a:pos x="134" y="170"/>
                </a:cxn>
                <a:cxn ang="0">
                  <a:pos x="124" y="187"/>
                </a:cxn>
                <a:cxn ang="0">
                  <a:pos x="112" y="201"/>
                </a:cxn>
                <a:cxn ang="0">
                  <a:pos x="98" y="211"/>
                </a:cxn>
                <a:cxn ang="0">
                  <a:pos x="81" y="215"/>
                </a:cxn>
                <a:cxn ang="0">
                  <a:pos x="63" y="210"/>
                </a:cxn>
                <a:cxn ang="0">
                  <a:pos x="46" y="196"/>
                </a:cxn>
                <a:cxn ang="0">
                  <a:pos x="34" y="177"/>
                </a:cxn>
                <a:cxn ang="0">
                  <a:pos x="22" y="155"/>
                </a:cxn>
                <a:cxn ang="0">
                  <a:pos x="15" y="131"/>
                </a:cxn>
                <a:cxn ang="0">
                  <a:pos x="13" y="131"/>
                </a:cxn>
                <a:cxn ang="0">
                  <a:pos x="10" y="129"/>
                </a:cxn>
                <a:cxn ang="0">
                  <a:pos x="5" y="128"/>
                </a:cxn>
                <a:cxn ang="0">
                  <a:pos x="3" y="123"/>
                </a:cxn>
                <a:cxn ang="0">
                  <a:pos x="0" y="117"/>
                </a:cxn>
                <a:cxn ang="0">
                  <a:pos x="0" y="104"/>
                </a:cxn>
                <a:cxn ang="0">
                  <a:pos x="1" y="99"/>
                </a:cxn>
                <a:cxn ang="0">
                  <a:pos x="5" y="94"/>
                </a:cxn>
                <a:cxn ang="0">
                  <a:pos x="10" y="90"/>
                </a:cxn>
                <a:cxn ang="0">
                  <a:pos x="10" y="87"/>
                </a:cxn>
                <a:cxn ang="0">
                  <a:pos x="12" y="70"/>
                </a:cxn>
                <a:cxn ang="0">
                  <a:pos x="13" y="51"/>
                </a:cxn>
                <a:cxn ang="0">
                  <a:pos x="20" y="36"/>
                </a:cxn>
                <a:cxn ang="0">
                  <a:pos x="29" y="22"/>
                </a:cxn>
                <a:cxn ang="0">
                  <a:pos x="42" y="10"/>
                </a:cxn>
                <a:cxn ang="0">
                  <a:pos x="59" y="3"/>
                </a:cxn>
                <a:cxn ang="0">
                  <a:pos x="81" y="0"/>
                </a:cxn>
              </a:cxnLst>
              <a:rect l="0" t="0" r="r" b="b"/>
              <a:pathLst>
                <a:path w="163" h="215">
                  <a:moveTo>
                    <a:pt x="81" y="0"/>
                  </a:moveTo>
                  <a:lnTo>
                    <a:pt x="105" y="2"/>
                  </a:lnTo>
                  <a:lnTo>
                    <a:pt x="122" y="8"/>
                  </a:lnTo>
                  <a:lnTo>
                    <a:pt x="136" y="20"/>
                  </a:lnTo>
                  <a:lnTo>
                    <a:pt x="144" y="36"/>
                  </a:lnTo>
                  <a:lnTo>
                    <a:pt x="149" y="51"/>
                  </a:lnTo>
                  <a:lnTo>
                    <a:pt x="153" y="70"/>
                  </a:lnTo>
                  <a:lnTo>
                    <a:pt x="153" y="90"/>
                  </a:lnTo>
                  <a:lnTo>
                    <a:pt x="158" y="94"/>
                  </a:lnTo>
                  <a:lnTo>
                    <a:pt x="163" y="104"/>
                  </a:lnTo>
                  <a:lnTo>
                    <a:pt x="163" y="117"/>
                  </a:lnTo>
                  <a:lnTo>
                    <a:pt x="160" y="123"/>
                  </a:lnTo>
                  <a:lnTo>
                    <a:pt x="158" y="128"/>
                  </a:lnTo>
                  <a:lnTo>
                    <a:pt x="153" y="129"/>
                  </a:lnTo>
                  <a:lnTo>
                    <a:pt x="149" y="131"/>
                  </a:lnTo>
                  <a:lnTo>
                    <a:pt x="148" y="131"/>
                  </a:lnTo>
                  <a:lnTo>
                    <a:pt x="141" y="152"/>
                  </a:lnTo>
                  <a:lnTo>
                    <a:pt x="134" y="170"/>
                  </a:lnTo>
                  <a:lnTo>
                    <a:pt x="124" y="187"/>
                  </a:lnTo>
                  <a:lnTo>
                    <a:pt x="112" y="201"/>
                  </a:lnTo>
                  <a:lnTo>
                    <a:pt x="98" y="211"/>
                  </a:lnTo>
                  <a:lnTo>
                    <a:pt x="81" y="215"/>
                  </a:lnTo>
                  <a:lnTo>
                    <a:pt x="63" y="210"/>
                  </a:lnTo>
                  <a:lnTo>
                    <a:pt x="46" y="196"/>
                  </a:lnTo>
                  <a:lnTo>
                    <a:pt x="34" y="177"/>
                  </a:lnTo>
                  <a:lnTo>
                    <a:pt x="22" y="155"/>
                  </a:lnTo>
                  <a:lnTo>
                    <a:pt x="15" y="131"/>
                  </a:lnTo>
                  <a:lnTo>
                    <a:pt x="13" y="131"/>
                  </a:lnTo>
                  <a:lnTo>
                    <a:pt x="10" y="129"/>
                  </a:lnTo>
                  <a:lnTo>
                    <a:pt x="5" y="128"/>
                  </a:lnTo>
                  <a:lnTo>
                    <a:pt x="3" y="123"/>
                  </a:lnTo>
                  <a:lnTo>
                    <a:pt x="0" y="117"/>
                  </a:lnTo>
                  <a:lnTo>
                    <a:pt x="0" y="104"/>
                  </a:lnTo>
                  <a:lnTo>
                    <a:pt x="1" y="99"/>
                  </a:lnTo>
                  <a:lnTo>
                    <a:pt x="5" y="94"/>
                  </a:lnTo>
                  <a:lnTo>
                    <a:pt x="10" y="90"/>
                  </a:lnTo>
                  <a:lnTo>
                    <a:pt x="10" y="87"/>
                  </a:lnTo>
                  <a:lnTo>
                    <a:pt x="12" y="70"/>
                  </a:lnTo>
                  <a:lnTo>
                    <a:pt x="13" y="51"/>
                  </a:lnTo>
                  <a:lnTo>
                    <a:pt x="20" y="36"/>
                  </a:lnTo>
                  <a:lnTo>
                    <a:pt x="29" y="22"/>
                  </a:lnTo>
                  <a:lnTo>
                    <a:pt x="42" y="10"/>
                  </a:lnTo>
                  <a:lnTo>
                    <a:pt x="59" y="3"/>
                  </a:lnTo>
                  <a:lnTo>
                    <a:pt x="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Freeform 99"/>
            <p:cNvSpPr>
              <a:spLocks/>
            </p:cNvSpPr>
            <p:nvPr/>
          </p:nvSpPr>
          <p:spPr bwMode="auto">
            <a:xfrm>
              <a:off x="2722563" y="2382838"/>
              <a:ext cx="396875" cy="269875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65" y="104"/>
                </a:cxn>
                <a:cxn ang="0">
                  <a:pos x="70" y="34"/>
                </a:cxn>
                <a:cxn ang="0">
                  <a:pos x="58" y="29"/>
                </a:cxn>
                <a:cxn ang="0">
                  <a:pos x="58" y="20"/>
                </a:cxn>
                <a:cxn ang="0">
                  <a:pos x="104" y="20"/>
                </a:cxn>
                <a:cxn ang="0">
                  <a:pos x="104" y="31"/>
                </a:cxn>
                <a:cxn ang="0">
                  <a:pos x="90" y="34"/>
                </a:cxn>
                <a:cxn ang="0">
                  <a:pos x="93" y="104"/>
                </a:cxn>
                <a:cxn ang="0">
                  <a:pos x="139" y="0"/>
                </a:cxn>
                <a:cxn ang="0">
                  <a:pos x="139" y="2"/>
                </a:cxn>
                <a:cxn ang="0">
                  <a:pos x="143" y="8"/>
                </a:cxn>
                <a:cxn ang="0">
                  <a:pos x="150" y="17"/>
                </a:cxn>
                <a:cxn ang="0">
                  <a:pos x="162" y="27"/>
                </a:cxn>
                <a:cxn ang="0">
                  <a:pos x="179" y="36"/>
                </a:cxn>
                <a:cxn ang="0">
                  <a:pos x="202" y="43"/>
                </a:cxn>
                <a:cxn ang="0">
                  <a:pos x="219" y="49"/>
                </a:cxn>
                <a:cxn ang="0">
                  <a:pos x="233" y="61"/>
                </a:cxn>
                <a:cxn ang="0">
                  <a:pos x="241" y="77"/>
                </a:cxn>
                <a:cxn ang="0">
                  <a:pos x="247" y="94"/>
                </a:cxn>
                <a:cxn ang="0">
                  <a:pos x="250" y="109"/>
                </a:cxn>
                <a:cxn ang="0">
                  <a:pos x="250" y="170"/>
                </a:cxn>
                <a:cxn ang="0">
                  <a:pos x="20" y="170"/>
                </a:cxn>
                <a:cxn ang="0">
                  <a:pos x="22" y="131"/>
                </a:cxn>
                <a:cxn ang="0">
                  <a:pos x="20" y="97"/>
                </a:cxn>
                <a:cxn ang="0">
                  <a:pos x="15" y="68"/>
                </a:cxn>
                <a:cxn ang="0">
                  <a:pos x="8" y="44"/>
                </a:cxn>
                <a:cxn ang="0">
                  <a:pos x="0" y="26"/>
                </a:cxn>
                <a:cxn ang="0">
                  <a:pos x="7" y="20"/>
                </a:cxn>
                <a:cxn ang="0">
                  <a:pos x="12" y="15"/>
                </a:cxn>
                <a:cxn ang="0">
                  <a:pos x="15" y="10"/>
                </a:cxn>
                <a:cxn ang="0">
                  <a:pos x="19" y="7"/>
                </a:cxn>
                <a:cxn ang="0">
                  <a:pos x="22" y="0"/>
                </a:cxn>
              </a:cxnLst>
              <a:rect l="0" t="0" r="r" b="b"/>
              <a:pathLst>
                <a:path w="250" h="170">
                  <a:moveTo>
                    <a:pt x="22" y="0"/>
                  </a:moveTo>
                  <a:lnTo>
                    <a:pt x="65" y="104"/>
                  </a:lnTo>
                  <a:lnTo>
                    <a:pt x="70" y="34"/>
                  </a:lnTo>
                  <a:lnTo>
                    <a:pt x="58" y="29"/>
                  </a:lnTo>
                  <a:lnTo>
                    <a:pt x="58" y="20"/>
                  </a:lnTo>
                  <a:lnTo>
                    <a:pt x="104" y="20"/>
                  </a:lnTo>
                  <a:lnTo>
                    <a:pt x="104" y="31"/>
                  </a:lnTo>
                  <a:lnTo>
                    <a:pt x="90" y="34"/>
                  </a:lnTo>
                  <a:lnTo>
                    <a:pt x="93" y="104"/>
                  </a:lnTo>
                  <a:lnTo>
                    <a:pt x="139" y="0"/>
                  </a:lnTo>
                  <a:lnTo>
                    <a:pt x="139" y="2"/>
                  </a:lnTo>
                  <a:lnTo>
                    <a:pt x="143" y="8"/>
                  </a:lnTo>
                  <a:lnTo>
                    <a:pt x="150" y="17"/>
                  </a:lnTo>
                  <a:lnTo>
                    <a:pt x="162" y="27"/>
                  </a:lnTo>
                  <a:lnTo>
                    <a:pt x="179" y="36"/>
                  </a:lnTo>
                  <a:lnTo>
                    <a:pt x="202" y="43"/>
                  </a:lnTo>
                  <a:lnTo>
                    <a:pt x="219" y="49"/>
                  </a:lnTo>
                  <a:lnTo>
                    <a:pt x="233" y="61"/>
                  </a:lnTo>
                  <a:lnTo>
                    <a:pt x="241" y="77"/>
                  </a:lnTo>
                  <a:lnTo>
                    <a:pt x="247" y="94"/>
                  </a:lnTo>
                  <a:lnTo>
                    <a:pt x="250" y="109"/>
                  </a:lnTo>
                  <a:lnTo>
                    <a:pt x="250" y="170"/>
                  </a:lnTo>
                  <a:lnTo>
                    <a:pt x="20" y="170"/>
                  </a:lnTo>
                  <a:lnTo>
                    <a:pt x="22" y="131"/>
                  </a:lnTo>
                  <a:lnTo>
                    <a:pt x="20" y="97"/>
                  </a:lnTo>
                  <a:lnTo>
                    <a:pt x="15" y="68"/>
                  </a:lnTo>
                  <a:lnTo>
                    <a:pt x="8" y="44"/>
                  </a:lnTo>
                  <a:lnTo>
                    <a:pt x="0" y="26"/>
                  </a:lnTo>
                  <a:lnTo>
                    <a:pt x="7" y="20"/>
                  </a:lnTo>
                  <a:lnTo>
                    <a:pt x="12" y="15"/>
                  </a:lnTo>
                  <a:lnTo>
                    <a:pt x="15" y="10"/>
                  </a:lnTo>
                  <a:lnTo>
                    <a:pt x="19" y="7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Freeform 100"/>
            <p:cNvSpPr>
              <a:spLocks/>
            </p:cNvSpPr>
            <p:nvPr/>
          </p:nvSpPr>
          <p:spPr bwMode="auto">
            <a:xfrm>
              <a:off x="2722563" y="2044700"/>
              <a:ext cx="258762" cy="341313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105" y="2"/>
                </a:cxn>
                <a:cxn ang="0">
                  <a:pos x="122" y="8"/>
                </a:cxn>
                <a:cxn ang="0">
                  <a:pos x="136" y="20"/>
                </a:cxn>
                <a:cxn ang="0">
                  <a:pos x="144" y="36"/>
                </a:cxn>
                <a:cxn ang="0">
                  <a:pos x="150" y="51"/>
                </a:cxn>
                <a:cxn ang="0">
                  <a:pos x="153" y="70"/>
                </a:cxn>
                <a:cxn ang="0">
                  <a:pos x="153" y="90"/>
                </a:cxn>
                <a:cxn ang="0">
                  <a:pos x="158" y="94"/>
                </a:cxn>
                <a:cxn ang="0">
                  <a:pos x="163" y="104"/>
                </a:cxn>
                <a:cxn ang="0">
                  <a:pos x="163" y="117"/>
                </a:cxn>
                <a:cxn ang="0">
                  <a:pos x="162" y="123"/>
                </a:cxn>
                <a:cxn ang="0">
                  <a:pos x="158" y="128"/>
                </a:cxn>
                <a:cxn ang="0">
                  <a:pos x="155" y="129"/>
                </a:cxn>
                <a:cxn ang="0">
                  <a:pos x="150" y="131"/>
                </a:cxn>
                <a:cxn ang="0">
                  <a:pos x="148" y="131"/>
                </a:cxn>
                <a:cxn ang="0">
                  <a:pos x="141" y="152"/>
                </a:cxn>
                <a:cxn ang="0">
                  <a:pos x="134" y="170"/>
                </a:cxn>
                <a:cxn ang="0">
                  <a:pos x="124" y="187"/>
                </a:cxn>
                <a:cxn ang="0">
                  <a:pos x="112" y="201"/>
                </a:cxn>
                <a:cxn ang="0">
                  <a:pos x="99" y="211"/>
                </a:cxn>
                <a:cxn ang="0">
                  <a:pos x="82" y="215"/>
                </a:cxn>
                <a:cxn ang="0">
                  <a:pos x="63" y="210"/>
                </a:cxn>
                <a:cxn ang="0">
                  <a:pos x="46" y="196"/>
                </a:cxn>
                <a:cxn ang="0">
                  <a:pos x="34" y="177"/>
                </a:cxn>
                <a:cxn ang="0">
                  <a:pos x="22" y="155"/>
                </a:cxn>
                <a:cxn ang="0">
                  <a:pos x="15" y="131"/>
                </a:cxn>
                <a:cxn ang="0">
                  <a:pos x="10" y="129"/>
                </a:cxn>
                <a:cxn ang="0">
                  <a:pos x="7" y="128"/>
                </a:cxn>
                <a:cxn ang="0">
                  <a:pos x="0" y="117"/>
                </a:cxn>
                <a:cxn ang="0">
                  <a:pos x="0" y="111"/>
                </a:cxn>
                <a:cxn ang="0">
                  <a:pos x="2" y="104"/>
                </a:cxn>
                <a:cxn ang="0">
                  <a:pos x="3" y="99"/>
                </a:cxn>
                <a:cxn ang="0">
                  <a:pos x="7" y="94"/>
                </a:cxn>
                <a:cxn ang="0">
                  <a:pos x="10" y="90"/>
                </a:cxn>
                <a:cxn ang="0">
                  <a:pos x="10" y="87"/>
                </a:cxn>
                <a:cxn ang="0">
                  <a:pos x="12" y="70"/>
                </a:cxn>
                <a:cxn ang="0">
                  <a:pos x="13" y="51"/>
                </a:cxn>
                <a:cxn ang="0">
                  <a:pos x="20" y="36"/>
                </a:cxn>
                <a:cxn ang="0">
                  <a:pos x="29" y="22"/>
                </a:cxn>
                <a:cxn ang="0">
                  <a:pos x="42" y="10"/>
                </a:cxn>
                <a:cxn ang="0">
                  <a:pos x="59" y="3"/>
                </a:cxn>
                <a:cxn ang="0">
                  <a:pos x="82" y="0"/>
                </a:cxn>
              </a:cxnLst>
              <a:rect l="0" t="0" r="r" b="b"/>
              <a:pathLst>
                <a:path w="163" h="215">
                  <a:moveTo>
                    <a:pt x="82" y="0"/>
                  </a:moveTo>
                  <a:lnTo>
                    <a:pt x="105" y="2"/>
                  </a:lnTo>
                  <a:lnTo>
                    <a:pt x="122" y="8"/>
                  </a:lnTo>
                  <a:lnTo>
                    <a:pt x="136" y="20"/>
                  </a:lnTo>
                  <a:lnTo>
                    <a:pt x="144" y="36"/>
                  </a:lnTo>
                  <a:lnTo>
                    <a:pt x="150" y="51"/>
                  </a:lnTo>
                  <a:lnTo>
                    <a:pt x="153" y="70"/>
                  </a:lnTo>
                  <a:lnTo>
                    <a:pt x="153" y="90"/>
                  </a:lnTo>
                  <a:lnTo>
                    <a:pt x="158" y="94"/>
                  </a:lnTo>
                  <a:lnTo>
                    <a:pt x="163" y="104"/>
                  </a:lnTo>
                  <a:lnTo>
                    <a:pt x="163" y="117"/>
                  </a:lnTo>
                  <a:lnTo>
                    <a:pt x="162" y="123"/>
                  </a:lnTo>
                  <a:lnTo>
                    <a:pt x="158" y="128"/>
                  </a:lnTo>
                  <a:lnTo>
                    <a:pt x="155" y="129"/>
                  </a:lnTo>
                  <a:lnTo>
                    <a:pt x="150" y="131"/>
                  </a:lnTo>
                  <a:lnTo>
                    <a:pt x="148" y="131"/>
                  </a:lnTo>
                  <a:lnTo>
                    <a:pt x="141" y="152"/>
                  </a:lnTo>
                  <a:lnTo>
                    <a:pt x="134" y="170"/>
                  </a:lnTo>
                  <a:lnTo>
                    <a:pt x="124" y="187"/>
                  </a:lnTo>
                  <a:lnTo>
                    <a:pt x="112" y="201"/>
                  </a:lnTo>
                  <a:lnTo>
                    <a:pt x="99" y="211"/>
                  </a:lnTo>
                  <a:lnTo>
                    <a:pt x="82" y="215"/>
                  </a:lnTo>
                  <a:lnTo>
                    <a:pt x="63" y="210"/>
                  </a:lnTo>
                  <a:lnTo>
                    <a:pt x="46" y="196"/>
                  </a:lnTo>
                  <a:lnTo>
                    <a:pt x="34" y="177"/>
                  </a:lnTo>
                  <a:lnTo>
                    <a:pt x="22" y="155"/>
                  </a:lnTo>
                  <a:lnTo>
                    <a:pt x="15" y="131"/>
                  </a:lnTo>
                  <a:lnTo>
                    <a:pt x="10" y="129"/>
                  </a:lnTo>
                  <a:lnTo>
                    <a:pt x="7" y="128"/>
                  </a:lnTo>
                  <a:lnTo>
                    <a:pt x="0" y="117"/>
                  </a:lnTo>
                  <a:lnTo>
                    <a:pt x="0" y="111"/>
                  </a:lnTo>
                  <a:lnTo>
                    <a:pt x="2" y="104"/>
                  </a:lnTo>
                  <a:lnTo>
                    <a:pt x="3" y="99"/>
                  </a:lnTo>
                  <a:lnTo>
                    <a:pt x="7" y="94"/>
                  </a:lnTo>
                  <a:lnTo>
                    <a:pt x="10" y="90"/>
                  </a:lnTo>
                  <a:lnTo>
                    <a:pt x="10" y="87"/>
                  </a:lnTo>
                  <a:lnTo>
                    <a:pt x="12" y="70"/>
                  </a:lnTo>
                  <a:lnTo>
                    <a:pt x="13" y="51"/>
                  </a:lnTo>
                  <a:lnTo>
                    <a:pt x="20" y="36"/>
                  </a:lnTo>
                  <a:lnTo>
                    <a:pt x="29" y="22"/>
                  </a:lnTo>
                  <a:lnTo>
                    <a:pt x="42" y="10"/>
                  </a:lnTo>
                  <a:lnTo>
                    <a:pt x="59" y="3"/>
                  </a:lnTo>
                  <a:lnTo>
                    <a:pt x="8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30" name="Picture 4" descr="Image result for jupyter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9059" y="1325835"/>
            <a:ext cx="698741" cy="733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Group 30"/>
          <p:cNvGrpSpPr/>
          <p:nvPr/>
        </p:nvGrpSpPr>
        <p:grpSpPr>
          <a:xfrm>
            <a:off x="1960334" y="2314567"/>
            <a:ext cx="478067" cy="466693"/>
            <a:chOff x="7161213" y="1554163"/>
            <a:chExt cx="504825" cy="650875"/>
          </a:xfrm>
          <a:solidFill>
            <a:schemeClr val="accent1"/>
          </a:solidFill>
        </p:grpSpPr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7435850" y="1831975"/>
              <a:ext cx="25400" cy="25400"/>
            </a:xfrm>
            <a:custGeom>
              <a:avLst/>
              <a:gdLst>
                <a:gd name="T0" fmla="*/ 9 w 16"/>
                <a:gd name="T1" fmla="*/ 0 h 16"/>
                <a:gd name="T2" fmla="*/ 12 w 16"/>
                <a:gd name="T3" fmla="*/ 0 h 16"/>
                <a:gd name="T4" fmla="*/ 16 w 16"/>
                <a:gd name="T5" fmla="*/ 4 h 16"/>
                <a:gd name="T6" fmla="*/ 16 w 16"/>
                <a:gd name="T7" fmla="*/ 7 h 16"/>
                <a:gd name="T8" fmla="*/ 16 w 16"/>
                <a:gd name="T9" fmla="*/ 13 h 16"/>
                <a:gd name="T10" fmla="*/ 12 w 16"/>
                <a:gd name="T11" fmla="*/ 16 h 16"/>
                <a:gd name="T12" fmla="*/ 9 w 16"/>
                <a:gd name="T13" fmla="*/ 16 h 16"/>
                <a:gd name="T14" fmla="*/ 4 w 16"/>
                <a:gd name="T15" fmla="*/ 16 h 16"/>
                <a:gd name="T16" fmla="*/ 0 w 16"/>
                <a:gd name="T17" fmla="*/ 13 h 16"/>
                <a:gd name="T18" fmla="*/ 0 w 16"/>
                <a:gd name="T19" fmla="*/ 7 h 16"/>
                <a:gd name="T20" fmla="*/ 0 w 16"/>
                <a:gd name="T21" fmla="*/ 4 h 16"/>
                <a:gd name="T22" fmla="*/ 4 w 16"/>
                <a:gd name="T23" fmla="*/ 0 h 16"/>
                <a:gd name="T24" fmla="*/ 9 w 16"/>
                <a:gd name="T2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6">
                  <a:moveTo>
                    <a:pt x="9" y="0"/>
                  </a:moveTo>
                  <a:lnTo>
                    <a:pt x="12" y="0"/>
                  </a:lnTo>
                  <a:lnTo>
                    <a:pt x="16" y="4"/>
                  </a:lnTo>
                  <a:lnTo>
                    <a:pt x="16" y="7"/>
                  </a:lnTo>
                  <a:lnTo>
                    <a:pt x="16" y="13"/>
                  </a:lnTo>
                  <a:lnTo>
                    <a:pt x="12" y="16"/>
                  </a:lnTo>
                  <a:lnTo>
                    <a:pt x="9" y="16"/>
                  </a:lnTo>
                  <a:lnTo>
                    <a:pt x="4" y="16"/>
                  </a:lnTo>
                  <a:lnTo>
                    <a:pt x="0" y="13"/>
                  </a:lnTo>
                  <a:lnTo>
                    <a:pt x="0" y="7"/>
                  </a:lnTo>
                  <a:lnTo>
                    <a:pt x="0" y="4"/>
                  </a:lnTo>
                  <a:lnTo>
                    <a:pt x="4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7505700" y="1733550"/>
              <a:ext cx="36512" cy="34925"/>
            </a:xfrm>
            <a:custGeom>
              <a:avLst/>
              <a:gdLst>
                <a:gd name="T0" fmla="*/ 13 w 23"/>
                <a:gd name="T1" fmla="*/ 0 h 22"/>
                <a:gd name="T2" fmla="*/ 16 w 23"/>
                <a:gd name="T3" fmla="*/ 0 h 22"/>
                <a:gd name="T4" fmla="*/ 20 w 23"/>
                <a:gd name="T5" fmla="*/ 4 h 22"/>
                <a:gd name="T6" fmla="*/ 21 w 23"/>
                <a:gd name="T7" fmla="*/ 8 h 22"/>
                <a:gd name="T8" fmla="*/ 23 w 23"/>
                <a:gd name="T9" fmla="*/ 11 h 22"/>
                <a:gd name="T10" fmla="*/ 21 w 23"/>
                <a:gd name="T11" fmla="*/ 16 h 22"/>
                <a:gd name="T12" fmla="*/ 20 w 23"/>
                <a:gd name="T13" fmla="*/ 20 h 22"/>
                <a:gd name="T14" fmla="*/ 16 w 23"/>
                <a:gd name="T15" fmla="*/ 22 h 22"/>
                <a:gd name="T16" fmla="*/ 13 w 23"/>
                <a:gd name="T17" fmla="*/ 22 h 22"/>
                <a:gd name="T18" fmla="*/ 7 w 23"/>
                <a:gd name="T19" fmla="*/ 22 h 22"/>
                <a:gd name="T20" fmla="*/ 4 w 23"/>
                <a:gd name="T21" fmla="*/ 20 h 22"/>
                <a:gd name="T22" fmla="*/ 2 w 23"/>
                <a:gd name="T23" fmla="*/ 16 h 22"/>
                <a:gd name="T24" fmla="*/ 0 w 23"/>
                <a:gd name="T25" fmla="*/ 11 h 22"/>
                <a:gd name="T26" fmla="*/ 2 w 23"/>
                <a:gd name="T27" fmla="*/ 8 h 22"/>
                <a:gd name="T28" fmla="*/ 4 w 23"/>
                <a:gd name="T29" fmla="*/ 4 h 22"/>
                <a:gd name="T30" fmla="*/ 7 w 23"/>
                <a:gd name="T31" fmla="*/ 0 h 22"/>
                <a:gd name="T32" fmla="*/ 13 w 23"/>
                <a:gd name="T3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22">
                  <a:moveTo>
                    <a:pt x="13" y="0"/>
                  </a:moveTo>
                  <a:lnTo>
                    <a:pt x="16" y="0"/>
                  </a:lnTo>
                  <a:lnTo>
                    <a:pt x="20" y="4"/>
                  </a:lnTo>
                  <a:lnTo>
                    <a:pt x="21" y="8"/>
                  </a:lnTo>
                  <a:lnTo>
                    <a:pt x="23" y="11"/>
                  </a:lnTo>
                  <a:lnTo>
                    <a:pt x="21" y="16"/>
                  </a:lnTo>
                  <a:lnTo>
                    <a:pt x="20" y="20"/>
                  </a:lnTo>
                  <a:lnTo>
                    <a:pt x="16" y="22"/>
                  </a:lnTo>
                  <a:lnTo>
                    <a:pt x="13" y="22"/>
                  </a:lnTo>
                  <a:lnTo>
                    <a:pt x="7" y="22"/>
                  </a:lnTo>
                  <a:lnTo>
                    <a:pt x="4" y="20"/>
                  </a:lnTo>
                  <a:lnTo>
                    <a:pt x="2" y="16"/>
                  </a:lnTo>
                  <a:lnTo>
                    <a:pt x="0" y="11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7348538" y="1706563"/>
              <a:ext cx="47625" cy="44450"/>
            </a:xfrm>
            <a:custGeom>
              <a:avLst/>
              <a:gdLst>
                <a:gd name="T0" fmla="*/ 14 w 30"/>
                <a:gd name="T1" fmla="*/ 0 h 28"/>
                <a:gd name="T2" fmla="*/ 20 w 30"/>
                <a:gd name="T3" fmla="*/ 0 h 28"/>
                <a:gd name="T4" fmla="*/ 25 w 30"/>
                <a:gd name="T5" fmla="*/ 3 h 28"/>
                <a:gd name="T6" fmla="*/ 29 w 30"/>
                <a:gd name="T7" fmla="*/ 9 h 28"/>
                <a:gd name="T8" fmla="*/ 30 w 30"/>
                <a:gd name="T9" fmla="*/ 14 h 28"/>
                <a:gd name="T10" fmla="*/ 29 w 30"/>
                <a:gd name="T11" fmla="*/ 19 h 28"/>
                <a:gd name="T12" fmla="*/ 25 w 30"/>
                <a:gd name="T13" fmla="*/ 25 h 28"/>
                <a:gd name="T14" fmla="*/ 20 w 30"/>
                <a:gd name="T15" fmla="*/ 28 h 28"/>
                <a:gd name="T16" fmla="*/ 14 w 30"/>
                <a:gd name="T17" fmla="*/ 28 h 28"/>
                <a:gd name="T18" fmla="*/ 9 w 30"/>
                <a:gd name="T19" fmla="*/ 28 h 28"/>
                <a:gd name="T20" fmla="*/ 4 w 30"/>
                <a:gd name="T21" fmla="*/ 25 h 28"/>
                <a:gd name="T22" fmla="*/ 0 w 30"/>
                <a:gd name="T23" fmla="*/ 19 h 28"/>
                <a:gd name="T24" fmla="*/ 0 w 30"/>
                <a:gd name="T25" fmla="*/ 14 h 28"/>
                <a:gd name="T26" fmla="*/ 0 w 30"/>
                <a:gd name="T27" fmla="*/ 9 h 28"/>
                <a:gd name="T28" fmla="*/ 4 w 30"/>
                <a:gd name="T29" fmla="*/ 3 h 28"/>
                <a:gd name="T30" fmla="*/ 9 w 30"/>
                <a:gd name="T31" fmla="*/ 0 h 28"/>
                <a:gd name="T32" fmla="*/ 14 w 30"/>
                <a:gd name="T3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28">
                  <a:moveTo>
                    <a:pt x="14" y="0"/>
                  </a:moveTo>
                  <a:lnTo>
                    <a:pt x="20" y="0"/>
                  </a:lnTo>
                  <a:lnTo>
                    <a:pt x="25" y="3"/>
                  </a:lnTo>
                  <a:lnTo>
                    <a:pt x="29" y="9"/>
                  </a:lnTo>
                  <a:lnTo>
                    <a:pt x="30" y="14"/>
                  </a:lnTo>
                  <a:lnTo>
                    <a:pt x="29" y="19"/>
                  </a:lnTo>
                  <a:lnTo>
                    <a:pt x="25" y="25"/>
                  </a:lnTo>
                  <a:lnTo>
                    <a:pt x="20" y="28"/>
                  </a:lnTo>
                  <a:lnTo>
                    <a:pt x="14" y="28"/>
                  </a:lnTo>
                  <a:lnTo>
                    <a:pt x="9" y="28"/>
                  </a:lnTo>
                  <a:lnTo>
                    <a:pt x="4" y="25"/>
                  </a:lnTo>
                  <a:lnTo>
                    <a:pt x="0" y="19"/>
                  </a:lnTo>
                  <a:lnTo>
                    <a:pt x="0" y="14"/>
                  </a:lnTo>
                  <a:lnTo>
                    <a:pt x="0" y="9"/>
                  </a:lnTo>
                  <a:lnTo>
                    <a:pt x="4" y="3"/>
                  </a:lnTo>
                  <a:lnTo>
                    <a:pt x="9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auto">
            <a:xfrm>
              <a:off x="7161213" y="1554163"/>
              <a:ext cx="504825" cy="650875"/>
            </a:xfrm>
            <a:custGeom>
              <a:avLst/>
              <a:gdLst>
                <a:gd name="T0" fmla="*/ 168 w 318"/>
                <a:gd name="T1" fmla="*/ 163 h 410"/>
                <a:gd name="T2" fmla="*/ 154 w 318"/>
                <a:gd name="T3" fmla="*/ 172 h 410"/>
                <a:gd name="T4" fmla="*/ 154 w 318"/>
                <a:gd name="T5" fmla="*/ 184 h 410"/>
                <a:gd name="T6" fmla="*/ 157 w 318"/>
                <a:gd name="T7" fmla="*/ 196 h 410"/>
                <a:gd name="T8" fmla="*/ 163 w 318"/>
                <a:gd name="T9" fmla="*/ 207 h 410"/>
                <a:gd name="T10" fmla="*/ 180 w 318"/>
                <a:gd name="T11" fmla="*/ 207 h 410"/>
                <a:gd name="T12" fmla="*/ 194 w 318"/>
                <a:gd name="T13" fmla="*/ 209 h 410"/>
                <a:gd name="T14" fmla="*/ 203 w 318"/>
                <a:gd name="T15" fmla="*/ 202 h 410"/>
                <a:gd name="T16" fmla="*/ 205 w 318"/>
                <a:gd name="T17" fmla="*/ 189 h 410"/>
                <a:gd name="T18" fmla="*/ 208 w 318"/>
                <a:gd name="T19" fmla="*/ 172 h 410"/>
                <a:gd name="T20" fmla="*/ 200 w 318"/>
                <a:gd name="T21" fmla="*/ 163 h 410"/>
                <a:gd name="T22" fmla="*/ 189 w 318"/>
                <a:gd name="T23" fmla="*/ 156 h 410"/>
                <a:gd name="T24" fmla="*/ 177 w 318"/>
                <a:gd name="T25" fmla="*/ 154 h 410"/>
                <a:gd name="T26" fmla="*/ 212 w 318"/>
                <a:gd name="T27" fmla="*/ 98 h 410"/>
                <a:gd name="T28" fmla="*/ 193 w 318"/>
                <a:gd name="T29" fmla="*/ 110 h 410"/>
                <a:gd name="T30" fmla="*/ 193 w 318"/>
                <a:gd name="T31" fmla="*/ 124 h 410"/>
                <a:gd name="T32" fmla="*/ 198 w 318"/>
                <a:gd name="T33" fmla="*/ 142 h 410"/>
                <a:gd name="T34" fmla="*/ 205 w 318"/>
                <a:gd name="T35" fmla="*/ 156 h 410"/>
                <a:gd name="T36" fmla="*/ 228 w 318"/>
                <a:gd name="T37" fmla="*/ 156 h 410"/>
                <a:gd name="T38" fmla="*/ 247 w 318"/>
                <a:gd name="T39" fmla="*/ 159 h 410"/>
                <a:gd name="T40" fmla="*/ 258 w 318"/>
                <a:gd name="T41" fmla="*/ 151 h 410"/>
                <a:gd name="T42" fmla="*/ 260 w 318"/>
                <a:gd name="T43" fmla="*/ 131 h 410"/>
                <a:gd name="T44" fmla="*/ 265 w 318"/>
                <a:gd name="T45" fmla="*/ 108 h 410"/>
                <a:gd name="T46" fmla="*/ 254 w 318"/>
                <a:gd name="T47" fmla="*/ 98 h 410"/>
                <a:gd name="T48" fmla="*/ 238 w 318"/>
                <a:gd name="T49" fmla="*/ 89 h 410"/>
                <a:gd name="T50" fmla="*/ 224 w 318"/>
                <a:gd name="T51" fmla="*/ 85 h 410"/>
                <a:gd name="T52" fmla="*/ 131 w 318"/>
                <a:gd name="T53" fmla="*/ 68 h 410"/>
                <a:gd name="T54" fmla="*/ 111 w 318"/>
                <a:gd name="T55" fmla="*/ 62 h 410"/>
                <a:gd name="T56" fmla="*/ 101 w 318"/>
                <a:gd name="T57" fmla="*/ 82 h 410"/>
                <a:gd name="T58" fmla="*/ 83 w 318"/>
                <a:gd name="T59" fmla="*/ 91 h 410"/>
                <a:gd name="T60" fmla="*/ 90 w 318"/>
                <a:gd name="T61" fmla="*/ 113 h 410"/>
                <a:gd name="T62" fmla="*/ 85 w 318"/>
                <a:gd name="T63" fmla="*/ 131 h 410"/>
                <a:gd name="T64" fmla="*/ 104 w 318"/>
                <a:gd name="T65" fmla="*/ 142 h 410"/>
                <a:gd name="T66" fmla="*/ 115 w 318"/>
                <a:gd name="T67" fmla="*/ 159 h 410"/>
                <a:gd name="T68" fmla="*/ 136 w 318"/>
                <a:gd name="T69" fmla="*/ 152 h 410"/>
                <a:gd name="T70" fmla="*/ 154 w 318"/>
                <a:gd name="T71" fmla="*/ 158 h 410"/>
                <a:gd name="T72" fmla="*/ 164 w 318"/>
                <a:gd name="T73" fmla="*/ 138 h 410"/>
                <a:gd name="T74" fmla="*/ 182 w 318"/>
                <a:gd name="T75" fmla="*/ 129 h 410"/>
                <a:gd name="T76" fmla="*/ 175 w 318"/>
                <a:gd name="T77" fmla="*/ 106 h 410"/>
                <a:gd name="T78" fmla="*/ 180 w 318"/>
                <a:gd name="T79" fmla="*/ 89 h 410"/>
                <a:gd name="T80" fmla="*/ 161 w 318"/>
                <a:gd name="T81" fmla="*/ 78 h 410"/>
                <a:gd name="T82" fmla="*/ 152 w 318"/>
                <a:gd name="T83" fmla="*/ 60 h 410"/>
                <a:gd name="T84" fmla="*/ 254 w 318"/>
                <a:gd name="T85" fmla="*/ 30 h 410"/>
                <a:gd name="T86" fmla="*/ 318 w 318"/>
                <a:gd name="T87" fmla="*/ 138 h 410"/>
                <a:gd name="T88" fmla="*/ 267 w 318"/>
                <a:gd name="T89" fmla="*/ 265 h 410"/>
                <a:gd name="T90" fmla="*/ 161 w 318"/>
                <a:gd name="T91" fmla="*/ 408 h 410"/>
                <a:gd name="T92" fmla="*/ 150 w 318"/>
                <a:gd name="T93" fmla="*/ 407 h 410"/>
                <a:gd name="T94" fmla="*/ 104 w 318"/>
                <a:gd name="T95" fmla="*/ 336 h 410"/>
                <a:gd name="T96" fmla="*/ 60 w 318"/>
                <a:gd name="T97" fmla="*/ 340 h 410"/>
                <a:gd name="T98" fmla="*/ 34 w 318"/>
                <a:gd name="T99" fmla="*/ 324 h 410"/>
                <a:gd name="T100" fmla="*/ 4 w 318"/>
                <a:gd name="T101" fmla="*/ 241 h 410"/>
                <a:gd name="T102" fmla="*/ 18 w 318"/>
                <a:gd name="T103" fmla="*/ 189 h 410"/>
                <a:gd name="T104" fmla="*/ 18 w 318"/>
                <a:gd name="T105" fmla="*/ 115 h 410"/>
                <a:gd name="T106" fmla="*/ 83 w 318"/>
                <a:gd name="T107" fmla="*/ 23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8" h="410">
                  <a:moveTo>
                    <a:pt x="177" y="154"/>
                  </a:moveTo>
                  <a:lnTo>
                    <a:pt x="170" y="156"/>
                  </a:lnTo>
                  <a:lnTo>
                    <a:pt x="168" y="158"/>
                  </a:lnTo>
                  <a:lnTo>
                    <a:pt x="168" y="159"/>
                  </a:lnTo>
                  <a:lnTo>
                    <a:pt x="168" y="163"/>
                  </a:lnTo>
                  <a:lnTo>
                    <a:pt x="164" y="166"/>
                  </a:lnTo>
                  <a:lnTo>
                    <a:pt x="161" y="165"/>
                  </a:lnTo>
                  <a:lnTo>
                    <a:pt x="159" y="163"/>
                  </a:lnTo>
                  <a:lnTo>
                    <a:pt x="157" y="165"/>
                  </a:lnTo>
                  <a:lnTo>
                    <a:pt x="154" y="172"/>
                  </a:lnTo>
                  <a:lnTo>
                    <a:pt x="154" y="174"/>
                  </a:lnTo>
                  <a:lnTo>
                    <a:pt x="154" y="175"/>
                  </a:lnTo>
                  <a:lnTo>
                    <a:pt x="157" y="177"/>
                  </a:lnTo>
                  <a:lnTo>
                    <a:pt x="157" y="182"/>
                  </a:lnTo>
                  <a:lnTo>
                    <a:pt x="154" y="184"/>
                  </a:lnTo>
                  <a:lnTo>
                    <a:pt x="152" y="184"/>
                  </a:lnTo>
                  <a:lnTo>
                    <a:pt x="152" y="186"/>
                  </a:lnTo>
                  <a:lnTo>
                    <a:pt x="154" y="195"/>
                  </a:lnTo>
                  <a:lnTo>
                    <a:pt x="155" y="196"/>
                  </a:lnTo>
                  <a:lnTo>
                    <a:pt x="157" y="196"/>
                  </a:lnTo>
                  <a:lnTo>
                    <a:pt x="161" y="195"/>
                  </a:lnTo>
                  <a:lnTo>
                    <a:pt x="164" y="200"/>
                  </a:lnTo>
                  <a:lnTo>
                    <a:pt x="163" y="204"/>
                  </a:lnTo>
                  <a:lnTo>
                    <a:pt x="161" y="205"/>
                  </a:lnTo>
                  <a:lnTo>
                    <a:pt x="163" y="207"/>
                  </a:lnTo>
                  <a:lnTo>
                    <a:pt x="170" y="211"/>
                  </a:lnTo>
                  <a:lnTo>
                    <a:pt x="171" y="211"/>
                  </a:lnTo>
                  <a:lnTo>
                    <a:pt x="173" y="209"/>
                  </a:lnTo>
                  <a:lnTo>
                    <a:pt x="175" y="207"/>
                  </a:lnTo>
                  <a:lnTo>
                    <a:pt x="180" y="207"/>
                  </a:lnTo>
                  <a:lnTo>
                    <a:pt x="182" y="211"/>
                  </a:lnTo>
                  <a:lnTo>
                    <a:pt x="182" y="212"/>
                  </a:lnTo>
                  <a:lnTo>
                    <a:pt x="185" y="212"/>
                  </a:lnTo>
                  <a:lnTo>
                    <a:pt x="193" y="211"/>
                  </a:lnTo>
                  <a:lnTo>
                    <a:pt x="194" y="209"/>
                  </a:lnTo>
                  <a:lnTo>
                    <a:pt x="194" y="207"/>
                  </a:lnTo>
                  <a:lnTo>
                    <a:pt x="194" y="204"/>
                  </a:lnTo>
                  <a:lnTo>
                    <a:pt x="198" y="200"/>
                  </a:lnTo>
                  <a:lnTo>
                    <a:pt x="201" y="202"/>
                  </a:lnTo>
                  <a:lnTo>
                    <a:pt x="203" y="202"/>
                  </a:lnTo>
                  <a:lnTo>
                    <a:pt x="205" y="202"/>
                  </a:lnTo>
                  <a:lnTo>
                    <a:pt x="208" y="195"/>
                  </a:lnTo>
                  <a:lnTo>
                    <a:pt x="208" y="193"/>
                  </a:lnTo>
                  <a:lnTo>
                    <a:pt x="208" y="191"/>
                  </a:lnTo>
                  <a:lnTo>
                    <a:pt x="205" y="189"/>
                  </a:lnTo>
                  <a:lnTo>
                    <a:pt x="205" y="184"/>
                  </a:lnTo>
                  <a:lnTo>
                    <a:pt x="208" y="182"/>
                  </a:lnTo>
                  <a:lnTo>
                    <a:pt x="210" y="182"/>
                  </a:lnTo>
                  <a:lnTo>
                    <a:pt x="210" y="179"/>
                  </a:lnTo>
                  <a:lnTo>
                    <a:pt x="208" y="172"/>
                  </a:lnTo>
                  <a:lnTo>
                    <a:pt x="207" y="170"/>
                  </a:lnTo>
                  <a:lnTo>
                    <a:pt x="205" y="170"/>
                  </a:lnTo>
                  <a:lnTo>
                    <a:pt x="201" y="170"/>
                  </a:lnTo>
                  <a:lnTo>
                    <a:pt x="198" y="166"/>
                  </a:lnTo>
                  <a:lnTo>
                    <a:pt x="200" y="163"/>
                  </a:lnTo>
                  <a:lnTo>
                    <a:pt x="201" y="161"/>
                  </a:lnTo>
                  <a:lnTo>
                    <a:pt x="200" y="159"/>
                  </a:lnTo>
                  <a:lnTo>
                    <a:pt x="193" y="156"/>
                  </a:lnTo>
                  <a:lnTo>
                    <a:pt x="191" y="156"/>
                  </a:lnTo>
                  <a:lnTo>
                    <a:pt x="189" y="156"/>
                  </a:lnTo>
                  <a:lnTo>
                    <a:pt x="187" y="159"/>
                  </a:lnTo>
                  <a:lnTo>
                    <a:pt x="182" y="159"/>
                  </a:lnTo>
                  <a:lnTo>
                    <a:pt x="180" y="156"/>
                  </a:lnTo>
                  <a:lnTo>
                    <a:pt x="180" y="154"/>
                  </a:lnTo>
                  <a:lnTo>
                    <a:pt x="177" y="154"/>
                  </a:lnTo>
                  <a:close/>
                  <a:moveTo>
                    <a:pt x="224" y="85"/>
                  </a:moveTo>
                  <a:lnTo>
                    <a:pt x="214" y="89"/>
                  </a:lnTo>
                  <a:lnTo>
                    <a:pt x="212" y="91"/>
                  </a:lnTo>
                  <a:lnTo>
                    <a:pt x="212" y="92"/>
                  </a:lnTo>
                  <a:lnTo>
                    <a:pt x="212" y="98"/>
                  </a:lnTo>
                  <a:lnTo>
                    <a:pt x="207" y="101"/>
                  </a:lnTo>
                  <a:lnTo>
                    <a:pt x="203" y="99"/>
                  </a:lnTo>
                  <a:lnTo>
                    <a:pt x="200" y="99"/>
                  </a:lnTo>
                  <a:lnTo>
                    <a:pt x="198" y="99"/>
                  </a:lnTo>
                  <a:lnTo>
                    <a:pt x="193" y="110"/>
                  </a:lnTo>
                  <a:lnTo>
                    <a:pt x="193" y="112"/>
                  </a:lnTo>
                  <a:lnTo>
                    <a:pt x="194" y="115"/>
                  </a:lnTo>
                  <a:lnTo>
                    <a:pt x="198" y="117"/>
                  </a:lnTo>
                  <a:lnTo>
                    <a:pt x="198" y="124"/>
                  </a:lnTo>
                  <a:lnTo>
                    <a:pt x="193" y="124"/>
                  </a:lnTo>
                  <a:lnTo>
                    <a:pt x="191" y="126"/>
                  </a:lnTo>
                  <a:lnTo>
                    <a:pt x="191" y="129"/>
                  </a:lnTo>
                  <a:lnTo>
                    <a:pt x="193" y="140"/>
                  </a:lnTo>
                  <a:lnTo>
                    <a:pt x="194" y="142"/>
                  </a:lnTo>
                  <a:lnTo>
                    <a:pt x="198" y="142"/>
                  </a:lnTo>
                  <a:lnTo>
                    <a:pt x="201" y="140"/>
                  </a:lnTo>
                  <a:lnTo>
                    <a:pt x="207" y="145"/>
                  </a:lnTo>
                  <a:lnTo>
                    <a:pt x="203" y="151"/>
                  </a:lnTo>
                  <a:lnTo>
                    <a:pt x="203" y="152"/>
                  </a:lnTo>
                  <a:lnTo>
                    <a:pt x="205" y="156"/>
                  </a:lnTo>
                  <a:lnTo>
                    <a:pt x="214" y="161"/>
                  </a:lnTo>
                  <a:lnTo>
                    <a:pt x="217" y="161"/>
                  </a:lnTo>
                  <a:lnTo>
                    <a:pt x="219" y="159"/>
                  </a:lnTo>
                  <a:lnTo>
                    <a:pt x="223" y="154"/>
                  </a:lnTo>
                  <a:lnTo>
                    <a:pt x="228" y="156"/>
                  </a:lnTo>
                  <a:lnTo>
                    <a:pt x="230" y="161"/>
                  </a:lnTo>
                  <a:lnTo>
                    <a:pt x="231" y="163"/>
                  </a:lnTo>
                  <a:lnTo>
                    <a:pt x="233" y="163"/>
                  </a:lnTo>
                  <a:lnTo>
                    <a:pt x="244" y="161"/>
                  </a:lnTo>
                  <a:lnTo>
                    <a:pt x="247" y="159"/>
                  </a:lnTo>
                  <a:lnTo>
                    <a:pt x="247" y="156"/>
                  </a:lnTo>
                  <a:lnTo>
                    <a:pt x="245" y="151"/>
                  </a:lnTo>
                  <a:lnTo>
                    <a:pt x="251" y="147"/>
                  </a:lnTo>
                  <a:lnTo>
                    <a:pt x="254" y="151"/>
                  </a:lnTo>
                  <a:lnTo>
                    <a:pt x="258" y="151"/>
                  </a:lnTo>
                  <a:lnTo>
                    <a:pt x="260" y="149"/>
                  </a:lnTo>
                  <a:lnTo>
                    <a:pt x="265" y="138"/>
                  </a:lnTo>
                  <a:lnTo>
                    <a:pt x="265" y="136"/>
                  </a:lnTo>
                  <a:lnTo>
                    <a:pt x="265" y="135"/>
                  </a:lnTo>
                  <a:lnTo>
                    <a:pt x="260" y="131"/>
                  </a:lnTo>
                  <a:lnTo>
                    <a:pt x="260" y="126"/>
                  </a:lnTo>
                  <a:lnTo>
                    <a:pt x="265" y="124"/>
                  </a:lnTo>
                  <a:lnTo>
                    <a:pt x="267" y="122"/>
                  </a:lnTo>
                  <a:lnTo>
                    <a:pt x="268" y="119"/>
                  </a:lnTo>
                  <a:lnTo>
                    <a:pt x="265" y="108"/>
                  </a:lnTo>
                  <a:lnTo>
                    <a:pt x="263" y="106"/>
                  </a:lnTo>
                  <a:lnTo>
                    <a:pt x="261" y="106"/>
                  </a:lnTo>
                  <a:lnTo>
                    <a:pt x="256" y="108"/>
                  </a:lnTo>
                  <a:lnTo>
                    <a:pt x="253" y="103"/>
                  </a:lnTo>
                  <a:lnTo>
                    <a:pt x="254" y="98"/>
                  </a:lnTo>
                  <a:lnTo>
                    <a:pt x="254" y="96"/>
                  </a:lnTo>
                  <a:lnTo>
                    <a:pt x="253" y="94"/>
                  </a:lnTo>
                  <a:lnTo>
                    <a:pt x="244" y="89"/>
                  </a:lnTo>
                  <a:lnTo>
                    <a:pt x="240" y="87"/>
                  </a:lnTo>
                  <a:lnTo>
                    <a:pt x="238" y="89"/>
                  </a:lnTo>
                  <a:lnTo>
                    <a:pt x="237" y="94"/>
                  </a:lnTo>
                  <a:lnTo>
                    <a:pt x="230" y="92"/>
                  </a:lnTo>
                  <a:lnTo>
                    <a:pt x="228" y="87"/>
                  </a:lnTo>
                  <a:lnTo>
                    <a:pt x="226" y="85"/>
                  </a:lnTo>
                  <a:lnTo>
                    <a:pt x="224" y="85"/>
                  </a:lnTo>
                  <a:close/>
                  <a:moveTo>
                    <a:pt x="138" y="57"/>
                  </a:moveTo>
                  <a:lnTo>
                    <a:pt x="134" y="57"/>
                  </a:lnTo>
                  <a:lnTo>
                    <a:pt x="132" y="59"/>
                  </a:lnTo>
                  <a:lnTo>
                    <a:pt x="131" y="60"/>
                  </a:lnTo>
                  <a:lnTo>
                    <a:pt x="131" y="68"/>
                  </a:lnTo>
                  <a:lnTo>
                    <a:pt x="122" y="69"/>
                  </a:lnTo>
                  <a:lnTo>
                    <a:pt x="118" y="64"/>
                  </a:lnTo>
                  <a:lnTo>
                    <a:pt x="117" y="62"/>
                  </a:lnTo>
                  <a:lnTo>
                    <a:pt x="113" y="60"/>
                  </a:lnTo>
                  <a:lnTo>
                    <a:pt x="111" y="62"/>
                  </a:lnTo>
                  <a:lnTo>
                    <a:pt x="99" y="69"/>
                  </a:lnTo>
                  <a:lnTo>
                    <a:pt x="97" y="71"/>
                  </a:lnTo>
                  <a:lnTo>
                    <a:pt x="97" y="75"/>
                  </a:lnTo>
                  <a:lnTo>
                    <a:pt x="97" y="76"/>
                  </a:lnTo>
                  <a:lnTo>
                    <a:pt x="101" y="82"/>
                  </a:lnTo>
                  <a:lnTo>
                    <a:pt x="95" y="89"/>
                  </a:lnTo>
                  <a:lnTo>
                    <a:pt x="88" y="87"/>
                  </a:lnTo>
                  <a:lnTo>
                    <a:pt x="87" y="87"/>
                  </a:lnTo>
                  <a:lnTo>
                    <a:pt x="85" y="89"/>
                  </a:lnTo>
                  <a:lnTo>
                    <a:pt x="83" y="91"/>
                  </a:lnTo>
                  <a:lnTo>
                    <a:pt x="80" y="106"/>
                  </a:lnTo>
                  <a:lnTo>
                    <a:pt x="81" y="108"/>
                  </a:lnTo>
                  <a:lnTo>
                    <a:pt x="81" y="110"/>
                  </a:lnTo>
                  <a:lnTo>
                    <a:pt x="83" y="112"/>
                  </a:lnTo>
                  <a:lnTo>
                    <a:pt x="90" y="113"/>
                  </a:lnTo>
                  <a:lnTo>
                    <a:pt x="92" y="121"/>
                  </a:lnTo>
                  <a:lnTo>
                    <a:pt x="87" y="126"/>
                  </a:lnTo>
                  <a:lnTo>
                    <a:pt x="85" y="128"/>
                  </a:lnTo>
                  <a:lnTo>
                    <a:pt x="85" y="129"/>
                  </a:lnTo>
                  <a:lnTo>
                    <a:pt x="85" y="131"/>
                  </a:lnTo>
                  <a:lnTo>
                    <a:pt x="92" y="143"/>
                  </a:lnTo>
                  <a:lnTo>
                    <a:pt x="94" y="145"/>
                  </a:lnTo>
                  <a:lnTo>
                    <a:pt x="97" y="147"/>
                  </a:lnTo>
                  <a:lnTo>
                    <a:pt x="99" y="145"/>
                  </a:lnTo>
                  <a:lnTo>
                    <a:pt x="104" y="142"/>
                  </a:lnTo>
                  <a:lnTo>
                    <a:pt x="111" y="147"/>
                  </a:lnTo>
                  <a:lnTo>
                    <a:pt x="111" y="154"/>
                  </a:lnTo>
                  <a:lnTo>
                    <a:pt x="111" y="156"/>
                  </a:lnTo>
                  <a:lnTo>
                    <a:pt x="111" y="158"/>
                  </a:lnTo>
                  <a:lnTo>
                    <a:pt x="115" y="159"/>
                  </a:lnTo>
                  <a:lnTo>
                    <a:pt x="129" y="163"/>
                  </a:lnTo>
                  <a:lnTo>
                    <a:pt x="131" y="163"/>
                  </a:lnTo>
                  <a:lnTo>
                    <a:pt x="132" y="161"/>
                  </a:lnTo>
                  <a:lnTo>
                    <a:pt x="134" y="159"/>
                  </a:lnTo>
                  <a:lnTo>
                    <a:pt x="136" y="152"/>
                  </a:lnTo>
                  <a:lnTo>
                    <a:pt x="145" y="151"/>
                  </a:lnTo>
                  <a:lnTo>
                    <a:pt x="148" y="156"/>
                  </a:lnTo>
                  <a:lnTo>
                    <a:pt x="150" y="158"/>
                  </a:lnTo>
                  <a:lnTo>
                    <a:pt x="152" y="159"/>
                  </a:lnTo>
                  <a:lnTo>
                    <a:pt x="154" y="158"/>
                  </a:lnTo>
                  <a:lnTo>
                    <a:pt x="166" y="151"/>
                  </a:lnTo>
                  <a:lnTo>
                    <a:pt x="168" y="149"/>
                  </a:lnTo>
                  <a:lnTo>
                    <a:pt x="170" y="145"/>
                  </a:lnTo>
                  <a:lnTo>
                    <a:pt x="168" y="143"/>
                  </a:lnTo>
                  <a:lnTo>
                    <a:pt x="164" y="138"/>
                  </a:lnTo>
                  <a:lnTo>
                    <a:pt x="170" y="131"/>
                  </a:lnTo>
                  <a:lnTo>
                    <a:pt x="177" y="133"/>
                  </a:lnTo>
                  <a:lnTo>
                    <a:pt x="178" y="133"/>
                  </a:lnTo>
                  <a:lnTo>
                    <a:pt x="180" y="131"/>
                  </a:lnTo>
                  <a:lnTo>
                    <a:pt x="182" y="129"/>
                  </a:lnTo>
                  <a:lnTo>
                    <a:pt x="185" y="113"/>
                  </a:lnTo>
                  <a:lnTo>
                    <a:pt x="185" y="112"/>
                  </a:lnTo>
                  <a:lnTo>
                    <a:pt x="184" y="110"/>
                  </a:lnTo>
                  <a:lnTo>
                    <a:pt x="182" y="108"/>
                  </a:lnTo>
                  <a:lnTo>
                    <a:pt x="175" y="106"/>
                  </a:lnTo>
                  <a:lnTo>
                    <a:pt x="173" y="99"/>
                  </a:lnTo>
                  <a:lnTo>
                    <a:pt x="180" y="94"/>
                  </a:lnTo>
                  <a:lnTo>
                    <a:pt x="180" y="92"/>
                  </a:lnTo>
                  <a:lnTo>
                    <a:pt x="182" y="91"/>
                  </a:lnTo>
                  <a:lnTo>
                    <a:pt x="180" y="89"/>
                  </a:lnTo>
                  <a:lnTo>
                    <a:pt x="173" y="76"/>
                  </a:lnTo>
                  <a:lnTo>
                    <a:pt x="171" y="75"/>
                  </a:lnTo>
                  <a:lnTo>
                    <a:pt x="170" y="75"/>
                  </a:lnTo>
                  <a:lnTo>
                    <a:pt x="166" y="75"/>
                  </a:lnTo>
                  <a:lnTo>
                    <a:pt x="161" y="78"/>
                  </a:lnTo>
                  <a:lnTo>
                    <a:pt x="154" y="73"/>
                  </a:lnTo>
                  <a:lnTo>
                    <a:pt x="155" y="66"/>
                  </a:lnTo>
                  <a:lnTo>
                    <a:pt x="155" y="64"/>
                  </a:lnTo>
                  <a:lnTo>
                    <a:pt x="154" y="62"/>
                  </a:lnTo>
                  <a:lnTo>
                    <a:pt x="152" y="60"/>
                  </a:lnTo>
                  <a:lnTo>
                    <a:pt x="138" y="57"/>
                  </a:lnTo>
                  <a:close/>
                  <a:moveTo>
                    <a:pt x="163" y="0"/>
                  </a:moveTo>
                  <a:lnTo>
                    <a:pt x="198" y="4"/>
                  </a:lnTo>
                  <a:lnTo>
                    <a:pt x="228" y="15"/>
                  </a:lnTo>
                  <a:lnTo>
                    <a:pt x="254" y="30"/>
                  </a:lnTo>
                  <a:lnTo>
                    <a:pt x="274" y="46"/>
                  </a:lnTo>
                  <a:lnTo>
                    <a:pt x="288" y="60"/>
                  </a:lnTo>
                  <a:lnTo>
                    <a:pt x="302" y="83"/>
                  </a:lnTo>
                  <a:lnTo>
                    <a:pt x="313" y="110"/>
                  </a:lnTo>
                  <a:lnTo>
                    <a:pt x="318" y="138"/>
                  </a:lnTo>
                  <a:lnTo>
                    <a:pt x="316" y="168"/>
                  </a:lnTo>
                  <a:lnTo>
                    <a:pt x="307" y="196"/>
                  </a:lnTo>
                  <a:lnTo>
                    <a:pt x="290" y="227"/>
                  </a:lnTo>
                  <a:lnTo>
                    <a:pt x="277" y="246"/>
                  </a:lnTo>
                  <a:lnTo>
                    <a:pt x="267" y="265"/>
                  </a:lnTo>
                  <a:lnTo>
                    <a:pt x="261" y="285"/>
                  </a:lnTo>
                  <a:lnTo>
                    <a:pt x="263" y="306"/>
                  </a:lnTo>
                  <a:lnTo>
                    <a:pt x="263" y="310"/>
                  </a:lnTo>
                  <a:lnTo>
                    <a:pt x="261" y="311"/>
                  </a:lnTo>
                  <a:lnTo>
                    <a:pt x="161" y="408"/>
                  </a:lnTo>
                  <a:lnTo>
                    <a:pt x="159" y="410"/>
                  </a:lnTo>
                  <a:lnTo>
                    <a:pt x="155" y="410"/>
                  </a:lnTo>
                  <a:lnTo>
                    <a:pt x="154" y="410"/>
                  </a:lnTo>
                  <a:lnTo>
                    <a:pt x="152" y="408"/>
                  </a:lnTo>
                  <a:lnTo>
                    <a:pt x="150" y="407"/>
                  </a:lnTo>
                  <a:lnTo>
                    <a:pt x="143" y="385"/>
                  </a:lnTo>
                  <a:lnTo>
                    <a:pt x="134" y="364"/>
                  </a:lnTo>
                  <a:lnTo>
                    <a:pt x="122" y="347"/>
                  </a:lnTo>
                  <a:lnTo>
                    <a:pt x="108" y="336"/>
                  </a:lnTo>
                  <a:lnTo>
                    <a:pt x="104" y="336"/>
                  </a:lnTo>
                  <a:lnTo>
                    <a:pt x="101" y="336"/>
                  </a:lnTo>
                  <a:lnTo>
                    <a:pt x="92" y="336"/>
                  </a:lnTo>
                  <a:lnTo>
                    <a:pt x="83" y="338"/>
                  </a:lnTo>
                  <a:lnTo>
                    <a:pt x="72" y="338"/>
                  </a:lnTo>
                  <a:lnTo>
                    <a:pt x="60" y="340"/>
                  </a:lnTo>
                  <a:lnTo>
                    <a:pt x="51" y="338"/>
                  </a:lnTo>
                  <a:lnTo>
                    <a:pt x="44" y="336"/>
                  </a:lnTo>
                  <a:lnTo>
                    <a:pt x="39" y="334"/>
                  </a:lnTo>
                  <a:lnTo>
                    <a:pt x="35" y="329"/>
                  </a:lnTo>
                  <a:lnTo>
                    <a:pt x="34" y="324"/>
                  </a:lnTo>
                  <a:lnTo>
                    <a:pt x="30" y="306"/>
                  </a:lnTo>
                  <a:lnTo>
                    <a:pt x="28" y="287"/>
                  </a:lnTo>
                  <a:lnTo>
                    <a:pt x="23" y="267"/>
                  </a:lnTo>
                  <a:lnTo>
                    <a:pt x="16" y="253"/>
                  </a:lnTo>
                  <a:lnTo>
                    <a:pt x="4" y="241"/>
                  </a:lnTo>
                  <a:lnTo>
                    <a:pt x="0" y="232"/>
                  </a:lnTo>
                  <a:lnTo>
                    <a:pt x="0" y="223"/>
                  </a:lnTo>
                  <a:lnTo>
                    <a:pt x="5" y="211"/>
                  </a:lnTo>
                  <a:lnTo>
                    <a:pt x="11" y="200"/>
                  </a:lnTo>
                  <a:lnTo>
                    <a:pt x="18" y="189"/>
                  </a:lnTo>
                  <a:lnTo>
                    <a:pt x="21" y="179"/>
                  </a:lnTo>
                  <a:lnTo>
                    <a:pt x="23" y="170"/>
                  </a:lnTo>
                  <a:lnTo>
                    <a:pt x="21" y="163"/>
                  </a:lnTo>
                  <a:lnTo>
                    <a:pt x="18" y="138"/>
                  </a:lnTo>
                  <a:lnTo>
                    <a:pt x="18" y="115"/>
                  </a:lnTo>
                  <a:lnTo>
                    <a:pt x="21" y="94"/>
                  </a:lnTo>
                  <a:lnTo>
                    <a:pt x="30" y="73"/>
                  </a:lnTo>
                  <a:lnTo>
                    <a:pt x="46" y="52"/>
                  </a:lnTo>
                  <a:lnTo>
                    <a:pt x="46" y="52"/>
                  </a:lnTo>
                  <a:lnTo>
                    <a:pt x="83" y="23"/>
                  </a:lnTo>
                  <a:lnTo>
                    <a:pt x="122" y="6"/>
                  </a:lnTo>
                  <a:lnTo>
                    <a:pt x="1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49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98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48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97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947" algn="l" defTabSz="1218987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>
                <a:solidFill>
                  <a:prstClr val="black"/>
                </a:solidFill>
              </a:endParaRPr>
            </a:p>
          </p:txBody>
        </p:sp>
      </p:grpSp>
      <p:pic>
        <p:nvPicPr>
          <p:cNvPr id="36" name="Picture 3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2209" y="2433798"/>
            <a:ext cx="1007998" cy="255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373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2807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25</a:t>
            </a:fld>
            <a:endParaRPr lang="en-US" dirty="0">
              <a:solidFill>
                <a:srgbClr val="FFFFFF">
                  <a:alpha val="99000"/>
                </a:srgb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>
                <a:solidFill>
                  <a:schemeClr val="bg1"/>
                </a:solidFill>
              </a:rPr>
              <a:pPr/>
              <a:t>8/6/2018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4343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By entering contracts, Liberty mitigates adverse selection </a:t>
            </a:r>
            <a:br>
              <a:rPr lang="en-US" sz="2000" dirty="0" smtClean="0"/>
            </a:br>
            <a:endParaRPr lang="en-US" sz="2000" dirty="0"/>
          </a:p>
        </p:txBody>
      </p:sp>
      <p:sp>
        <p:nvSpPr>
          <p:cNvPr id="9" name="Right Arrow 8"/>
          <p:cNvSpPr/>
          <p:nvPr/>
        </p:nvSpPr>
        <p:spPr>
          <a:xfrm>
            <a:off x="3299460" y="1529909"/>
            <a:ext cx="2339340" cy="68580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1" name="TextBox 10"/>
          <p:cNvSpPr txBox="1"/>
          <p:nvPr/>
        </p:nvSpPr>
        <p:spPr>
          <a:xfrm>
            <a:off x="561695" y="2933297"/>
            <a:ext cx="4572000" cy="40011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2000" dirty="0" smtClean="0">
                <a:solidFill>
                  <a:schemeClr val="bg1"/>
                </a:solidFill>
              </a:rPr>
              <a:t>Solution: Mid –Long term Contracts</a:t>
            </a:r>
            <a:endParaRPr lang="en-US" sz="2000" dirty="0">
              <a:solidFill>
                <a:schemeClr val="bg1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561694" y="3390858"/>
            <a:ext cx="7820305" cy="2678407"/>
            <a:chOff x="4789549" y="809999"/>
            <a:chExt cx="2048152" cy="1846587"/>
          </a:xfrm>
        </p:grpSpPr>
        <p:sp>
          <p:nvSpPr>
            <p:cNvPr id="14" name="Rounded Rectangle 13"/>
            <p:cNvSpPr/>
            <p:nvPr/>
          </p:nvSpPr>
          <p:spPr>
            <a:xfrm>
              <a:off x="4789549" y="809999"/>
              <a:ext cx="2048152" cy="1846587"/>
            </a:xfrm>
            <a:prstGeom prst="roundRect">
              <a:avLst>
                <a:gd name="adj" fmla="val 10000"/>
              </a:avLst>
            </a:prstGeom>
            <a:noFill/>
            <a:ln>
              <a:solidFill>
                <a:schemeClr val="accent3">
                  <a:lumMod val="75000"/>
                </a:schemeClr>
              </a:solidFill>
              <a:prstDash val="sysDot"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ounded Rectangle 4"/>
            <p:cNvSpPr/>
            <p:nvPr/>
          </p:nvSpPr>
          <p:spPr>
            <a:xfrm>
              <a:off x="4843634" y="864084"/>
              <a:ext cx="1939982" cy="173841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dirty="0" smtClean="0">
                  <a:solidFill>
                    <a:srgbClr val="616265"/>
                  </a:solidFill>
                </a:rPr>
                <a:t>3 – 5 Year Contracts:</a:t>
              </a:r>
            </a:p>
            <a:p>
              <a:pPr marL="285750" lvl="0" indent="-285750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dirty="0" smtClean="0">
                  <a:solidFill>
                    <a:srgbClr val="616265"/>
                  </a:solidFill>
                </a:rPr>
                <a:t>Locked in insurance terms guards against bias, removing adverse selection from the process</a:t>
              </a:r>
            </a:p>
            <a:p>
              <a:pPr marL="285750" lvl="0" indent="-285750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kern="1200" dirty="0" smtClean="0">
                  <a:solidFill>
                    <a:srgbClr val="616265"/>
                  </a:solidFill>
                </a:rPr>
                <a:t>Smooth risk out over time</a:t>
              </a:r>
            </a:p>
            <a:p>
              <a:pPr marL="742950" lvl="1" indent="-285750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616265"/>
                  </a:solidFill>
                </a:rPr>
                <a:t>Profits from “normal” years offsets losses from beyond 95</a:t>
              </a:r>
              <a:r>
                <a:rPr lang="en-US" baseline="30000" dirty="0">
                  <a:solidFill>
                    <a:srgbClr val="616265"/>
                  </a:solidFill>
                </a:rPr>
                <a:t>th</a:t>
              </a:r>
              <a:r>
                <a:rPr lang="en-US" dirty="0">
                  <a:solidFill>
                    <a:srgbClr val="616265"/>
                  </a:solidFill>
                </a:rPr>
                <a:t> percentile winters</a:t>
              </a:r>
            </a:p>
            <a:p>
              <a:pPr marL="742950" lvl="1" indent="-285750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endParaRPr lang="en-US" kern="1200" dirty="0" smtClean="0">
                <a:solidFill>
                  <a:srgbClr val="616265"/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8153400" y="61118"/>
            <a:ext cx="914400" cy="914400"/>
            <a:chOff x="2634224" y="1540"/>
            <a:chExt cx="1072887" cy="1072887"/>
          </a:xfrm>
          <a:solidFill>
            <a:srgbClr val="5381AC"/>
          </a:solidFill>
        </p:grpSpPr>
        <p:sp>
          <p:nvSpPr>
            <p:cNvPr id="17" name="Oval 16"/>
            <p:cNvSpPr/>
            <p:nvPr/>
          </p:nvSpPr>
          <p:spPr>
            <a:xfrm>
              <a:off x="2634224" y="1540"/>
              <a:ext cx="1072887" cy="107288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Oval 4"/>
            <p:cNvSpPr/>
            <p:nvPr/>
          </p:nvSpPr>
          <p:spPr>
            <a:xfrm>
              <a:off x="2791345" y="158661"/>
              <a:ext cx="758645" cy="75864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kern="1200" dirty="0" smtClean="0">
                  <a:solidFill>
                    <a:schemeClr val="bg1"/>
                  </a:solidFill>
                </a:rPr>
                <a:t>Feasibility</a:t>
              </a:r>
              <a:endParaRPr lang="en-US" sz="1000" b="1" kern="1200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403860" y="1235792"/>
          <a:ext cx="2796540" cy="111252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79654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Points</a:t>
                      </a:r>
                      <a:r>
                        <a:rPr lang="en-US" baseline="0" dirty="0" smtClean="0"/>
                        <a:t> of Stres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Adverse</a:t>
                      </a:r>
                      <a:r>
                        <a:rPr lang="en-US" baseline="0" dirty="0" smtClean="0"/>
                        <a:t> Selectio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Outlier</a:t>
                      </a:r>
                      <a:r>
                        <a:rPr lang="en-US" baseline="0" dirty="0" smtClean="0"/>
                        <a:t> Winters</a:t>
                      </a:r>
                      <a:endParaRPr lang="en-US" dirty="0" smtClean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5718025" y="1235792"/>
          <a:ext cx="2663974" cy="13817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66397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Ramification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Loss of Product</a:t>
                      </a:r>
                      <a:r>
                        <a:rPr lang="en-US" baseline="0" dirty="0" smtClean="0"/>
                        <a:t> Integrity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Overexposure </a:t>
                      </a:r>
                      <a:r>
                        <a:rPr lang="en-US" smtClean="0"/>
                        <a:t>to variant</a:t>
                      </a:r>
                      <a:r>
                        <a:rPr lang="en-US" baseline="0" smtClean="0"/>
                        <a:t> weather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1086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Solaria’s Product team operate under the “Jobs-to-be-Done” Theory in assessing a problem</a:t>
            </a:r>
            <a:endParaRPr lang="en-US" sz="2000" dirty="0"/>
          </a:p>
        </p:txBody>
      </p:sp>
      <p:graphicFrame>
        <p:nvGraphicFramePr>
          <p:cNvPr id="15" name="Diagram 18"/>
          <p:cNvGraphicFramePr/>
          <p:nvPr>
            <p:extLst/>
          </p:nvPr>
        </p:nvGraphicFramePr>
        <p:xfrm>
          <a:off x="228600" y="1143000"/>
          <a:ext cx="8705001" cy="5494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6" name="Table 6"/>
          <p:cNvGraphicFramePr>
            <a:graphicFrameLocks noGrp="1"/>
          </p:cNvGraphicFramePr>
          <p:nvPr>
            <p:extLst/>
          </p:nvPr>
        </p:nvGraphicFramePr>
        <p:xfrm>
          <a:off x="140760" y="2245352"/>
          <a:ext cx="8663610" cy="173736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517346"/>
                <a:gridCol w="1517346"/>
                <a:gridCol w="1348753"/>
                <a:gridCol w="1429152"/>
                <a:gridCol w="1380748"/>
                <a:gridCol w="1470265"/>
              </a:tblGrid>
              <a:tr h="370840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 “Job” is </a:t>
                      </a:r>
                      <a:r>
                        <a:rPr lang="en-US" sz="1200" b="1" i="0" kern="1200" baseline="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what the customer is trying to accomplish</a:t>
                      </a:r>
                      <a:endParaRPr lang="en-US" sz="1200" b="1" dirty="0" smtClean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36576" marR="3657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baseline="0" dirty="0" smtClean="0">
                          <a:latin typeface="+mj-lt"/>
                          <a:cs typeface="Calibri" panose="020F0502020204030204" pitchFamily="34" charset="0"/>
                        </a:rPr>
                        <a:t>Customers want to </a:t>
                      </a:r>
                      <a:r>
                        <a:rPr lang="en-US" sz="1200" b="1" baseline="0" dirty="0" smtClean="0">
                          <a:latin typeface="+mj-lt"/>
                          <a:cs typeface="Calibri" panose="020F0502020204030204" pitchFamily="34" charset="0"/>
                        </a:rPr>
                        <a:t>feel and be perceived </a:t>
                      </a:r>
                      <a:r>
                        <a:rPr lang="en-US" sz="1200" b="0" baseline="0" dirty="0" smtClean="0">
                          <a:latin typeface="+mj-lt"/>
                          <a:cs typeface="Calibri" panose="020F0502020204030204" pitchFamily="34" charset="0"/>
                        </a:rPr>
                        <a:t>a certain way while doing their job </a:t>
                      </a:r>
                      <a:endParaRPr lang="en-US" sz="1200" b="0" dirty="0" smtClean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36576" marR="3657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baseline="0" dirty="0" smtClean="0">
                          <a:latin typeface="+mj-lt"/>
                          <a:cs typeface="Calibri" panose="020F0502020204030204" pitchFamily="34" charset="0"/>
                        </a:rPr>
                        <a:t>Jobs often don’t change, the </a:t>
                      </a:r>
                      <a:r>
                        <a:rPr lang="en-US" sz="1200" b="1" baseline="0" dirty="0" smtClean="0">
                          <a:latin typeface="+mj-lt"/>
                          <a:cs typeface="Calibri" panose="020F0502020204030204" pitchFamily="34" charset="0"/>
                        </a:rPr>
                        <a:t>Means/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1" baseline="0" dirty="0" smtClean="0">
                          <a:latin typeface="+mj-lt"/>
                          <a:cs typeface="Calibri" panose="020F0502020204030204" pitchFamily="34" charset="0"/>
                        </a:rPr>
                        <a:t>Product </a:t>
                      </a:r>
                      <a:r>
                        <a:rPr lang="en-US" sz="1200" b="0" baseline="0" dirty="0" smtClean="0">
                          <a:latin typeface="+mj-lt"/>
                          <a:cs typeface="Calibri" panose="020F0502020204030204" pitchFamily="34" charset="0"/>
                        </a:rPr>
                        <a:t>does</a:t>
                      </a:r>
                      <a:r>
                        <a:rPr lang="en-US" sz="1200" b="1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endParaRPr lang="en-US" sz="1200" b="0" dirty="0" smtClean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36576" marR="3657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ustomers </a:t>
                      </a:r>
                      <a:r>
                        <a:rPr lang="en-US" sz="1200" b="1" i="0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on’t know 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what solutions is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est.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olution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is </a:t>
                      </a:r>
                      <a:r>
                        <a:rPr lang="en-US" sz="1200" b="1" i="0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ndependent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of the current solution</a:t>
                      </a:r>
                      <a:endParaRPr lang="en-US" sz="1200" b="0" dirty="0" smtClean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36576" marR="3657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 smtClean="0">
                          <a:latin typeface="+mj-lt"/>
                          <a:cs typeface="Calibri" panose="020F0502020204030204" pitchFamily="34" charset="0"/>
                        </a:rPr>
                        <a:t>Defining</a:t>
                      </a:r>
                      <a:r>
                        <a:rPr lang="en-US" sz="1200" b="0" baseline="0" dirty="0" smtClean="0">
                          <a:latin typeface="+mj-lt"/>
                          <a:cs typeface="Calibri" panose="020F0502020204030204" pitchFamily="34" charset="0"/>
                        </a:rPr>
                        <a:t> customer </a:t>
                      </a:r>
                      <a:r>
                        <a:rPr lang="en-US" sz="1200" b="1" baseline="0" dirty="0" smtClean="0">
                          <a:latin typeface="+mj-lt"/>
                          <a:cs typeface="Calibri" panose="020F0502020204030204" pitchFamily="34" charset="0"/>
                        </a:rPr>
                        <a:t>“needs”</a:t>
                      </a:r>
                      <a:r>
                        <a:rPr lang="en-US" sz="1200" b="0" baseline="0" dirty="0" smtClean="0">
                          <a:latin typeface="+mj-lt"/>
                          <a:cs typeface="Calibri" panose="020F0502020204030204" pitchFamily="34" charset="0"/>
                        </a:rPr>
                        <a:t> as the measured metrics leads to a more granular understanding of the Job</a:t>
                      </a:r>
                      <a:endParaRPr lang="en-US" sz="12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36576" marR="3657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eople </a:t>
                      </a:r>
                      <a:r>
                        <a:rPr lang="en-US" sz="1200" b="1" i="0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ren’t loyal 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o companies or brands.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1" i="0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etter is subjective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lang="en-US" sz="1200" b="0" kern="1200" baseline="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6576" marR="3657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Isosceles Triangle 16"/>
          <p:cNvSpPr/>
          <p:nvPr/>
        </p:nvSpPr>
        <p:spPr>
          <a:xfrm rot="10800000">
            <a:off x="3243275" y="1983541"/>
            <a:ext cx="1097280" cy="161652"/>
          </a:xfrm>
          <a:prstGeom prst="triangl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FFFFFF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8" name="Isosceles Triangle 17"/>
          <p:cNvSpPr/>
          <p:nvPr/>
        </p:nvSpPr>
        <p:spPr>
          <a:xfrm rot="10800000">
            <a:off x="4651384" y="1983541"/>
            <a:ext cx="1097280" cy="161652"/>
          </a:xfrm>
          <a:prstGeom prst="triangl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FFFFFF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9" name="Isosceles Triangle 18"/>
          <p:cNvSpPr/>
          <p:nvPr/>
        </p:nvSpPr>
        <p:spPr>
          <a:xfrm rot="10800000">
            <a:off x="6059493" y="1983541"/>
            <a:ext cx="1097280" cy="161652"/>
          </a:xfrm>
          <a:prstGeom prst="triangl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FFFFFF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20" name="Isosceles Triangle 19"/>
          <p:cNvSpPr/>
          <p:nvPr/>
        </p:nvSpPr>
        <p:spPr>
          <a:xfrm rot="10800000">
            <a:off x="7467604" y="1983541"/>
            <a:ext cx="1097280" cy="161652"/>
          </a:xfrm>
          <a:prstGeom prst="triangl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FFFFFF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21" name="Isosceles Triangle 20"/>
          <p:cNvSpPr/>
          <p:nvPr/>
        </p:nvSpPr>
        <p:spPr>
          <a:xfrm rot="10800000">
            <a:off x="427057" y="1983541"/>
            <a:ext cx="1097280" cy="161652"/>
          </a:xfrm>
          <a:prstGeom prst="triangl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FFFFFF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22" name="Isosceles Triangle 21"/>
          <p:cNvSpPr/>
          <p:nvPr/>
        </p:nvSpPr>
        <p:spPr>
          <a:xfrm rot="10800000">
            <a:off x="1835166" y="1983541"/>
            <a:ext cx="1097280" cy="161652"/>
          </a:xfrm>
          <a:prstGeom prst="triangl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FFFFFF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987263" y="4762800"/>
            <a:ext cx="5321608" cy="1477709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Potential Product (To be tested) </a:t>
            </a:r>
            <a:endParaRPr lang="en-US" b="1" dirty="0"/>
          </a:p>
        </p:txBody>
      </p:sp>
      <p:sp>
        <p:nvSpPr>
          <p:cNvPr id="23" name="Isosceles Triangle 22"/>
          <p:cNvSpPr/>
          <p:nvPr/>
        </p:nvSpPr>
        <p:spPr>
          <a:xfrm rot="10800000">
            <a:off x="448745" y="3982712"/>
            <a:ext cx="8484856" cy="626606"/>
          </a:xfrm>
          <a:prstGeom prst="triangl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FFFFFF"/>
              </a:solidFill>
              <a:latin typeface="+mj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354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8" name="think-cell Slide" r:id="rId6" imgW="282" imgH="282" progId="TCLayout.ActiveDocument.1">
                  <p:embed/>
                </p:oleObj>
              </mc:Choice>
              <mc:Fallback>
                <p:oleObj name="think-cell Slide" r:id="rId6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M Innovation</a:t>
            </a:r>
          </a:p>
        </p:txBody>
      </p:sp>
      <p:sp>
        <p:nvSpPr>
          <p:cNvPr id="40" name="Rectangle 39"/>
          <p:cNvSpPr/>
          <p:nvPr/>
        </p:nvSpPr>
        <p:spPr>
          <a:xfrm>
            <a:off x="3779368" y="1317780"/>
            <a:ext cx="1536494" cy="47276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001B5A"/>
                </a:solidFill>
              </a:rPr>
              <a:t>GCM Innovation</a:t>
            </a:r>
          </a:p>
          <a:p>
            <a:pPr algn="ctr"/>
            <a:r>
              <a:rPr lang="en-US" sz="800" i="1" dirty="0">
                <a:solidFill>
                  <a:srgbClr val="001B5A"/>
                </a:solidFill>
              </a:rPr>
              <a:t>Adam L’Italien</a:t>
            </a:r>
          </a:p>
        </p:txBody>
      </p:sp>
      <p:sp>
        <p:nvSpPr>
          <p:cNvPr id="41" name="Rectangle 40"/>
          <p:cNvSpPr/>
          <p:nvPr/>
        </p:nvSpPr>
        <p:spPr>
          <a:xfrm>
            <a:off x="330681" y="2480148"/>
            <a:ext cx="1639208" cy="47276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001B5A"/>
                </a:solidFill>
              </a:rPr>
              <a:t>Strategy and Operations</a:t>
            </a:r>
          </a:p>
          <a:p>
            <a:pPr algn="ctr"/>
            <a:r>
              <a:rPr lang="en-US" sz="800" i="1" dirty="0">
                <a:solidFill>
                  <a:srgbClr val="001B5A"/>
                </a:solidFill>
              </a:rPr>
              <a:t>Taryn Tirrell</a:t>
            </a:r>
          </a:p>
        </p:txBody>
      </p:sp>
      <p:sp>
        <p:nvSpPr>
          <p:cNvPr id="44" name="Rectangle 43"/>
          <p:cNvSpPr/>
          <p:nvPr/>
        </p:nvSpPr>
        <p:spPr>
          <a:xfrm>
            <a:off x="2029346" y="2480148"/>
            <a:ext cx="1639208" cy="47276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001B5A"/>
                </a:solidFill>
              </a:rPr>
              <a:t>Trends and Insights</a:t>
            </a:r>
          </a:p>
          <a:p>
            <a:pPr algn="ctr"/>
            <a:r>
              <a:rPr lang="en-US" sz="800" i="1" dirty="0">
                <a:solidFill>
                  <a:srgbClr val="001B5A"/>
                </a:solidFill>
              </a:rPr>
              <a:t>Jessica Decosta</a:t>
            </a:r>
          </a:p>
        </p:txBody>
      </p:sp>
      <p:cxnSp>
        <p:nvCxnSpPr>
          <p:cNvPr id="45" name="Elbow Connector 44"/>
          <p:cNvCxnSpPr>
            <a:stCxn id="41" idx="0"/>
          </p:cNvCxnSpPr>
          <p:nvPr/>
        </p:nvCxnSpPr>
        <p:spPr>
          <a:xfrm rot="5400000" flipH="1" flipV="1">
            <a:off x="2504150" y="436683"/>
            <a:ext cx="689601" cy="3397330"/>
          </a:xfrm>
          <a:prstGeom prst="bentConnector3">
            <a:avLst>
              <a:gd name="adj1" fmla="val 207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/>
          <p:cNvCxnSpPr>
            <a:stCxn id="44" idx="0"/>
          </p:cNvCxnSpPr>
          <p:nvPr/>
        </p:nvCxnSpPr>
        <p:spPr>
          <a:xfrm rot="5400000" flipH="1" flipV="1">
            <a:off x="3353482" y="1286016"/>
            <a:ext cx="689601" cy="1698665"/>
          </a:xfrm>
          <a:prstGeom prst="bentConnector3">
            <a:avLst>
              <a:gd name="adj1" fmla="val 207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Elbow Connector 51"/>
          <p:cNvCxnSpPr>
            <a:stCxn id="50" idx="0"/>
            <a:endCxn id="40" idx="2"/>
          </p:cNvCxnSpPr>
          <p:nvPr/>
        </p:nvCxnSpPr>
        <p:spPr>
          <a:xfrm rot="16200000" flipV="1">
            <a:off x="5460734" y="877429"/>
            <a:ext cx="689601" cy="2515838"/>
          </a:xfrm>
          <a:prstGeom prst="bentConnector3">
            <a:avLst>
              <a:gd name="adj1" fmla="val 207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/>
          <p:cNvSpPr/>
          <p:nvPr/>
        </p:nvSpPr>
        <p:spPr>
          <a:xfrm>
            <a:off x="1464878" y="3628517"/>
            <a:ext cx="1457354" cy="3169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001B5A"/>
                </a:solidFill>
              </a:rPr>
              <a:t>Dir., Product</a:t>
            </a:r>
          </a:p>
          <a:p>
            <a:pPr algn="ctr"/>
            <a:r>
              <a:rPr lang="en-US" sz="800" i="1" dirty="0">
                <a:solidFill>
                  <a:srgbClr val="001B5A"/>
                </a:solidFill>
              </a:rPr>
              <a:t>Brenton Sellati</a:t>
            </a:r>
          </a:p>
        </p:txBody>
      </p:sp>
      <p:cxnSp>
        <p:nvCxnSpPr>
          <p:cNvPr id="123" name="Elbow Connector 122"/>
          <p:cNvCxnSpPr>
            <a:stCxn id="61" idx="1"/>
            <a:endCxn id="40" idx="3"/>
          </p:cNvCxnSpPr>
          <p:nvPr/>
        </p:nvCxnSpPr>
        <p:spPr>
          <a:xfrm rot="10800000" flipV="1">
            <a:off x="5315863" y="1554162"/>
            <a:ext cx="110815" cy="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53"/>
          <p:cNvCxnSpPr>
            <a:stCxn id="139" idx="3"/>
          </p:cNvCxnSpPr>
          <p:nvPr/>
        </p:nvCxnSpPr>
        <p:spPr>
          <a:xfrm flipV="1">
            <a:off x="3668554" y="1790547"/>
            <a:ext cx="879061" cy="246074"/>
          </a:xfrm>
          <a:prstGeom prst="bentConnector2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>
            <a:stCxn id="40" idx="2"/>
            <a:endCxn id="49" idx="0"/>
          </p:cNvCxnSpPr>
          <p:nvPr/>
        </p:nvCxnSpPr>
        <p:spPr>
          <a:xfrm>
            <a:off x="4547615" y="1790547"/>
            <a:ext cx="0" cy="6842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/>
          <p:cNvSpPr/>
          <p:nvPr/>
        </p:nvSpPr>
        <p:spPr>
          <a:xfrm>
            <a:off x="6333335" y="3631823"/>
            <a:ext cx="1457354" cy="3169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001B5A"/>
                </a:solidFill>
              </a:rPr>
              <a:t>Mgr., Special Projects</a:t>
            </a:r>
          </a:p>
          <a:p>
            <a:pPr algn="ctr"/>
            <a:r>
              <a:rPr lang="en-US" sz="800" i="1" dirty="0">
                <a:solidFill>
                  <a:srgbClr val="001B5A"/>
                </a:solidFill>
              </a:rPr>
              <a:t>Chelsea Acosta Patel</a:t>
            </a:r>
          </a:p>
        </p:txBody>
      </p:sp>
      <p:sp>
        <p:nvSpPr>
          <p:cNvPr id="77" name="Rectangle 76"/>
          <p:cNvSpPr/>
          <p:nvPr/>
        </p:nvSpPr>
        <p:spPr>
          <a:xfrm>
            <a:off x="5619737" y="1878121"/>
            <a:ext cx="1457354" cy="3169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001B5A"/>
                </a:solidFill>
              </a:rPr>
              <a:t>Innovation Lead</a:t>
            </a:r>
          </a:p>
          <a:p>
            <a:pPr algn="ctr"/>
            <a:r>
              <a:rPr lang="en-US" sz="800" i="1" dirty="0">
                <a:solidFill>
                  <a:srgbClr val="001B5A"/>
                </a:solidFill>
              </a:rPr>
              <a:t>Justin Yiu</a:t>
            </a:r>
          </a:p>
        </p:txBody>
      </p:sp>
      <p:cxnSp>
        <p:nvCxnSpPr>
          <p:cNvPr id="78" name="Elbow Connector 77"/>
          <p:cNvCxnSpPr>
            <a:stCxn id="77" idx="1"/>
          </p:cNvCxnSpPr>
          <p:nvPr/>
        </p:nvCxnSpPr>
        <p:spPr>
          <a:xfrm rot="10800000">
            <a:off x="5486855" y="1599399"/>
            <a:ext cx="132883" cy="437222"/>
          </a:xfrm>
          <a:prstGeom prst="bentConnector2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/>
          <p:cNvSpPr/>
          <p:nvPr/>
        </p:nvSpPr>
        <p:spPr>
          <a:xfrm>
            <a:off x="5426677" y="1317779"/>
            <a:ext cx="3270670" cy="47276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001B5A"/>
                </a:solidFill>
              </a:rPr>
              <a:t>Solaria Labs Singapore</a:t>
            </a:r>
          </a:p>
          <a:p>
            <a:pPr algn="ctr"/>
            <a:r>
              <a:rPr lang="en-US" sz="800" i="1" dirty="0">
                <a:solidFill>
                  <a:srgbClr val="001B5A"/>
                </a:solidFill>
              </a:rPr>
              <a:t>Stefan Jacob </a:t>
            </a:r>
          </a:p>
        </p:txBody>
      </p:sp>
      <p:sp>
        <p:nvSpPr>
          <p:cNvPr id="87" name="Rectangle 86"/>
          <p:cNvSpPr/>
          <p:nvPr/>
        </p:nvSpPr>
        <p:spPr>
          <a:xfrm>
            <a:off x="7252951" y="1883780"/>
            <a:ext cx="1457354" cy="3169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001B5A"/>
                </a:solidFill>
              </a:rPr>
              <a:t>Product Owner</a:t>
            </a:r>
          </a:p>
          <a:p>
            <a:pPr algn="ctr"/>
            <a:r>
              <a:rPr lang="en-US" sz="800" i="1" dirty="0">
                <a:solidFill>
                  <a:srgbClr val="001B5A"/>
                </a:solidFill>
              </a:rPr>
              <a:t>Graham Kennedy</a:t>
            </a:r>
          </a:p>
        </p:txBody>
      </p:sp>
      <p:cxnSp>
        <p:nvCxnSpPr>
          <p:cNvPr id="88" name="Elbow Connector 87"/>
          <p:cNvCxnSpPr>
            <a:stCxn id="87" idx="1"/>
          </p:cNvCxnSpPr>
          <p:nvPr/>
        </p:nvCxnSpPr>
        <p:spPr>
          <a:xfrm rot="10800000">
            <a:off x="7113633" y="1796588"/>
            <a:ext cx="139319" cy="245693"/>
          </a:xfrm>
          <a:prstGeom prst="bentConnector2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3728011" y="2474802"/>
            <a:ext cx="1639208" cy="47276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001B5A"/>
                </a:solidFill>
              </a:rPr>
              <a:t>Innovation Product Portfolio</a:t>
            </a:r>
          </a:p>
          <a:p>
            <a:pPr algn="ctr"/>
            <a:r>
              <a:rPr lang="en-US" sz="800" i="1" dirty="0">
                <a:solidFill>
                  <a:srgbClr val="001B5A"/>
                </a:solidFill>
              </a:rPr>
              <a:t>Chema Luengo</a:t>
            </a:r>
          </a:p>
        </p:txBody>
      </p:sp>
      <p:sp>
        <p:nvSpPr>
          <p:cNvPr id="126" name="5-Point Star 125"/>
          <p:cNvSpPr/>
          <p:nvPr/>
        </p:nvSpPr>
        <p:spPr>
          <a:xfrm>
            <a:off x="3764392" y="2725545"/>
            <a:ext cx="158497" cy="158497"/>
          </a:xfrm>
          <a:prstGeom prst="star5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139" name="Rectangle 138"/>
          <p:cNvSpPr/>
          <p:nvPr/>
        </p:nvSpPr>
        <p:spPr>
          <a:xfrm>
            <a:off x="2211200" y="1878121"/>
            <a:ext cx="1457354" cy="3169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001B5A"/>
                </a:solidFill>
              </a:rPr>
              <a:t>Executive Assistant</a:t>
            </a:r>
          </a:p>
          <a:p>
            <a:pPr algn="ctr"/>
            <a:r>
              <a:rPr lang="en-US" sz="800" i="1" dirty="0" err="1">
                <a:solidFill>
                  <a:srgbClr val="001B5A"/>
                </a:solidFill>
              </a:rPr>
              <a:t>Sukanya</a:t>
            </a:r>
            <a:r>
              <a:rPr lang="en-US" sz="800" i="1" dirty="0">
                <a:solidFill>
                  <a:srgbClr val="001B5A"/>
                </a:solidFill>
              </a:rPr>
              <a:t> </a:t>
            </a:r>
            <a:r>
              <a:rPr lang="en-US" sz="800" i="1" dirty="0" err="1">
                <a:solidFill>
                  <a:srgbClr val="001B5A"/>
                </a:solidFill>
              </a:rPr>
              <a:t>Bahl</a:t>
            </a:r>
            <a:endParaRPr lang="en-US" sz="800" i="1" dirty="0">
              <a:solidFill>
                <a:srgbClr val="001B5A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5426677" y="2480148"/>
            <a:ext cx="3273552" cy="47276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001B5A"/>
                </a:solidFill>
              </a:rPr>
              <a:t>Solaria Labs Boston</a:t>
            </a:r>
          </a:p>
          <a:p>
            <a:pPr algn="ctr"/>
            <a:r>
              <a:rPr lang="en-US" sz="800" i="1" dirty="0">
                <a:solidFill>
                  <a:srgbClr val="001B5A"/>
                </a:solidFill>
              </a:rPr>
              <a:t>Chris Moss</a:t>
            </a:r>
          </a:p>
        </p:txBody>
      </p:sp>
      <p:sp>
        <p:nvSpPr>
          <p:cNvPr id="80" name="Rectangle 79"/>
          <p:cNvSpPr/>
          <p:nvPr/>
        </p:nvSpPr>
        <p:spPr>
          <a:xfrm>
            <a:off x="3825890" y="3636841"/>
            <a:ext cx="1457354" cy="3169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rgbClr val="001B5A"/>
                </a:solidFill>
              </a:rPr>
              <a:t>Mgr., Special Projects</a:t>
            </a:r>
          </a:p>
          <a:p>
            <a:pPr algn="ctr"/>
            <a:r>
              <a:rPr lang="en-US" sz="800" i="1" dirty="0">
                <a:solidFill>
                  <a:srgbClr val="001B5A"/>
                </a:solidFill>
              </a:rPr>
              <a:t>Jacob Auchincloss</a:t>
            </a:r>
          </a:p>
        </p:txBody>
      </p:sp>
      <p:sp>
        <p:nvSpPr>
          <p:cNvPr id="91" name="Rectangle 90"/>
          <p:cNvSpPr/>
          <p:nvPr/>
        </p:nvSpPr>
        <p:spPr>
          <a:xfrm>
            <a:off x="3843640" y="4376537"/>
            <a:ext cx="1457354" cy="316999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ADP Summer Intern</a:t>
            </a:r>
          </a:p>
          <a:p>
            <a:pPr algn="ctr"/>
            <a:r>
              <a:rPr lang="en-US" sz="900" i="1" dirty="0">
                <a:solidFill>
                  <a:schemeClr val="bg1"/>
                </a:solidFill>
              </a:rPr>
              <a:t>Alex Xu</a:t>
            </a:r>
          </a:p>
        </p:txBody>
      </p:sp>
      <p:cxnSp>
        <p:nvCxnSpPr>
          <p:cNvPr id="92" name="Straight Connector 91"/>
          <p:cNvCxnSpPr/>
          <p:nvPr/>
        </p:nvCxnSpPr>
        <p:spPr>
          <a:xfrm>
            <a:off x="4554567" y="3953840"/>
            <a:ext cx="0" cy="40136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5-Point Star 94"/>
          <p:cNvSpPr/>
          <p:nvPr/>
        </p:nvSpPr>
        <p:spPr>
          <a:xfrm>
            <a:off x="3843640" y="3631823"/>
            <a:ext cx="158497" cy="158497"/>
          </a:xfrm>
          <a:prstGeom prst="star5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cxnSp>
        <p:nvCxnSpPr>
          <p:cNvPr id="37" name="Straight Connector 36"/>
          <p:cNvCxnSpPr>
            <a:stCxn id="49" idx="2"/>
            <a:endCxn id="80" idx="0"/>
          </p:cNvCxnSpPr>
          <p:nvPr/>
        </p:nvCxnSpPr>
        <p:spPr>
          <a:xfrm>
            <a:off x="4547615" y="2947569"/>
            <a:ext cx="6952" cy="68927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/>
          <p:cNvCxnSpPr/>
          <p:nvPr/>
        </p:nvCxnSpPr>
        <p:spPr>
          <a:xfrm rot="16200000" flipV="1">
            <a:off x="5464840" y="2029342"/>
            <a:ext cx="689601" cy="2515838"/>
          </a:xfrm>
          <a:prstGeom prst="bentConnector3">
            <a:avLst>
              <a:gd name="adj1" fmla="val 20705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6"/>
          <p:cNvCxnSpPr>
            <a:stCxn id="74" idx="0"/>
          </p:cNvCxnSpPr>
          <p:nvPr/>
        </p:nvCxnSpPr>
        <p:spPr>
          <a:xfrm rot="5400000" flipH="1" flipV="1">
            <a:off x="3301221" y="2375171"/>
            <a:ext cx="145681" cy="2361012"/>
          </a:xfrm>
          <a:prstGeom prst="bentConnector2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9020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89297" y="192231"/>
            <a:ext cx="8305800" cy="487363"/>
          </a:xfrm>
        </p:spPr>
        <p:txBody>
          <a:bodyPr/>
          <a:lstStyle/>
          <a:p>
            <a:r>
              <a:rPr lang="en-US" sz="2000" dirty="0" smtClean="0"/>
              <a:t>Innovation looks to fulfill Liberty’s core goal of seeking alternative sources of revenue, and drive growth</a:t>
            </a:r>
            <a:endParaRPr lang="en-US" sz="2000" dirty="0"/>
          </a:p>
        </p:txBody>
      </p:sp>
      <p:grpSp>
        <p:nvGrpSpPr>
          <p:cNvPr id="6" name="Group 5"/>
          <p:cNvGrpSpPr/>
          <p:nvPr/>
        </p:nvGrpSpPr>
        <p:grpSpPr>
          <a:xfrm>
            <a:off x="228600" y="2819400"/>
            <a:ext cx="8610600" cy="3352800"/>
            <a:chOff x="1542976" y="1537657"/>
            <a:chExt cx="6058047" cy="2778241"/>
          </a:xfrm>
        </p:grpSpPr>
        <p:sp>
          <p:nvSpPr>
            <p:cNvPr id="7" name="AutoShape 10">
              <a:hlinkClick r:id="" action="ppaction://noaction" highlightClick="1"/>
            </p:cNvPr>
            <p:cNvSpPr>
              <a:spLocks noChangeArrowheads="1"/>
            </p:cNvSpPr>
            <p:nvPr/>
          </p:nvSpPr>
          <p:spPr bwMode="auto">
            <a:xfrm>
              <a:off x="1542976" y="3872271"/>
              <a:ext cx="6046371" cy="443627"/>
            </a:xfrm>
            <a:prstGeom prst="actionButtonBlank">
              <a:avLst/>
            </a:prstGeom>
            <a:solidFill>
              <a:srgbClr val="0A2652"/>
            </a:solidFill>
            <a:ln w="3175" cmpd="sng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6885" tIns="28441" rIns="56885" bIns="28441" anchor="ctr"/>
            <a:lstStyle/>
            <a:p>
              <a:pPr algn="ctr" defTabSz="568967" fontAlgn="base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defRPr/>
              </a:pPr>
              <a:r>
                <a:rPr lang="en-US" sz="1100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anose="020B0604020202020204" pitchFamily="34" charset="0"/>
                </a:rPr>
                <a:t>L</a:t>
              </a:r>
              <a:r>
                <a:rPr lang="en-US" sz="1100" b="1" kern="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anose="020B0604020202020204" pitchFamily="34" charset="0"/>
                </a:rPr>
                <a:t>eading </a:t>
              </a:r>
              <a:r>
                <a:rPr lang="en-US" sz="1100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anose="020B0604020202020204" pitchFamily="34" charset="0"/>
                </a:rPr>
                <a:t>E</a:t>
              </a:r>
              <a:r>
                <a:rPr lang="en-US" sz="1100" b="1" kern="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anose="020B0604020202020204" pitchFamily="34" charset="0"/>
                </a:rPr>
                <a:t>mployee</a:t>
              </a:r>
              <a:r>
                <a:rPr lang="en-US" sz="1100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anose="020B0604020202020204" pitchFamily="34" charset="0"/>
                </a:rPr>
                <a:t>, </a:t>
              </a:r>
              <a:r>
                <a:rPr lang="en-US" sz="1100" b="1" kern="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anose="020B0604020202020204" pitchFamily="34" charset="0"/>
                </a:rPr>
                <a:t>Customer </a:t>
              </a:r>
              <a:r>
                <a:rPr lang="en-US" sz="1100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anose="020B0604020202020204" pitchFamily="34" charset="0"/>
                </a:rPr>
                <a:t>and </a:t>
              </a:r>
              <a:r>
                <a:rPr lang="en-US" sz="1100" b="1" kern="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anose="020B0604020202020204" pitchFamily="34" charset="0"/>
                </a:rPr>
                <a:t>Agent </a:t>
              </a:r>
              <a:r>
                <a:rPr lang="en-US" sz="1100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anose="020B0604020202020204" pitchFamily="34" charset="0"/>
                </a:rPr>
                <a:t>E</a:t>
              </a:r>
              <a:r>
                <a:rPr lang="en-US" sz="1100" b="1" kern="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anose="020B0604020202020204" pitchFamily="34" charset="0"/>
                </a:rPr>
                <a:t>xperiences</a:t>
              </a:r>
            </a:p>
            <a:p>
              <a:pPr algn="ctr" defTabSz="568967" fontAlgn="base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defRPr/>
              </a:pPr>
              <a:r>
                <a:rPr lang="en-US" sz="1100" b="1" kern="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anose="020B0604020202020204" pitchFamily="34" charset="0"/>
                </a:rPr>
                <a:t>Top Talent Across the Organization </a:t>
              </a:r>
            </a:p>
            <a:p>
              <a:pPr algn="ctr" defTabSz="568967" fontAlgn="base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defRPr/>
              </a:pPr>
              <a:r>
                <a:rPr lang="en-US" sz="1100" b="1" kern="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anose="020B0604020202020204" pitchFamily="34" charset="0"/>
                </a:rPr>
                <a:t>Operational Excellence</a:t>
              </a:r>
              <a:endParaRPr lang="en-US" sz="11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1554651" y="1537657"/>
              <a:ext cx="6046372" cy="981199"/>
            </a:xfrm>
            <a:custGeom>
              <a:avLst/>
              <a:gdLst>
                <a:gd name="T0" fmla="*/ 0 w 4987"/>
                <a:gd name="T1" fmla="*/ 2147483647 h 669"/>
                <a:gd name="T2" fmla="*/ 2147483647 w 4987"/>
                <a:gd name="T3" fmla="*/ 0 h 669"/>
                <a:gd name="T4" fmla="*/ 2147483647 w 4987"/>
                <a:gd name="T5" fmla="*/ 2147483647 h 66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987" h="669">
                  <a:moveTo>
                    <a:pt x="0" y="669"/>
                  </a:moveTo>
                  <a:lnTo>
                    <a:pt x="2494" y="0"/>
                  </a:lnTo>
                  <a:lnTo>
                    <a:pt x="4987" y="669"/>
                  </a:lnTo>
                </a:path>
              </a:pathLst>
            </a:custGeom>
            <a:solidFill>
              <a:srgbClr val="FFFFFF">
                <a:lumMod val="85000"/>
              </a:srgbClr>
            </a:solidFill>
            <a:ln>
              <a:noFill/>
            </a:ln>
            <a:effectLst>
              <a:innerShdw blurRad="444500" dist="177800" dir="16200000">
                <a:srgbClr val="001D61"/>
              </a:innerShdw>
            </a:effectLst>
            <a:extLst/>
          </p:spPr>
          <p:txBody>
            <a:bodyPr lIns="56885" tIns="28441" rIns="56885" bIns="28441"/>
            <a:lstStyle/>
            <a:p>
              <a:pPr algn="ctr" defTabSz="568967" fontAlgn="base">
                <a:spcBef>
                  <a:spcPts val="468"/>
                </a:spcBef>
                <a:spcAft>
                  <a:spcPts val="468"/>
                </a:spcAft>
                <a:defRPr/>
              </a:pPr>
              <a:r>
                <a:rPr lang="en-US" sz="110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/>
              </a:r>
              <a:br>
                <a:rPr lang="en-US" sz="110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</a:br>
              <a:r>
                <a:rPr lang="en-US" sz="110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/>
              </a:r>
              <a:br>
                <a:rPr lang="en-US" sz="110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</a:br>
              <a:endParaRPr lang="en-US" sz="11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1542976" y="3152363"/>
              <a:ext cx="6046371" cy="677456"/>
              <a:chOff x="674246" y="3245980"/>
              <a:chExt cx="5983596" cy="773032"/>
            </a:xfrm>
            <a:solidFill>
              <a:srgbClr val="000066"/>
            </a:solidFill>
          </p:grpSpPr>
          <p:sp>
            <p:nvSpPr>
              <p:cNvPr id="20" name="AutoShape 5">
                <a:hlinkClick r:id="" action="ppaction://noaction" highlightClick="1"/>
              </p:cNvPr>
              <p:cNvSpPr>
                <a:spLocks noChangeArrowheads="1"/>
              </p:cNvSpPr>
              <p:nvPr/>
            </p:nvSpPr>
            <p:spPr bwMode="auto">
              <a:xfrm>
                <a:off x="674246" y="3245980"/>
                <a:ext cx="1933852" cy="773026"/>
              </a:xfrm>
              <a:prstGeom prst="actionButtonBlank">
                <a:avLst/>
              </a:prstGeom>
              <a:solidFill>
                <a:srgbClr val="0A2652"/>
              </a:solidFill>
              <a:ln w="3175" cmpd="sng">
                <a:noFill/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/>
            </p:spPr>
            <p:txBody>
              <a:bodyPr wrap="square" lIns="56952" tIns="28474" rIns="56952" bIns="28474" anchor="ctr"/>
              <a:lstStyle/>
              <a:p>
                <a:pPr algn="ctr" defTabSz="56896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50" b="1" kern="0" dirty="0" smtClea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Attract and serve the mass market segment</a:t>
                </a:r>
                <a:endParaRPr lang="en-US" sz="1050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anose="020B0604020202020204" pitchFamily="34" charset="0"/>
                </a:endParaRPr>
              </a:p>
            </p:txBody>
          </p:sp>
          <p:sp>
            <p:nvSpPr>
              <p:cNvPr id="21" name="AutoShape 6">
                <a:hlinkClick r:id="" action="ppaction://noaction" highlightClick="1"/>
              </p:cNvPr>
              <p:cNvSpPr>
                <a:spLocks noChangeArrowheads="1"/>
              </p:cNvSpPr>
              <p:nvPr/>
            </p:nvSpPr>
            <p:spPr bwMode="auto">
              <a:xfrm>
                <a:off x="4723990" y="3245984"/>
                <a:ext cx="1933852" cy="773027"/>
              </a:xfrm>
              <a:prstGeom prst="actionButtonBlank">
                <a:avLst/>
              </a:prstGeom>
              <a:solidFill>
                <a:srgbClr val="0A2652"/>
              </a:solidFill>
              <a:ln w="3175" cmpd="sng">
                <a:noFill/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/>
            </p:spPr>
            <p:txBody>
              <a:bodyPr wrap="square" lIns="56952" tIns="28474" rIns="56952" bIns="28474" anchor="ctr"/>
              <a:lstStyle/>
              <a:p>
                <a:pPr algn="ctr" defTabSz="56896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50" b="1" kern="0" dirty="0" smtClea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Provide best-in-class, </a:t>
                </a:r>
                <a:r>
                  <a:rPr lang="en-US" sz="1050" b="1" kern="0" dirty="0" err="1" smtClea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omni</a:t>
                </a:r>
                <a:r>
                  <a:rPr lang="en-US" sz="1050" b="1" kern="0" dirty="0" smtClea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-channel distribution access</a:t>
                </a:r>
                <a:endParaRPr lang="en-US" sz="1050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anose="020B0604020202020204" pitchFamily="34" charset="0"/>
                </a:endParaRPr>
              </a:p>
            </p:txBody>
          </p:sp>
          <p:sp>
            <p:nvSpPr>
              <p:cNvPr id="22" name="AutoShape 8">
                <a:hlinkClick r:id="" action="ppaction://noaction" highlightClick="1"/>
              </p:cNvPr>
              <p:cNvSpPr>
                <a:spLocks noChangeArrowheads="1"/>
              </p:cNvSpPr>
              <p:nvPr/>
            </p:nvSpPr>
            <p:spPr bwMode="auto">
              <a:xfrm>
                <a:off x="2699118" y="3245980"/>
                <a:ext cx="1933852" cy="773025"/>
              </a:xfrm>
              <a:prstGeom prst="actionButtonBlank">
                <a:avLst/>
              </a:prstGeom>
              <a:solidFill>
                <a:srgbClr val="0A2652"/>
              </a:solidFill>
              <a:ln w="3175" cmpd="sng">
                <a:noFill/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/>
            </p:spPr>
            <p:txBody>
              <a:bodyPr wrap="square" lIns="56952" tIns="28474" rIns="56952" bIns="28474" anchor="ctr"/>
              <a:lstStyle/>
              <a:p>
                <a:pPr algn="ctr" defTabSz="56896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50" b="1" kern="0" dirty="0" smtClea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Offer </a:t>
                </a:r>
                <a:r>
                  <a:rPr lang="en-US" sz="1050" b="1" kern="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i</a:t>
                </a:r>
                <a:r>
                  <a:rPr lang="en-US" sz="1050" b="1" kern="0" dirty="0" smtClea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nnovative </a:t>
                </a:r>
                <a:r>
                  <a:rPr lang="en-US" sz="1050" b="1" kern="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and competitively priced products that meet </a:t>
                </a:r>
                <a:br>
                  <a:rPr lang="en-US" sz="1050" b="1" kern="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</a:br>
                <a:r>
                  <a:rPr lang="en-US" sz="1050" b="1" kern="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customer needs</a:t>
                </a:r>
              </a:p>
            </p:txBody>
          </p:sp>
        </p:grp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6831" y="1901800"/>
              <a:ext cx="1202016" cy="267642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2735277" y="2188209"/>
              <a:ext cx="3783265" cy="320344"/>
            </a:xfrm>
            <a:prstGeom prst="rect">
              <a:avLst/>
            </a:prstGeom>
            <a:noFill/>
          </p:spPr>
          <p:txBody>
            <a:bodyPr wrap="square" lIns="68503" tIns="34250" rIns="68503" bIns="34250" rtlCol="0">
              <a:spAutoFit/>
            </a:bodyPr>
            <a:lstStyle/>
            <a:p>
              <a:pPr algn="ctr" defTabSz="667498"/>
              <a:r>
                <a:rPr lang="en-US" sz="1100" b="1" dirty="0">
                  <a:solidFill>
                    <a:srgbClr val="002060"/>
                  </a:solidFill>
                  <a:cs typeface="Arial" panose="020B0604020202020204" pitchFamily="34" charset="0"/>
                </a:rPr>
                <a:t>Common Purpose: </a:t>
              </a:r>
              <a:r>
                <a:rPr lang="en-US" sz="1100" dirty="0">
                  <a:solidFill>
                    <a:srgbClr val="002060"/>
                  </a:solidFill>
                  <a:cs typeface="Arial" panose="020B0604020202020204" pitchFamily="34" charset="0"/>
                </a:rPr>
                <a:t>We deliver our customers peace of mind every day by helping them protect what they value most</a:t>
              </a:r>
            </a:p>
          </p:txBody>
        </p:sp>
        <p:sp>
          <p:nvSpPr>
            <p:cNvPr id="12" name="AutoShape 10">
              <a:hlinkClick r:id="" action="ppaction://noaction" highlightClick="1"/>
            </p:cNvPr>
            <p:cNvSpPr>
              <a:spLocks noChangeArrowheads="1"/>
            </p:cNvSpPr>
            <p:nvPr/>
          </p:nvSpPr>
          <p:spPr bwMode="auto">
            <a:xfrm>
              <a:off x="1542976" y="2552867"/>
              <a:ext cx="6046371" cy="563336"/>
            </a:xfrm>
            <a:prstGeom prst="actionButtonBlank">
              <a:avLst/>
            </a:prstGeom>
            <a:solidFill>
              <a:srgbClr val="0A2652"/>
            </a:solidFill>
            <a:ln w="3175" cmpd="sng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6885" tIns="28441" rIns="56885" bIns="28441" anchor="ctr"/>
            <a:lstStyle/>
            <a:p>
              <a:pPr algn="ctr" defTabSz="568967" fontAlgn="base">
                <a:spcBef>
                  <a:spcPct val="0"/>
                </a:spcBef>
                <a:spcAft>
                  <a:spcPts val="234"/>
                </a:spcAft>
              </a:pPr>
              <a:endParaRPr lang="en-US" sz="105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696880" y="2668974"/>
              <a:ext cx="1208007" cy="331114"/>
            </a:xfrm>
            <a:prstGeom prst="rect">
              <a:avLst/>
            </a:prstGeom>
            <a:noFill/>
          </p:spPr>
          <p:txBody>
            <a:bodyPr wrap="square" lIns="97316" tIns="48658" rIns="97316" bIns="48658" rtlCol="0">
              <a:spAutoFit/>
            </a:bodyPr>
            <a:lstStyle/>
            <a:p>
              <a:pPr algn="ctr" defTabSz="729515" fontAlgn="base">
                <a:spcBef>
                  <a:spcPct val="0"/>
                </a:spcBef>
                <a:spcAft>
                  <a:spcPct val="0"/>
                </a:spcAft>
                <a:tabLst>
                  <a:tab pos="2432954" algn="ctr"/>
                  <a:tab pos="6695694" algn="ctr"/>
                </a:tabLst>
                <a:defRPr/>
              </a:pPr>
              <a:r>
                <a:rPr lang="en-US" sz="1050" b="1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anose="020B0604020202020204" pitchFamily="34" charset="0"/>
                </a:rPr>
                <a:t>Sustain Profitability (10% ROE | 95% CR)</a:t>
              </a:r>
              <a:endParaRPr lang="en-US" sz="105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endParaRPr>
            </a:p>
          </p:txBody>
        </p:sp>
        <p:cxnSp>
          <p:nvCxnSpPr>
            <p:cNvPr id="14" name="Straight Connector 13"/>
            <p:cNvCxnSpPr/>
            <p:nvPr/>
          </p:nvCxnSpPr>
          <p:spPr>
            <a:xfrm>
              <a:off x="3001157" y="2619001"/>
              <a:ext cx="0" cy="43106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3337931" y="2662929"/>
              <a:ext cx="946520" cy="343206"/>
            </a:xfrm>
            <a:prstGeom prst="rect">
              <a:avLst/>
            </a:prstGeom>
            <a:noFill/>
          </p:spPr>
          <p:txBody>
            <a:bodyPr wrap="square" lIns="97316" tIns="48658" rIns="97316" bIns="48658" rtlCol="0">
              <a:spAutoFit/>
            </a:bodyPr>
            <a:lstStyle/>
            <a:p>
              <a:pPr algn="ctr" defTabSz="729515" fontAlgn="base">
                <a:spcBef>
                  <a:spcPct val="0"/>
                </a:spcBef>
                <a:spcAft>
                  <a:spcPct val="0"/>
                </a:spcAft>
                <a:tabLst>
                  <a:tab pos="2432954" algn="ctr"/>
                  <a:tab pos="6695694" algn="ctr"/>
                </a:tabLst>
                <a:defRPr/>
              </a:pPr>
              <a:r>
                <a:rPr lang="en-US" sz="1050" b="1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anose="020B0604020202020204" pitchFamily="34" charset="0"/>
                </a:rPr>
                <a:t>Grow at 2x the Industry</a:t>
              </a:r>
              <a:endParaRPr lang="en-US" sz="105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endParaRPr>
            </a:p>
          </p:txBody>
        </p:sp>
        <p:cxnSp>
          <p:nvCxnSpPr>
            <p:cNvPr id="16" name="Straight Connector 15"/>
            <p:cNvCxnSpPr/>
            <p:nvPr/>
          </p:nvCxnSpPr>
          <p:spPr>
            <a:xfrm>
              <a:off x="4626909" y="2619001"/>
              <a:ext cx="0" cy="43106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4815931" y="2732452"/>
              <a:ext cx="1114327" cy="204161"/>
            </a:xfrm>
            <a:prstGeom prst="rect">
              <a:avLst/>
            </a:prstGeom>
            <a:noFill/>
          </p:spPr>
          <p:txBody>
            <a:bodyPr wrap="square" lIns="97316" tIns="48658" rIns="97316" bIns="48658" rtlCol="0">
              <a:spAutoFit/>
            </a:bodyPr>
            <a:lstStyle/>
            <a:p>
              <a:pPr algn="ctr" defTabSz="729515" fontAlgn="base">
                <a:spcBef>
                  <a:spcPct val="0"/>
                </a:spcBef>
                <a:spcAft>
                  <a:spcPct val="0"/>
                </a:spcAft>
                <a:tabLst>
                  <a:tab pos="2432954" algn="ctr"/>
                  <a:tab pos="6695694" algn="ctr"/>
                </a:tabLst>
                <a:defRPr/>
              </a:pPr>
              <a:r>
                <a:rPr lang="en-US" sz="1050" b="1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anose="020B0604020202020204" pitchFamily="34" charset="0"/>
                </a:rPr>
                <a:t>Achieve Top 3 NPS</a:t>
              </a:r>
              <a:endParaRPr lang="en-US" sz="105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endParaRPr>
            </a:p>
          </p:txBody>
        </p:sp>
        <p:cxnSp>
          <p:nvCxnSpPr>
            <p:cNvPr id="18" name="Straight Connector 17"/>
            <p:cNvCxnSpPr/>
            <p:nvPr/>
          </p:nvCxnSpPr>
          <p:spPr>
            <a:xfrm>
              <a:off x="6067734" y="2619001"/>
              <a:ext cx="0" cy="43106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6150715" y="2605501"/>
              <a:ext cx="1407477" cy="458067"/>
            </a:xfrm>
            <a:prstGeom prst="rect">
              <a:avLst/>
            </a:prstGeom>
            <a:noFill/>
          </p:spPr>
          <p:txBody>
            <a:bodyPr wrap="square" lIns="97316" tIns="48658" rIns="97316" bIns="48658" rtlCol="0">
              <a:spAutoFit/>
            </a:bodyPr>
            <a:lstStyle/>
            <a:p>
              <a:pPr algn="ctr" defTabSz="729515" fontAlgn="base">
                <a:spcBef>
                  <a:spcPct val="0"/>
                </a:spcBef>
                <a:spcAft>
                  <a:spcPct val="0"/>
                </a:spcAft>
                <a:tabLst>
                  <a:tab pos="2432954" algn="ctr"/>
                  <a:tab pos="6695694" algn="ctr"/>
                </a:tabLst>
                <a:defRPr/>
              </a:pPr>
              <a:r>
                <a:rPr lang="en-US" sz="1050" b="1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anose="020B0604020202020204" pitchFamily="34" charset="0"/>
                </a:rPr>
                <a:t>Generate &gt;10% Revenue from Non-Traditional Sources</a:t>
              </a:r>
              <a:endParaRPr lang="en-US" sz="105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4601112" y="6248400"/>
            <a:ext cx="69050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>
                <a:solidFill>
                  <a:schemeClr val="tx1">
                    <a:lumMod val="50000"/>
                  </a:schemeClr>
                </a:solidFill>
              </a:rPr>
              <a:t>Source</a:t>
            </a:r>
            <a:r>
              <a:rPr lang="en-US" sz="800" i="1" dirty="0" smtClean="0">
                <a:solidFill>
                  <a:schemeClr val="tx1">
                    <a:lumMod val="50000"/>
                  </a:schemeClr>
                </a:solidFill>
              </a:rPr>
              <a:t>: https</a:t>
            </a:r>
            <a:r>
              <a:rPr lang="en-US" sz="800" i="1" dirty="0">
                <a:solidFill>
                  <a:schemeClr val="tx1">
                    <a:lumMod val="50000"/>
                  </a:schemeClr>
                </a:solidFill>
              </a:rPr>
              <a:t>://myliberty.lmig.com/en-us/SBUorDEPTs/Personal/Our-Strategy/Pages/default.aspx </a:t>
            </a:r>
          </a:p>
        </p:txBody>
      </p:sp>
      <p:sp>
        <p:nvSpPr>
          <p:cNvPr id="26" name="Freeform 25"/>
          <p:cNvSpPr>
            <a:spLocks noChangeAspect="1"/>
          </p:cNvSpPr>
          <p:nvPr/>
        </p:nvSpPr>
        <p:spPr bwMode="auto">
          <a:xfrm rot="16200000" flipH="1">
            <a:off x="7241445" y="3274157"/>
            <a:ext cx="833312" cy="2209801"/>
          </a:xfrm>
          <a:custGeom>
            <a:avLst/>
            <a:gdLst>
              <a:gd name="T0" fmla="*/ 6466127 w 3884"/>
              <a:gd name="T1" fmla="*/ 906239920 h 1600"/>
              <a:gd name="T2" fmla="*/ 50291718 w 3884"/>
              <a:gd name="T3" fmla="*/ 974914910 h 1600"/>
              <a:gd name="T4" fmla="*/ 82948586 w 3884"/>
              <a:gd name="T5" fmla="*/ 595182706 h 1600"/>
              <a:gd name="T6" fmla="*/ 42345213 w 3884"/>
              <a:gd name="T7" fmla="*/ 92240043 h 1600"/>
              <a:gd name="T8" fmla="*/ 1611109 w 3884"/>
              <a:gd name="T9" fmla="*/ 487457455 h 1600"/>
              <a:gd name="T10" fmla="*/ 17003332 w 3884"/>
              <a:gd name="T11" fmla="*/ 721760654 h 1600"/>
              <a:gd name="T12" fmla="*/ 0 w 3884"/>
              <a:gd name="T13" fmla="*/ 487457455 h 1600"/>
              <a:gd name="T14" fmla="*/ 42475795 w 3884"/>
              <a:gd name="T15" fmla="*/ 45783601 h 1600"/>
              <a:gd name="T16" fmla="*/ 84429112 w 3884"/>
              <a:gd name="T17" fmla="*/ 595182706 h 1600"/>
              <a:gd name="T18" fmla="*/ 49551455 w 3884"/>
              <a:gd name="T19" fmla="*/ 1025411686 h 1600"/>
              <a:gd name="T20" fmla="*/ 6466127 w 3884"/>
              <a:gd name="T21" fmla="*/ 906239920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C000"/>
          </a:solidFill>
          <a:ln w="12700">
            <a:solidFill>
              <a:srgbClr val="FFC000"/>
            </a:solidFill>
            <a:round/>
            <a:headEnd/>
            <a:tailEnd/>
          </a:ln>
          <a:effectLst/>
        </p:spPr>
        <p:txBody>
          <a:bodyPr vert="vert270" tIns="91440" bIns="9144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28600" y="990600"/>
            <a:ext cx="8686800" cy="1600200"/>
          </a:xfrm>
          <a:prstGeom prst="rect">
            <a:avLst/>
          </a:prstGeom>
          <a:solidFill>
            <a:schemeClr val="tx2">
              <a:lumMod val="85000"/>
            </a:schemeClr>
          </a:solidFill>
          <a:ln>
            <a:solidFill>
              <a:schemeClr val="bg1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grpSp>
        <p:nvGrpSpPr>
          <p:cNvPr id="23" name="Group 22"/>
          <p:cNvGrpSpPr/>
          <p:nvPr/>
        </p:nvGrpSpPr>
        <p:grpSpPr>
          <a:xfrm>
            <a:off x="389297" y="1153227"/>
            <a:ext cx="8305800" cy="1279440"/>
            <a:chOff x="3499624" y="1348559"/>
            <a:chExt cx="5069531" cy="949341"/>
          </a:xfrm>
        </p:grpSpPr>
        <p:sp>
          <p:nvSpPr>
            <p:cNvPr id="30" name="Rectangle 29"/>
            <p:cNvSpPr/>
            <p:nvPr/>
          </p:nvSpPr>
          <p:spPr>
            <a:xfrm>
              <a:off x="6321255" y="1352871"/>
              <a:ext cx="2247900" cy="945029"/>
            </a:xfrm>
            <a:prstGeom prst="rect">
              <a:avLst/>
            </a:prstGeom>
            <a:ln>
              <a:prstDash val="soli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chemeClr val="bg2">
                      <a:lumMod val="50000"/>
                    </a:schemeClr>
                  </a:solidFill>
                </a:rPr>
                <a:t>Innovation Department:</a:t>
              </a:r>
            </a:p>
            <a:p>
              <a:pPr algn="ctr"/>
              <a:endParaRPr lang="en-US" sz="1600" dirty="0"/>
            </a:p>
            <a:p>
              <a:pPr algn="ctr"/>
              <a:r>
                <a:rPr lang="en-US" sz="1600" b="1" dirty="0" smtClean="0"/>
                <a:t>4 Ventures in 2017</a:t>
              </a:r>
              <a:endParaRPr lang="en-US" sz="1600" b="1" dirty="0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3499624" y="1348559"/>
              <a:ext cx="2247900" cy="945029"/>
            </a:xfrm>
            <a:prstGeom prst="rect">
              <a:avLst/>
            </a:prstGeom>
            <a:ln>
              <a:prstDash val="solid"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chemeClr val="bg2">
                      <a:lumMod val="50000"/>
                    </a:schemeClr>
                  </a:solidFill>
                </a:rPr>
                <a:t>Liberty Mutual:</a:t>
              </a:r>
            </a:p>
            <a:p>
              <a:pPr algn="ctr"/>
              <a:endParaRPr lang="en-US" sz="1600" dirty="0"/>
            </a:p>
            <a:p>
              <a:pPr algn="ctr"/>
              <a:r>
                <a:rPr lang="en-US" sz="1600" b="1" dirty="0" smtClean="0"/>
                <a:t>10% Non-Traditional Revenue</a:t>
              </a:r>
              <a:endParaRPr lang="en-US" sz="1600" b="1" dirty="0"/>
            </a:p>
          </p:txBody>
        </p:sp>
        <p:sp>
          <p:nvSpPr>
            <p:cNvPr id="33" name="Right Arrow 32"/>
            <p:cNvSpPr/>
            <p:nvPr/>
          </p:nvSpPr>
          <p:spPr>
            <a:xfrm>
              <a:off x="5800725" y="1643093"/>
              <a:ext cx="457200" cy="340783"/>
            </a:xfrm>
            <a:prstGeom prst="rightArrow">
              <a:avLst/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  <a:prstDash val="solid"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</p:spTree>
    <p:extLst>
      <p:ext uri="{BB962C8B-B14F-4D97-AF65-F5344CB8AC3E}">
        <p14:creationId xmlns:p14="http://schemas.microsoft.com/office/powerpoint/2010/main" val="824727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5</a:t>
            </a:fld>
            <a:endParaRPr lang="en-US">
              <a:solidFill>
                <a:srgbClr val="FFFFFF">
                  <a:alpha val="99000"/>
                </a:srgb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oduct </a:t>
            </a:r>
            <a:r>
              <a:rPr lang="en-US" dirty="0" smtClean="0"/>
              <a:t>Innovation </a:t>
            </a:r>
            <a:r>
              <a:rPr lang="en-US" dirty="0"/>
              <a:t>Team </a:t>
            </a:r>
            <a:r>
              <a:rPr lang="en-US" dirty="0" smtClean="0"/>
              <a:t>Overview</a:t>
            </a:r>
          </a:p>
          <a:p>
            <a:r>
              <a:rPr lang="en-US" b="1" dirty="0" smtClean="0"/>
              <a:t>Parametric Snow Insurance</a:t>
            </a:r>
          </a:p>
          <a:p>
            <a:r>
              <a:rPr lang="en-US" dirty="0" smtClean="0"/>
              <a:t>Leveraging Telematics</a:t>
            </a:r>
          </a:p>
          <a:p>
            <a:r>
              <a:rPr lang="en-US" dirty="0"/>
              <a:t>Key Takeaways &amp; Acknowledgements</a:t>
            </a:r>
          </a:p>
          <a:p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B365D0-5BFF-4591-B84D-8953AC9A16AD}" type="datetime1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8/6/2018</a:t>
            </a:fld>
            <a:endParaRPr lang="en-US" dirty="0">
              <a:solidFill>
                <a:srgbClr val="FFFFFF">
                  <a:alpha val="99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15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Object 6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0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8/6/2018</a:t>
            </a:fld>
            <a:endParaRPr lang="en-US"/>
          </a:p>
        </p:txBody>
      </p:sp>
      <p:sp>
        <p:nvSpPr>
          <p:cNvPr id="38" name="Title 4"/>
          <p:cNvSpPr>
            <a:spLocks noGrp="1"/>
          </p:cNvSpPr>
          <p:nvPr>
            <p:ph type="title"/>
          </p:nvPr>
        </p:nvSpPr>
        <p:spPr>
          <a:xfrm>
            <a:off x="387966" y="226257"/>
            <a:ext cx="8305800" cy="487363"/>
          </a:xfrm>
        </p:spPr>
        <p:txBody>
          <a:bodyPr anchor="ctr">
            <a:noAutofit/>
          </a:bodyPr>
          <a:lstStyle/>
          <a:p>
            <a:r>
              <a:rPr lang="en-US" dirty="0" smtClean="0"/>
              <a:t>Parametric Snow Insurance leverages </a:t>
            </a:r>
            <a:r>
              <a:rPr lang="en-US" dirty="0"/>
              <a:t>data to provide an instant payment when a pre-defined event occurs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33"/>
          <a:stretch/>
        </p:blipFill>
        <p:spPr>
          <a:xfrm>
            <a:off x="2453367" y="5097870"/>
            <a:ext cx="512495" cy="444163"/>
          </a:xfrm>
          <a:prstGeom prst="rect">
            <a:avLst/>
          </a:prstGeom>
        </p:spPr>
      </p:pic>
      <p:sp>
        <p:nvSpPr>
          <p:cNvPr id="84" name="Rounded Rectangle 83"/>
          <p:cNvSpPr/>
          <p:nvPr/>
        </p:nvSpPr>
        <p:spPr>
          <a:xfrm>
            <a:off x="2006232" y="5683449"/>
            <a:ext cx="1846233" cy="55479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City of Cambridge buys</a:t>
            </a:r>
            <a:endParaRPr lang="en-US" sz="1200" dirty="0">
              <a:solidFill>
                <a:schemeClr val="tx1"/>
              </a:solidFill>
            </a:endParaRP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$20K </a:t>
            </a:r>
            <a:r>
              <a:rPr lang="en-US" sz="1200" dirty="0">
                <a:solidFill>
                  <a:schemeClr val="tx1"/>
                </a:solidFill>
              </a:rPr>
              <a:t>parametric </a:t>
            </a:r>
            <a:r>
              <a:rPr lang="en-US" sz="1200" dirty="0" smtClean="0">
                <a:solidFill>
                  <a:schemeClr val="tx1"/>
                </a:solidFill>
              </a:rPr>
              <a:t>Snow policy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86" name="Rounded Rectangle 85"/>
          <p:cNvSpPr/>
          <p:nvPr/>
        </p:nvSpPr>
        <p:spPr>
          <a:xfrm>
            <a:off x="3810000" y="5683449"/>
            <a:ext cx="1631518" cy="55479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Snowstorm hits Cambridge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87" name="Rounded Rectangle 86"/>
          <p:cNvSpPr/>
          <p:nvPr/>
        </p:nvSpPr>
        <p:spPr>
          <a:xfrm>
            <a:off x="6918960" y="5683449"/>
            <a:ext cx="1865676" cy="55479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$20K </a:t>
            </a:r>
            <a:r>
              <a:rPr lang="en-US" sz="1200" dirty="0">
                <a:solidFill>
                  <a:schemeClr val="tx1"/>
                </a:solidFill>
              </a:rPr>
              <a:t>EFT to </a:t>
            </a:r>
            <a:r>
              <a:rPr lang="en-US" sz="1200" dirty="0" smtClean="0">
                <a:solidFill>
                  <a:schemeClr val="tx1"/>
                </a:solidFill>
              </a:rPr>
              <a:t>Cambridge 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7" name="Rounded Rectangle 46"/>
          <p:cNvSpPr/>
          <p:nvPr/>
        </p:nvSpPr>
        <p:spPr>
          <a:xfrm>
            <a:off x="367323" y="4761420"/>
            <a:ext cx="1613878" cy="1492740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now Insurance Example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 rotWithShape="1">
          <a:blip r:embed="rId9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778"/>
          <a:stretch/>
        </p:blipFill>
        <p:spPr>
          <a:xfrm>
            <a:off x="2904541" y="5024241"/>
            <a:ext cx="455338" cy="374390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667"/>
          <a:stretch/>
        </p:blipFill>
        <p:spPr>
          <a:xfrm>
            <a:off x="4334492" y="5090027"/>
            <a:ext cx="590062" cy="491718"/>
          </a:xfrm>
          <a:prstGeom prst="rect">
            <a:avLst/>
          </a:prstGeom>
        </p:spPr>
      </p:pic>
      <p:cxnSp>
        <p:nvCxnSpPr>
          <p:cNvPr id="10" name="Straight Arrow Connector 9"/>
          <p:cNvCxnSpPr>
            <a:stCxn id="59" idx="3"/>
          </p:cNvCxnSpPr>
          <p:nvPr/>
        </p:nvCxnSpPr>
        <p:spPr>
          <a:xfrm flipV="1">
            <a:off x="1977292" y="1158630"/>
            <a:ext cx="6480908" cy="6840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  <a:effec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9" name="Rounded Rectangle 58"/>
          <p:cNvSpPr/>
          <p:nvPr/>
        </p:nvSpPr>
        <p:spPr>
          <a:xfrm>
            <a:off x="381000" y="959340"/>
            <a:ext cx="1596292" cy="412260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Time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367324" y="1429576"/>
            <a:ext cx="8319475" cy="1541500"/>
            <a:chOff x="367324" y="1506500"/>
            <a:chExt cx="8319475" cy="1541500"/>
          </a:xfrm>
        </p:grpSpPr>
        <p:sp>
          <p:nvSpPr>
            <p:cNvPr id="55" name="Rounded Rectangle 54"/>
            <p:cNvSpPr/>
            <p:nvPr/>
          </p:nvSpPr>
          <p:spPr>
            <a:xfrm>
              <a:off x="1403018" y="1506500"/>
              <a:ext cx="7283781" cy="1530295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60" name="Rounded Rectangle 59"/>
            <p:cNvSpPr/>
            <p:nvPr/>
          </p:nvSpPr>
          <p:spPr>
            <a:xfrm>
              <a:off x="367324" y="1506500"/>
              <a:ext cx="1613878" cy="1541500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1"/>
                  </a:solidFill>
                </a:rPr>
                <a:t>Traditional</a:t>
              </a:r>
            </a:p>
            <a:p>
              <a:pPr algn="ctr"/>
              <a:r>
                <a:rPr lang="en-US">
                  <a:solidFill>
                    <a:schemeClr val="bg1"/>
                  </a:solidFill>
                </a:rPr>
                <a:t>Insurance</a:t>
              </a:r>
            </a:p>
          </p:txBody>
        </p:sp>
        <p:pic>
          <p:nvPicPr>
            <p:cNvPr id="28" name="Picture 27"/>
            <p:cNvPicPr>
              <a:picLocks noChangeAspect="1"/>
            </p:cNvPicPr>
            <p:nvPr/>
          </p:nvPicPr>
          <p:blipFill rotWithShape="1">
            <a:blip r:embed="rId9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778"/>
            <a:stretch/>
          </p:blipFill>
          <p:spPr>
            <a:xfrm>
              <a:off x="2364150" y="1693784"/>
              <a:ext cx="690931" cy="568100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10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667"/>
            <a:stretch/>
          </p:blipFill>
          <p:spPr>
            <a:xfrm>
              <a:off x="4334177" y="1732542"/>
              <a:ext cx="590062" cy="491718"/>
            </a:xfrm>
            <a:prstGeom prst="rect">
              <a:avLst/>
            </a:prstGeom>
          </p:spPr>
        </p:pic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05218" y="1700719"/>
              <a:ext cx="597924" cy="597924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12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17227" y="1635455"/>
              <a:ext cx="651508" cy="651508"/>
            </a:xfrm>
            <a:prstGeom prst="rect">
              <a:avLst/>
            </a:prstGeom>
          </p:spPr>
        </p:pic>
        <p:sp>
          <p:nvSpPr>
            <p:cNvPr id="31" name="Rectangle 30"/>
            <p:cNvSpPr/>
            <p:nvPr/>
          </p:nvSpPr>
          <p:spPr>
            <a:xfrm>
              <a:off x="3827176" y="2363355"/>
              <a:ext cx="1593254" cy="44370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spcBef>
                  <a:spcPts val="600"/>
                </a:spcBef>
              </a:pPr>
              <a:r>
                <a:rPr lang="en-US" sz="1400">
                  <a:solidFill>
                    <a:schemeClr val="tx1"/>
                  </a:solidFill>
                </a:rPr>
                <a:t>Insurable event happens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5519008" y="2377740"/>
              <a:ext cx="1570343" cy="44370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spcBef>
                  <a:spcPts val="600"/>
                </a:spcBef>
              </a:pPr>
              <a:r>
                <a:rPr lang="en-US" sz="1400">
                  <a:solidFill>
                    <a:schemeClr val="tx1"/>
                  </a:solidFill>
                </a:rPr>
                <a:t>Damage assessed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7240246" y="2414343"/>
              <a:ext cx="1183244" cy="44370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spcBef>
                  <a:spcPts val="600"/>
                </a:spcBef>
              </a:pPr>
              <a:r>
                <a:rPr lang="en-US" sz="1400">
                  <a:solidFill>
                    <a:schemeClr val="tx1"/>
                  </a:solidFill>
                </a:rPr>
                <a:t>Claim paid</a:t>
              </a: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2182418" y="2362767"/>
              <a:ext cx="1493863" cy="4822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spcBef>
                  <a:spcPts val="600"/>
                </a:spcBef>
              </a:pPr>
              <a:r>
                <a:rPr lang="en-US" sz="1400" dirty="0">
                  <a:solidFill>
                    <a:schemeClr val="tx1"/>
                  </a:solidFill>
                </a:rPr>
                <a:t>Contract sets coverage limit</a:t>
              </a:r>
            </a:p>
          </p:txBody>
        </p:sp>
        <p:cxnSp>
          <p:nvCxnSpPr>
            <p:cNvPr id="16" name="Straight Arrow Connector 15"/>
            <p:cNvCxnSpPr>
              <a:endCxn id="17" idx="2"/>
            </p:cNvCxnSpPr>
            <p:nvPr/>
          </p:nvCxnSpPr>
          <p:spPr>
            <a:xfrm flipV="1">
              <a:off x="3210639" y="1977834"/>
              <a:ext cx="0" cy="243016"/>
            </a:xfrm>
            <a:prstGeom prst="straightConnector1">
              <a:avLst/>
            </a:prstGeom>
            <a:ln w="28575">
              <a:solidFill>
                <a:srgbClr val="2C5983"/>
              </a:solidFill>
              <a:tailEnd type="triangle"/>
            </a:ln>
            <a:effectLst/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3061399" y="1639280"/>
              <a:ext cx="29848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>
                  <a:solidFill>
                    <a:srgbClr val="2C5983"/>
                  </a:solidFill>
                </a:rPr>
                <a:t>$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367323" y="3106989"/>
            <a:ext cx="8319475" cy="1538884"/>
            <a:chOff x="367323" y="3261716"/>
            <a:chExt cx="8319475" cy="1538884"/>
          </a:xfrm>
        </p:grpSpPr>
        <p:sp>
          <p:nvSpPr>
            <p:cNvPr id="56" name="Rounded Rectangle 55"/>
            <p:cNvSpPr/>
            <p:nvPr/>
          </p:nvSpPr>
          <p:spPr>
            <a:xfrm>
              <a:off x="1403017" y="3261716"/>
              <a:ext cx="7283781" cy="1530295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2866387" y="3602166"/>
              <a:ext cx="664310" cy="2922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spcBef>
                  <a:spcPts val="600"/>
                </a:spcBef>
              </a:pPr>
              <a:r>
                <a:rPr lang="en-US" sz="1600">
                  <a:solidFill>
                    <a:srgbClr val="BC7700"/>
                  </a:solidFill>
                </a:rPr>
                <a:t>$</a:t>
              </a:r>
            </a:p>
          </p:txBody>
        </p:sp>
        <p:sp>
          <p:nvSpPr>
            <p:cNvPr id="61" name="Rounded Rectangle 60"/>
            <p:cNvSpPr/>
            <p:nvPr/>
          </p:nvSpPr>
          <p:spPr>
            <a:xfrm>
              <a:off x="367323" y="3266384"/>
              <a:ext cx="1613878" cy="1534216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bg1"/>
                  </a:solidFill>
                </a:rPr>
                <a:t>Parametric Insurance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2170516" y="4148633"/>
              <a:ext cx="1493863" cy="4822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spcBef>
                  <a:spcPts val="600"/>
                </a:spcBef>
              </a:pPr>
              <a:r>
                <a:rPr lang="en-US" sz="1400" dirty="0">
                  <a:solidFill>
                    <a:schemeClr val="tx1"/>
                  </a:solidFill>
                </a:rPr>
                <a:t>Event-Based payment model</a:t>
              </a:r>
            </a:p>
          </p:txBody>
        </p:sp>
        <p:pic>
          <p:nvPicPr>
            <p:cNvPr id="40" name="Picture 39"/>
            <p:cNvPicPr>
              <a:picLocks noChangeAspect="1"/>
            </p:cNvPicPr>
            <p:nvPr/>
          </p:nvPicPr>
          <p:blipFill rotWithShape="1">
            <a:blip r:embed="rId9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778"/>
            <a:stretch/>
          </p:blipFill>
          <p:spPr>
            <a:xfrm>
              <a:off x="2299895" y="3496021"/>
              <a:ext cx="690931" cy="568100"/>
            </a:xfrm>
            <a:prstGeom prst="rect">
              <a:avLst/>
            </a:prstGeom>
          </p:spPr>
        </p:pic>
        <p:pic>
          <p:nvPicPr>
            <p:cNvPr id="41" name="Picture 40"/>
            <p:cNvPicPr>
              <a:picLocks noChangeAspect="1"/>
            </p:cNvPicPr>
            <p:nvPr/>
          </p:nvPicPr>
          <p:blipFill rotWithShape="1">
            <a:blip r:embed="rId10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667"/>
            <a:stretch/>
          </p:blipFill>
          <p:spPr>
            <a:xfrm>
              <a:off x="4326820" y="3505410"/>
              <a:ext cx="590062" cy="491718"/>
            </a:xfrm>
            <a:prstGeom prst="rect">
              <a:avLst/>
            </a:prstGeom>
          </p:spPr>
        </p:pic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1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01098" y="3408323"/>
              <a:ext cx="651508" cy="651508"/>
            </a:xfrm>
            <a:prstGeom prst="rect">
              <a:avLst/>
            </a:prstGeom>
          </p:spPr>
        </p:pic>
        <p:sp>
          <p:nvSpPr>
            <p:cNvPr id="44" name="Rectangle 43"/>
            <p:cNvSpPr/>
            <p:nvPr/>
          </p:nvSpPr>
          <p:spPr>
            <a:xfrm>
              <a:off x="3819819" y="4136223"/>
              <a:ext cx="1593254" cy="44370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spcBef>
                  <a:spcPts val="600"/>
                </a:spcBef>
              </a:pPr>
              <a:r>
                <a:rPr lang="en-US" sz="1400" dirty="0">
                  <a:solidFill>
                    <a:schemeClr val="tx1"/>
                  </a:solidFill>
                </a:rPr>
                <a:t>Insurable event happens</a:t>
              </a: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7069567" y="4150608"/>
              <a:ext cx="1570343" cy="44370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spcBef>
                  <a:spcPts val="600"/>
                </a:spcBef>
              </a:pPr>
              <a:r>
                <a:rPr lang="en-US" sz="1400" dirty="0">
                  <a:solidFill>
                    <a:schemeClr val="tx1"/>
                  </a:solidFill>
                </a:rPr>
                <a:t>Instant payment based on model</a:t>
              </a: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5454271" y="4151736"/>
              <a:ext cx="1593254" cy="44370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spcBef>
                  <a:spcPts val="600"/>
                </a:spcBef>
              </a:pPr>
              <a:r>
                <a:rPr lang="en-US" sz="1400" dirty="0">
                  <a:solidFill>
                    <a:schemeClr val="tx1"/>
                  </a:solidFill>
                </a:rPr>
                <a:t>No need to assess damage</a:t>
              </a: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13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03718" y="3474243"/>
              <a:ext cx="601482" cy="601482"/>
            </a:xfrm>
            <a:prstGeom prst="rect">
              <a:avLst/>
            </a:prstGeom>
          </p:spPr>
        </p:pic>
        <p:sp>
          <p:nvSpPr>
            <p:cNvPr id="20" name="L-Shape 19"/>
            <p:cNvSpPr/>
            <p:nvPr/>
          </p:nvSpPr>
          <p:spPr>
            <a:xfrm rot="18716620">
              <a:off x="6045975" y="3641245"/>
              <a:ext cx="430799" cy="192664"/>
            </a:xfrm>
            <a:prstGeom prst="corner">
              <a:avLst/>
            </a:prstGeom>
            <a:solidFill>
              <a:srgbClr val="BC7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6" name="Rounded Rectangle 45"/>
          <p:cNvSpPr/>
          <p:nvPr/>
        </p:nvSpPr>
        <p:spPr>
          <a:xfrm>
            <a:off x="5463540" y="5683449"/>
            <a:ext cx="1536963" cy="55479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torm data triggers payment</a:t>
            </a:r>
          </a:p>
        </p:txBody>
      </p:sp>
      <p:pic>
        <p:nvPicPr>
          <p:cNvPr id="17560" name="Picture 152" descr="https://d30y9cdsu7xlg0.cloudfront.net/png/242837-200.png"/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064" y="5026075"/>
            <a:ext cx="619626" cy="61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7132" y="4987292"/>
            <a:ext cx="651508" cy="651508"/>
          </a:xfrm>
          <a:prstGeom prst="rect">
            <a:avLst/>
          </a:prstGeom>
        </p:spPr>
      </p:pic>
      <p:sp>
        <p:nvSpPr>
          <p:cNvPr id="50" name="Date Placeholder 3">
            <a:extLst>
              <a:ext uri="{FF2B5EF4-FFF2-40B4-BE49-F238E27FC236}">
                <a16:creationId xmlns:a16="http://schemas.microsoft.com/office/drawing/2014/main" xmlns="" id="{47E70344-FDD6-48F8-BF5B-177221D9A84C}"/>
              </a:ext>
            </a:extLst>
          </p:cNvPr>
          <p:cNvSpPr txBox="1">
            <a:spLocks/>
          </p:cNvSpPr>
          <p:nvPr/>
        </p:nvSpPr>
        <p:spPr>
          <a:xfrm>
            <a:off x="6324600" y="6446838"/>
            <a:ext cx="1981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alpha val="99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D5B9A0F-CCD0-4348-8112-2A1A806F4019}" type="datetime1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8/6/2018</a:t>
            </a:fld>
            <a:endParaRPr lang="en-US" dirty="0"/>
          </a:p>
        </p:txBody>
      </p:sp>
      <p:sp>
        <p:nvSpPr>
          <p:cNvPr id="51" name="Rounded Rectangle 50"/>
          <p:cNvSpPr/>
          <p:nvPr/>
        </p:nvSpPr>
        <p:spPr>
          <a:xfrm>
            <a:off x="387966" y="4773491"/>
            <a:ext cx="8307431" cy="1530295"/>
          </a:xfrm>
          <a:prstGeom prst="roundRect">
            <a:avLst/>
          </a:prstGeom>
          <a:noFill/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52" name="Rounded Rectangle 51"/>
          <p:cNvSpPr/>
          <p:nvPr/>
        </p:nvSpPr>
        <p:spPr>
          <a:xfrm>
            <a:off x="379366" y="4780281"/>
            <a:ext cx="1589792" cy="1523505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991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ounded Rectangle 55"/>
          <p:cNvSpPr/>
          <p:nvPr/>
        </p:nvSpPr>
        <p:spPr>
          <a:xfrm>
            <a:off x="990600" y="3217040"/>
            <a:ext cx="7696199" cy="3022804"/>
          </a:xfrm>
          <a:prstGeom prst="roundRect">
            <a:avLst>
              <a:gd name="adj" fmla="val 11542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55" name="Rounded Rectangle 54"/>
          <p:cNvSpPr/>
          <p:nvPr/>
        </p:nvSpPr>
        <p:spPr>
          <a:xfrm>
            <a:off x="990600" y="1600200"/>
            <a:ext cx="7696199" cy="1484598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>
              <a:solidFill>
                <a:schemeClr val="bg1"/>
              </a:solidFill>
            </a:endParaRPr>
          </a:p>
        </p:txBody>
      </p:sp>
      <p:graphicFrame>
        <p:nvGraphicFramePr>
          <p:cNvPr id="63" name="Object 6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0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>
                <a:solidFill>
                  <a:srgbClr val="FFFFFF">
                    <a:alpha val="99000"/>
                  </a:srgbClr>
                </a:solidFill>
              </a:rPr>
              <a:pPr/>
              <a:t>8/6/2018</a:t>
            </a:fld>
            <a:endParaRPr lang="en-US" dirty="0"/>
          </a:p>
        </p:txBody>
      </p:sp>
      <p:sp>
        <p:nvSpPr>
          <p:cNvPr id="38" name="Title 4"/>
          <p:cNvSpPr>
            <a:spLocks noGrp="1"/>
          </p:cNvSpPr>
          <p:nvPr>
            <p:ph type="title"/>
          </p:nvPr>
        </p:nvSpPr>
        <p:spPr>
          <a:xfrm>
            <a:off x="353468" y="252039"/>
            <a:ext cx="8305800" cy="487363"/>
          </a:xfrm>
        </p:spPr>
        <p:txBody>
          <a:bodyPr anchor="ctr">
            <a:noAutofit/>
          </a:bodyPr>
          <a:lstStyle/>
          <a:p>
            <a:r>
              <a:rPr lang="en-US" dirty="0"/>
              <a:t>In doing so, </a:t>
            </a:r>
            <a:r>
              <a:rPr lang="en-US" dirty="0" smtClean="0"/>
              <a:t>Parametric Snow Insurance </a:t>
            </a:r>
            <a:r>
              <a:rPr lang="en-US" dirty="0"/>
              <a:t>naturally solves some pain points of traditional insurance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367324" y="1601890"/>
            <a:ext cx="1461477" cy="1482908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raditional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Insurance</a:t>
            </a:r>
          </a:p>
        </p:txBody>
      </p:sp>
      <p:sp>
        <p:nvSpPr>
          <p:cNvPr id="61" name="Rounded Rectangle 60"/>
          <p:cNvSpPr/>
          <p:nvPr/>
        </p:nvSpPr>
        <p:spPr>
          <a:xfrm>
            <a:off x="367323" y="3213582"/>
            <a:ext cx="1461477" cy="3026262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Parametric Insuranc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828800" y="2212444"/>
            <a:ext cx="2285999" cy="6653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r>
              <a:rPr lang="en-US" sz="1400" dirty="0"/>
              <a:t>“How much coverage if...”</a:t>
            </a:r>
          </a:p>
          <a:p>
            <a:pPr algn="ctr">
              <a:lnSpc>
                <a:spcPts val="2200"/>
              </a:lnSpc>
            </a:pPr>
            <a:r>
              <a:rPr lang="en-US" sz="1400" dirty="0"/>
              <a:t>High deductible</a:t>
            </a:r>
          </a:p>
          <a:p>
            <a:pPr algn="ctr">
              <a:lnSpc>
                <a:spcPts val="2200"/>
              </a:lnSpc>
            </a:pPr>
            <a:r>
              <a:rPr lang="en-US" sz="1400" dirty="0"/>
              <a:t>Home inspection</a:t>
            </a:r>
          </a:p>
        </p:txBody>
      </p:sp>
      <p:sp>
        <p:nvSpPr>
          <p:cNvPr id="78" name="Rectangle 77"/>
          <p:cNvSpPr/>
          <p:nvPr/>
        </p:nvSpPr>
        <p:spPr>
          <a:xfrm>
            <a:off x="1828800" y="3634696"/>
            <a:ext cx="2285999" cy="1017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r>
              <a:rPr lang="en-US" sz="1400" dirty="0"/>
              <a:t>Transparent coverage</a:t>
            </a:r>
          </a:p>
          <a:p>
            <a:pPr algn="ctr">
              <a:lnSpc>
                <a:spcPts val="2200"/>
              </a:lnSpc>
            </a:pPr>
            <a:r>
              <a:rPr lang="en-US" sz="1400" dirty="0"/>
              <a:t>No deductible</a:t>
            </a:r>
          </a:p>
          <a:p>
            <a:pPr algn="ctr">
              <a:lnSpc>
                <a:spcPts val="2200"/>
              </a:lnSpc>
            </a:pPr>
            <a:r>
              <a:rPr lang="en-US" sz="1400" dirty="0"/>
              <a:t>Instant approval</a:t>
            </a:r>
          </a:p>
        </p:txBody>
      </p:sp>
      <p:sp>
        <p:nvSpPr>
          <p:cNvPr id="81" name="Rectangle 80"/>
          <p:cNvSpPr/>
          <p:nvPr/>
        </p:nvSpPr>
        <p:spPr>
          <a:xfrm>
            <a:off x="4114799" y="3701462"/>
            <a:ext cx="2285999" cy="8941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r>
              <a:rPr lang="en-US" sz="1400" dirty="0"/>
              <a:t>Instant payment</a:t>
            </a:r>
          </a:p>
          <a:p>
            <a:pPr algn="ctr">
              <a:lnSpc>
                <a:spcPts val="2200"/>
              </a:lnSpc>
            </a:pPr>
            <a:r>
              <a:rPr lang="en-US" sz="1400" dirty="0"/>
              <a:t>No customer action</a:t>
            </a:r>
          </a:p>
          <a:p>
            <a:pPr algn="ctr">
              <a:lnSpc>
                <a:spcPts val="2200"/>
              </a:lnSpc>
            </a:pPr>
            <a:r>
              <a:rPr lang="en-US" sz="1400" dirty="0"/>
              <a:t>Low LAE; short-tailed</a:t>
            </a:r>
          </a:p>
        </p:txBody>
      </p:sp>
      <p:sp>
        <p:nvSpPr>
          <p:cNvPr id="82" name="Rectangle 81"/>
          <p:cNvSpPr/>
          <p:nvPr/>
        </p:nvSpPr>
        <p:spPr>
          <a:xfrm>
            <a:off x="4114800" y="2305254"/>
            <a:ext cx="2285999" cy="5058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r>
              <a:rPr lang="en-US" sz="1400" dirty="0"/>
              <a:t>Claim forms</a:t>
            </a:r>
          </a:p>
          <a:p>
            <a:pPr algn="ctr">
              <a:lnSpc>
                <a:spcPts val="2200"/>
              </a:lnSpc>
            </a:pPr>
            <a:r>
              <a:rPr lang="en-US" sz="1400" dirty="0"/>
              <a:t>Lengthy process</a:t>
            </a:r>
          </a:p>
          <a:p>
            <a:pPr algn="ctr">
              <a:lnSpc>
                <a:spcPts val="2200"/>
              </a:lnSpc>
            </a:pPr>
            <a:r>
              <a:rPr lang="en-US" sz="1400" dirty="0"/>
              <a:t>“That’s not covered?”</a:t>
            </a:r>
          </a:p>
        </p:txBody>
      </p:sp>
      <p:sp>
        <p:nvSpPr>
          <p:cNvPr id="83" name="Rectangle 82"/>
          <p:cNvSpPr/>
          <p:nvPr/>
        </p:nvSpPr>
        <p:spPr>
          <a:xfrm>
            <a:off x="6400799" y="3893349"/>
            <a:ext cx="2285999" cy="4936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No rate increase due to individual claims</a:t>
            </a:r>
          </a:p>
        </p:txBody>
      </p:sp>
      <p:sp>
        <p:nvSpPr>
          <p:cNvPr id="84" name="Rectangle 83"/>
          <p:cNvSpPr/>
          <p:nvPr/>
        </p:nvSpPr>
        <p:spPr>
          <a:xfrm>
            <a:off x="6400800" y="2305254"/>
            <a:ext cx="2285998" cy="5058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Rate increase</a:t>
            </a:r>
          </a:p>
        </p:txBody>
      </p:sp>
      <p:sp>
        <p:nvSpPr>
          <p:cNvPr id="21" name="Oval 20"/>
          <p:cNvSpPr/>
          <p:nvPr/>
        </p:nvSpPr>
        <p:spPr>
          <a:xfrm>
            <a:off x="2819399" y="3337351"/>
            <a:ext cx="304800" cy="3048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+</a:t>
            </a:r>
          </a:p>
        </p:txBody>
      </p:sp>
      <p:sp>
        <p:nvSpPr>
          <p:cNvPr id="52" name="Oval 51"/>
          <p:cNvSpPr/>
          <p:nvPr/>
        </p:nvSpPr>
        <p:spPr>
          <a:xfrm>
            <a:off x="2819399" y="1760085"/>
            <a:ext cx="304800" cy="3048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-</a:t>
            </a:r>
          </a:p>
        </p:txBody>
      </p:sp>
      <p:sp>
        <p:nvSpPr>
          <p:cNvPr id="22" name="Pentagon 21"/>
          <p:cNvSpPr/>
          <p:nvPr/>
        </p:nvSpPr>
        <p:spPr>
          <a:xfrm>
            <a:off x="1828800" y="990600"/>
            <a:ext cx="2286000" cy="483769"/>
          </a:xfrm>
          <a:prstGeom prst="homePlate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urchase</a:t>
            </a:r>
          </a:p>
        </p:txBody>
      </p:sp>
      <p:sp>
        <p:nvSpPr>
          <p:cNvPr id="23" name="Chevron 22"/>
          <p:cNvSpPr/>
          <p:nvPr/>
        </p:nvSpPr>
        <p:spPr>
          <a:xfrm>
            <a:off x="4114801" y="990601"/>
            <a:ext cx="2285999" cy="482078"/>
          </a:xfrm>
          <a:prstGeom prst="chevron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Claim</a:t>
            </a:r>
          </a:p>
        </p:txBody>
      </p:sp>
      <p:sp>
        <p:nvSpPr>
          <p:cNvPr id="62" name="Oval 61"/>
          <p:cNvSpPr/>
          <p:nvPr/>
        </p:nvSpPr>
        <p:spPr>
          <a:xfrm>
            <a:off x="5105399" y="3337351"/>
            <a:ext cx="304800" cy="3048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+</a:t>
            </a:r>
          </a:p>
        </p:txBody>
      </p:sp>
      <p:sp>
        <p:nvSpPr>
          <p:cNvPr id="68" name="Oval 67"/>
          <p:cNvSpPr/>
          <p:nvPr/>
        </p:nvSpPr>
        <p:spPr>
          <a:xfrm>
            <a:off x="7391398" y="3337351"/>
            <a:ext cx="304800" cy="3048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+</a:t>
            </a:r>
          </a:p>
        </p:txBody>
      </p:sp>
      <p:sp>
        <p:nvSpPr>
          <p:cNvPr id="70" name="Oval 69"/>
          <p:cNvSpPr/>
          <p:nvPr/>
        </p:nvSpPr>
        <p:spPr>
          <a:xfrm>
            <a:off x="7391398" y="1760085"/>
            <a:ext cx="304800" cy="3048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-</a:t>
            </a:r>
          </a:p>
        </p:txBody>
      </p:sp>
      <p:sp>
        <p:nvSpPr>
          <p:cNvPr id="72" name="Oval 71"/>
          <p:cNvSpPr/>
          <p:nvPr/>
        </p:nvSpPr>
        <p:spPr>
          <a:xfrm>
            <a:off x="5105399" y="1756499"/>
            <a:ext cx="304800" cy="3048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-</a:t>
            </a:r>
          </a:p>
        </p:txBody>
      </p:sp>
      <p:sp>
        <p:nvSpPr>
          <p:cNvPr id="41" name="Chevron 40"/>
          <p:cNvSpPr/>
          <p:nvPr/>
        </p:nvSpPr>
        <p:spPr>
          <a:xfrm>
            <a:off x="6400799" y="990601"/>
            <a:ext cx="2285999" cy="482078"/>
          </a:xfrm>
          <a:prstGeom prst="chevron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new</a:t>
            </a:r>
          </a:p>
        </p:txBody>
      </p:sp>
      <p:sp>
        <p:nvSpPr>
          <p:cNvPr id="26" name="Oval 25"/>
          <p:cNvSpPr/>
          <p:nvPr/>
        </p:nvSpPr>
        <p:spPr>
          <a:xfrm>
            <a:off x="5105398" y="4876800"/>
            <a:ext cx="304800" cy="3048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-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931919" y="5221398"/>
            <a:ext cx="2667001" cy="9508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Payment may be more or less than actual loss</a:t>
            </a:r>
          </a:p>
          <a:p>
            <a:pPr algn="ctr"/>
            <a:endParaRPr lang="en-US" sz="700" dirty="0"/>
          </a:p>
          <a:p>
            <a:pPr algn="ctr"/>
            <a:r>
              <a:rPr lang="en-US" sz="1400" dirty="0"/>
              <a:t>Insurance vs financial product</a:t>
            </a:r>
          </a:p>
        </p:txBody>
      </p:sp>
    </p:spTree>
    <p:extLst>
      <p:ext uri="{BB962C8B-B14F-4D97-AF65-F5344CB8AC3E}">
        <p14:creationId xmlns:p14="http://schemas.microsoft.com/office/powerpoint/2010/main" val="4062990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rapezoid 29"/>
          <p:cNvSpPr/>
          <p:nvPr/>
        </p:nvSpPr>
        <p:spPr>
          <a:xfrm rot="10800000">
            <a:off x="2488638" y="2826884"/>
            <a:ext cx="4343400" cy="1340107"/>
          </a:xfrm>
          <a:prstGeom prst="trapezoid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rapezoid 30"/>
          <p:cNvSpPr/>
          <p:nvPr/>
        </p:nvSpPr>
        <p:spPr>
          <a:xfrm rot="10800000">
            <a:off x="2834694" y="4231622"/>
            <a:ext cx="3657600" cy="1340107"/>
          </a:xfrm>
          <a:prstGeom prst="trapezoid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rapezoid 28"/>
          <p:cNvSpPr/>
          <p:nvPr/>
        </p:nvSpPr>
        <p:spPr>
          <a:xfrm rot="10800000">
            <a:off x="2133600" y="1424140"/>
            <a:ext cx="5053476" cy="1340107"/>
          </a:xfrm>
          <a:prstGeom prst="trapezoid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We evaluate &amp; prioritize Event-Based Insurance product opportunities through a design thinking framework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01094" y="1832407"/>
            <a:ext cx="12923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4"/>
                </a:solidFill>
              </a:rPr>
              <a:t>Consumer</a:t>
            </a:r>
          </a:p>
          <a:p>
            <a:pPr algn="ctr"/>
            <a:r>
              <a:rPr lang="en-US" sz="1600" b="1" dirty="0">
                <a:solidFill>
                  <a:schemeClr val="accent4"/>
                </a:solidFill>
              </a:rPr>
              <a:t>Desirability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58294" y="3328239"/>
            <a:ext cx="11897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6"/>
                </a:solidFill>
              </a:rPr>
              <a:t>Feasibilit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713058" y="4744282"/>
            <a:ext cx="9696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Viability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529894" y="2345912"/>
            <a:ext cx="7393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Surveys</a:t>
            </a:r>
            <a:endParaRPr lang="en-US" sz="1600" dirty="0"/>
          </a:p>
        </p:txBody>
      </p:sp>
      <p:sp>
        <p:nvSpPr>
          <p:cNvPr id="14" name="TextBox 13"/>
          <p:cNvSpPr txBox="1"/>
          <p:nvPr/>
        </p:nvSpPr>
        <p:spPr>
          <a:xfrm>
            <a:off x="3433803" y="2347840"/>
            <a:ext cx="8755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Interviews</a:t>
            </a:r>
            <a:endParaRPr lang="en-US" sz="1600" dirty="0"/>
          </a:p>
        </p:txBody>
      </p:sp>
      <p:sp>
        <p:nvSpPr>
          <p:cNvPr id="18" name="TextBox 17"/>
          <p:cNvSpPr txBox="1"/>
          <p:nvPr/>
        </p:nvSpPr>
        <p:spPr>
          <a:xfrm>
            <a:off x="2682294" y="3602026"/>
            <a:ext cx="8826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Measurable Event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472546" y="3525082"/>
            <a:ext cx="98983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Mutually agreed source of truth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3854" y="4384534"/>
            <a:ext cx="622599" cy="622599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3356960" y="5075876"/>
            <a:ext cx="5854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Goals</a:t>
            </a:r>
          </a:p>
          <a:p>
            <a:pPr algn="ctr"/>
            <a:r>
              <a:rPr lang="en-US" sz="1200" dirty="0"/>
              <a:t>Align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168787" y="5177727"/>
            <a:ext cx="9845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Sustainabl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279015" y="5075875"/>
            <a:ext cx="8322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Profitable</a:t>
            </a:r>
          </a:p>
          <a:p>
            <a:pPr algn="ctr"/>
            <a:r>
              <a:rPr lang="en-US" sz="1200" dirty="0"/>
              <a:t>Growth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3852" y="4392349"/>
            <a:ext cx="634434" cy="634434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4970256" y="3602026"/>
            <a:ext cx="8523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Legal &amp; Regulatory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4550169" y="2345911"/>
            <a:ext cx="5758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lpha</a:t>
            </a:r>
            <a:endParaRPr lang="en-US" sz="1600" dirty="0"/>
          </a:p>
        </p:txBody>
      </p:sp>
      <p:sp>
        <p:nvSpPr>
          <p:cNvPr id="35" name="TextBox 34"/>
          <p:cNvSpPr txBox="1"/>
          <p:nvPr/>
        </p:nvSpPr>
        <p:spPr>
          <a:xfrm>
            <a:off x="4473969" y="1211170"/>
            <a:ext cx="71846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7200" dirty="0">
                <a:solidFill>
                  <a:srgbClr val="2C5983"/>
                </a:solidFill>
              </a:rPr>
              <a:t>α</a:t>
            </a:r>
            <a:endParaRPr lang="en-US" sz="8800" dirty="0">
              <a:solidFill>
                <a:srgbClr val="2C5983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198263" y="2254278"/>
            <a:ext cx="16353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Product Results</a:t>
            </a:r>
          </a:p>
          <a:p>
            <a:pPr algn="ctr"/>
            <a:r>
              <a:rPr lang="en-US" sz="1200" dirty="0"/>
              <a:t>(Core &amp; Competitors)</a:t>
            </a:r>
            <a:endParaRPr lang="en-US" sz="1600" dirty="0"/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6142" y="4364911"/>
            <a:ext cx="665667" cy="66566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9078" y="1602586"/>
            <a:ext cx="620935" cy="62093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7393" y="1623011"/>
            <a:ext cx="648382" cy="59809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8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0258" y="1601289"/>
            <a:ext cx="657202" cy="558622"/>
          </a:xfrm>
          <a:prstGeom prst="rect">
            <a:avLst/>
          </a:prstGeom>
        </p:spPr>
      </p:pic>
      <p:sp>
        <p:nvSpPr>
          <p:cNvPr id="45" name="Freeform 69"/>
          <p:cNvSpPr>
            <a:spLocks noEditPoints="1"/>
          </p:cNvSpPr>
          <p:nvPr/>
        </p:nvSpPr>
        <p:spPr bwMode="auto">
          <a:xfrm>
            <a:off x="2830254" y="3054146"/>
            <a:ext cx="527041" cy="365120"/>
          </a:xfrm>
          <a:custGeom>
            <a:avLst/>
            <a:gdLst>
              <a:gd name="T0" fmla="*/ 1818 w 1944"/>
              <a:gd name="T1" fmla="*/ 1094 h 1336"/>
              <a:gd name="T2" fmla="*/ 1818 w 1944"/>
              <a:gd name="T3" fmla="*/ 136 h 1336"/>
              <a:gd name="T4" fmla="*/ 1682 w 1944"/>
              <a:gd name="T5" fmla="*/ 0 h 1336"/>
              <a:gd name="T6" fmla="*/ 266 w 1944"/>
              <a:gd name="T7" fmla="*/ 0 h 1336"/>
              <a:gd name="T8" fmla="*/ 130 w 1944"/>
              <a:gd name="T9" fmla="*/ 136 h 1336"/>
              <a:gd name="T10" fmla="*/ 130 w 1944"/>
              <a:gd name="T11" fmla="*/ 1094 h 1336"/>
              <a:gd name="T12" fmla="*/ 122 w 1944"/>
              <a:gd name="T13" fmla="*/ 1094 h 1336"/>
              <a:gd name="T14" fmla="*/ 0 w 1944"/>
              <a:gd name="T15" fmla="*/ 1094 h 1336"/>
              <a:gd name="T16" fmla="*/ 0 w 1944"/>
              <a:gd name="T17" fmla="*/ 1186 h 1336"/>
              <a:gd name="T18" fmla="*/ 150 w 1944"/>
              <a:gd name="T19" fmla="*/ 1336 h 1336"/>
              <a:gd name="T20" fmla="*/ 294 w 1944"/>
              <a:gd name="T21" fmla="*/ 1336 h 1336"/>
              <a:gd name="T22" fmla="*/ 1650 w 1944"/>
              <a:gd name="T23" fmla="*/ 1336 h 1336"/>
              <a:gd name="T24" fmla="*/ 1794 w 1944"/>
              <a:gd name="T25" fmla="*/ 1336 h 1336"/>
              <a:gd name="T26" fmla="*/ 1944 w 1944"/>
              <a:gd name="T27" fmla="*/ 1186 h 1336"/>
              <a:gd name="T28" fmla="*/ 1944 w 1944"/>
              <a:gd name="T29" fmla="*/ 1094 h 1336"/>
              <a:gd name="T30" fmla="*/ 1822 w 1944"/>
              <a:gd name="T31" fmla="*/ 1094 h 1336"/>
              <a:gd name="T32" fmla="*/ 1818 w 1944"/>
              <a:gd name="T33" fmla="*/ 1094 h 1336"/>
              <a:gd name="T34" fmla="*/ 1632 w 1944"/>
              <a:gd name="T35" fmla="*/ 1094 h 1336"/>
              <a:gd name="T36" fmla="*/ 1156 w 1944"/>
              <a:gd name="T37" fmla="*/ 1094 h 1336"/>
              <a:gd name="T38" fmla="*/ 1156 w 1944"/>
              <a:gd name="T39" fmla="*/ 1104 h 1336"/>
              <a:gd name="T40" fmla="*/ 1104 w 1944"/>
              <a:gd name="T41" fmla="*/ 1156 h 1336"/>
              <a:gd name="T42" fmla="*/ 844 w 1944"/>
              <a:gd name="T43" fmla="*/ 1156 h 1336"/>
              <a:gd name="T44" fmla="*/ 792 w 1944"/>
              <a:gd name="T45" fmla="*/ 1104 h 1336"/>
              <a:gd name="T46" fmla="*/ 792 w 1944"/>
              <a:gd name="T47" fmla="*/ 1094 h 1336"/>
              <a:gd name="T48" fmla="*/ 316 w 1944"/>
              <a:gd name="T49" fmla="*/ 1094 h 1336"/>
              <a:gd name="T50" fmla="*/ 316 w 1944"/>
              <a:gd name="T51" fmla="*/ 186 h 1336"/>
              <a:gd name="T52" fmla="*/ 1634 w 1944"/>
              <a:gd name="T53" fmla="*/ 186 h 1336"/>
              <a:gd name="T54" fmla="*/ 1634 w 1944"/>
              <a:gd name="T55" fmla="*/ 1094 h 1336"/>
              <a:gd name="T56" fmla="*/ 1632 w 1944"/>
              <a:gd name="T57" fmla="*/ 1094 h 1336"/>
              <a:gd name="T58" fmla="*/ 1308 w 1944"/>
              <a:gd name="T59" fmla="*/ 726 h 1336"/>
              <a:gd name="T60" fmla="*/ 1426 w 1944"/>
              <a:gd name="T61" fmla="*/ 590 h 1336"/>
              <a:gd name="T62" fmla="*/ 1510 w 1944"/>
              <a:gd name="T63" fmla="*/ 880 h 1336"/>
              <a:gd name="T64" fmla="*/ 1340 w 1944"/>
              <a:gd name="T65" fmla="*/ 880 h 1336"/>
              <a:gd name="T66" fmla="*/ 1308 w 1944"/>
              <a:gd name="T67" fmla="*/ 726 h 1336"/>
              <a:gd name="T68" fmla="*/ 974 w 1944"/>
              <a:gd name="T69" fmla="*/ 512 h 1336"/>
              <a:gd name="T70" fmla="*/ 974 w 1944"/>
              <a:gd name="T71" fmla="*/ 512 h 1336"/>
              <a:gd name="T72" fmla="*/ 1196 w 1944"/>
              <a:gd name="T73" fmla="*/ 586 h 1336"/>
              <a:gd name="T74" fmla="*/ 988 w 1944"/>
              <a:gd name="T75" fmla="*/ 768 h 1336"/>
              <a:gd name="T76" fmla="*/ 896 w 1944"/>
              <a:gd name="T77" fmla="*/ 800 h 1336"/>
              <a:gd name="T78" fmla="*/ 896 w 1944"/>
              <a:gd name="T79" fmla="*/ 960 h 1336"/>
              <a:gd name="T80" fmla="*/ 1056 w 1944"/>
              <a:gd name="T81" fmla="*/ 960 h 1336"/>
              <a:gd name="T82" fmla="*/ 1088 w 1944"/>
              <a:gd name="T83" fmla="*/ 868 h 1336"/>
              <a:gd name="T84" fmla="*/ 1422 w 1944"/>
              <a:gd name="T85" fmla="*/ 486 h 1336"/>
              <a:gd name="T86" fmla="*/ 1370 w 1944"/>
              <a:gd name="T87" fmla="*/ 434 h 1336"/>
              <a:gd name="T88" fmla="*/ 1326 w 1944"/>
              <a:gd name="T89" fmla="*/ 472 h 1336"/>
              <a:gd name="T90" fmla="*/ 976 w 1944"/>
              <a:gd name="T91" fmla="*/ 342 h 1336"/>
              <a:gd name="T92" fmla="*/ 976 w 1944"/>
              <a:gd name="T93" fmla="*/ 342 h 1336"/>
              <a:gd name="T94" fmla="*/ 438 w 1944"/>
              <a:gd name="T95" fmla="*/ 880 h 1336"/>
              <a:gd name="T96" fmla="*/ 608 w 1944"/>
              <a:gd name="T97" fmla="*/ 880 h 1336"/>
              <a:gd name="T98" fmla="*/ 974 w 1944"/>
              <a:gd name="T99" fmla="*/ 512 h 1336"/>
              <a:gd name="T100" fmla="*/ 1006 w 1944"/>
              <a:gd name="T101" fmla="*/ 912 h 1336"/>
              <a:gd name="T102" fmla="*/ 942 w 1944"/>
              <a:gd name="T103" fmla="*/ 912 h 1336"/>
              <a:gd name="T104" fmla="*/ 942 w 1944"/>
              <a:gd name="T105" fmla="*/ 848 h 1336"/>
              <a:gd name="T106" fmla="*/ 1006 w 1944"/>
              <a:gd name="T107" fmla="*/ 848 h 1336"/>
              <a:gd name="T108" fmla="*/ 1006 w 1944"/>
              <a:gd name="T109" fmla="*/ 912 h 1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944" h="1336">
                <a:moveTo>
                  <a:pt x="1818" y="1094"/>
                </a:moveTo>
                <a:cubicBezTo>
                  <a:pt x="1818" y="136"/>
                  <a:pt x="1818" y="136"/>
                  <a:pt x="1818" y="136"/>
                </a:cubicBezTo>
                <a:cubicBezTo>
                  <a:pt x="1818" y="60"/>
                  <a:pt x="1756" y="0"/>
                  <a:pt x="1682" y="0"/>
                </a:cubicBezTo>
                <a:cubicBezTo>
                  <a:pt x="266" y="0"/>
                  <a:pt x="266" y="0"/>
                  <a:pt x="266" y="0"/>
                </a:cubicBezTo>
                <a:cubicBezTo>
                  <a:pt x="190" y="0"/>
                  <a:pt x="130" y="62"/>
                  <a:pt x="130" y="136"/>
                </a:cubicBezTo>
                <a:cubicBezTo>
                  <a:pt x="130" y="1094"/>
                  <a:pt x="130" y="1094"/>
                  <a:pt x="130" y="1094"/>
                </a:cubicBezTo>
                <a:cubicBezTo>
                  <a:pt x="122" y="1094"/>
                  <a:pt x="122" y="1094"/>
                  <a:pt x="122" y="1094"/>
                </a:cubicBezTo>
                <a:cubicBezTo>
                  <a:pt x="0" y="1094"/>
                  <a:pt x="0" y="1094"/>
                  <a:pt x="0" y="1094"/>
                </a:cubicBezTo>
                <a:cubicBezTo>
                  <a:pt x="0" y="1186"/>
                  <a:pt x="0" y="1186"/>
                  <a:pt x="0" y="1186"/>
                </a:cubicBezTo>
                <a:cubicBezTo>
                  <a:pt x="0" y="1270"/>
                  <a:pt x="68" y="1336"/>
                  <a:pt x="150" y="1336"/>
                </a:cubicBezTo>
                <a:cubicBezTo>
                  <a:pt x="294" y="1336"/>
                  <a:pt x="294" y="1336"/>
                  <a:pt x="294" y="1336"/>
                </a:cubicBezTo>
                <a:cubicBezTo>
                  <a:pt x="1650" y="1336"/>
                  <a:pt x="1650" y="1336"/>
                  <a:pt x="1650" y="1336"/>
                </a:cubicBezTo>
                <a:cubicBezTo>
                  <a:pt x="1794" y="1336"/>
                  <a:pt x="1794" y="1336"/>
                  <a:pt x="1794" y="1336"/>
                </a:cubicBezTo>
                <a:cubicBezTo>
                  <a:pt x="1878" y="1336"/>
                  <a:pt x="1944" y="1268"/>
                  <a:pt x="1944" y="1186"/>
                </a:cubicBezTo>
                <a:cubicBezTo>
                  <a:pt x="1944" y="1094"/>
                  <a:pt x="1944" y="1094"/>
                  <a:pt x="1944" y="1094"/>
                </a:cubicBezTo>
                <a:cubicBezTo>
                  <a:pt x="1822" y="1094"/>
                  <a:pt x="1822" y="1094"/>
                  <a:pt x="1822" y="1094"/>
                </a:cubicBezTo>
                <a:lnTo>
                  <a:pt x="1818" y="1094"/>
                </a:lnTo>
                <a:close/>
                <a:moveTo>
                  <a:pt x="1632" y="1094"/>
                </a:moveTo>
                <a:cubicBezTo>
                  <a:pt x="1156" y="1094"/>
                  <a:pt x="1156" y="1094"/>
                  <a:pt x="1156" y="1094"/>
                </a:cubicBezTo>
                <a:cubicBezTo>
                  <a:pt x="1156" y="1104"/>
                  <a:pt x="1156" y="1104"/>
                  <a:pt x="1156" y="1104"/>
                </a:cubicBezTo>
                <a:cubicBezTo>
                  <a:pt x="1156" y="1132"/>
                  <a:pt x="1132" y="1156"/>
                  <a:pt x="1104" y="1156"/>
                </a:cubicBezTo>
                <a:cubicBezTo>
                  <a:pt x="844" y="1156"/>
                  <a:pt x="844" y="1156"/>
                  <a:pt x="844" y="1156"/>
                </a:cubicBezTo>
                <a:cubicBezTo>
                  <a:pt x="816" y="1156"/>
                  <a:pt x="792" y="1132"/>
                  <a:pt x="792" y="1104"/>
                </a:cubicBezTo>
                <a:cubicBezTo>
                  <a:pt x="792" y="1094"/>
                  <a:pt x="792" y="1094"/>
                  <a:pt x="792" y="1094"/>
                </a:cubicBezTo>
                <a:cubicBezTo>
                  <a:pt x="316" y="1094"/>
                  <a:pt x="316" y="1094"/>
                  <a:pt x="316" y="1094"/>
                </a:cubicBezTo>
                <a:cubicBezTo>
                  <a:pt x="316" y="186"/>
                  <a:pt x="316" y="186"/>
                  <a:pt x="316" y="186"/>
                </a:cubicBezTo>
                <a:cubicBezTo>
                  <a:pt x="1634" y="186"/>
                  <a:pt x="1634" y="186"/>
                  <a:pt x="1634" y="186"/>
                </a:cubicBezTo>
                <a:cubicBezTo>
                  <a:pt x="1634" y="1094"/>
                  <a:pt x="1634" y="1094"/>
                  <a:pt x="1634" y="1094"/>
                </a:cubicBezTo>
                <a:lnTo>
                  <a:pt x="1632" y="1094"/>
                </a:lnTo>
                <a:close/>
                <a:moveTo>
                  <a:pt x="1308" y="726"/>
                </a:moveTo>
                <a:cubicBezTo>
                  <a:pt x="1426" y="590"/>
                  <a:pt x="1426" y="590"/>
                  <a:pt x="1426" y="590"/>
                </a:cubicBezTo>
                <a:cubicBezTo>
                  <a:pt x="1480" y="674"/>
                  <a:pt x="1510" y="772"/>
                  <a:pt x="1510" y="880"/>
                </a:cubicBezTo>
                <a:cubicBezTo>
                  <a:pt x="1340" y="880"/>
                  <a:pt x="1340" y="880"/>
                  <a:pt x="1340" y="880"/>
                </a:cubicBezTo>
                <a:cubicBezTo>
                  <a:pt x="1342" y="826"/>
                  <a:pt x="1330" y="774"/>
                  <a:pt x="1308" y="726"/>
                </a:cubicBezTo>
                <a:close/>
                <a:moveTo>
                  <a:pt x="974" y="512"/>
                </a:moveTo>
                <a:cubicBezTo>
                  <a:pt x="974" y="512"/>
                  <a:pt x="974" y="512"/>
                  <a:pt x="974" y="512"/>
                </a:cubicBezTo>
                <a:cubicBezTo>
                  <a:pt x="1058" y="512"/>
                  <a:pt x="1134" y="540"/>
                  <a:pt x="1196" y="586"/>
                </a:cubicBezTo>
                <a:cubicBezTo>
                  <a:pt x="988" y="768"/>
                  <a:pt x="988" y="768"/>
                  <a:pt x="988" y="768"/>
                </a:cubicBezTo>
                <a:cubicBezTo>
                  <a:pt x="954" y="764"/>
                  <a:pt x="920" y="774"/>
                  <a:pt x="896" y="800"/>
                </a:cubicBezTo>
                <a:cubicBezTo>
                  <a:pt x="852" y="844"/>
                  <a:pt x="852" y="916"/>
                  <a:pt x="896" y="960"/>
                </a:cubicBezTo>
                <a:cubicBezTo>
                  <a:pt x="940" y="1004"/>
                  <a:pt x="1012" y="1004"/>
                  <a:pt x="1056" y="960"/>
                </a:cubicBezTo>
                <a:cubicBezTo>
                  <a:pt x="1082" y="934"/>
                  <a:pt x="1092" y="900"/>
                  <a:pt x="1088" y="868"/>
                </a:cubicBezTo>
                <a:cubicBezTo>
                  <a:pt x="1422" y="486"/>
                  <a:pt x="1422" y="486"/>
                  <a:pt x="1422" y="486"/>
                </a:cubicBezTo>
                <a:cubicBezTo>
                  <a:pt x="1370" y="434"/>
                  <a:pt x="1370" y="434"/>
                  <a:pt x="1370" y="434"/>
                </a:cubicBezTo>
                <a:cubicBezTo>
                  <a:pt x="1326" y="472"/>
                  <a:pt x="1326" y="472"/>
                  <a:pt x="1326" y="472"/>
                </a:cubicBezTo>
                <a:cubicBezTo>
                  <a:pt x="1232" y="390"/>
                  <a:pt x="1110" y="342"/>
                  <a:pt x="976" y="342"/>
                </a:cubicBezTo>
                <a:cubicBezTo>
                  <a:pt x="976" y="342"/>
                  <a:pt x="976" y="342"/>
                  <a:pt x="976" y="342"/>
                </a:cubicBezTo>
                <a:cubicBezTo>
                  <a:pt x="680" y="342"/>
                  <a:pt x="438" y="584"/>
                  <a:pt x="438" y="880"/>
                </a:cubicBezTo>
                <a:cubicBezTo>
                  <a:pt x="608" y="880"/>
                  <a:pt x="608" y="880"/>
                  <a:pt x="608" y="880"/>
                </a:cubicBezTo>
                <a:cubicBezTo>
                  <a:pt x="606" y="678"/>
                  <a:pt x="770" y="512"/>
                  <a:pt x="974" y="512"/>
                </a:cubicBezTo>
                <a:close/>
                <a:moveTo>
                  <a:pt x="1006" y="912"/>
                </a:moveTo>
                <a:cubicBezTo>
                  <a:pt x="988" y="930"/>
                  <a:pt x="960" y="930"/>
                  <a:pt x="942" y="912"/>
                </a:cubicBezTo>
                <a:cubicBezTo>
                  <a:pt x="924" y="894"/>
                  <a:pt x="924" y="866"/>
                  <a:pt x="942" y="848"/>
                </a:cubicBezTo>
                <a:cubicBezTo>
                  <a:pt x="960" y="830"/>
                  <a:pt x="988" y="830"/>
                  <a:pt x="1006" y="848"/>
                </a:cubicBezTo>
                <a:cubicBezTo>
                  <a:pt x="1024" y="866"/>
                  <a:pt x="1024" y="894"/>
                  <a:pt x="1006" y="91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Freeform 16"/>
          <p:cNvSpPr>
            <a:spLocks noChangeAspect="1" noEditPoints="1"/>
          </p:cNvSpPr>
          <p:nvPr/>
        </p:nvSpPr>
        <p:spPr bwMode="auto">
          <a:xfrm>
            <a:off x="3749094" y="3054146"/>
            <a:ext cx="400578" cy="365120"/>
          </a:xfrm>
          <a:custGeom>
            <a:avLst/>
            <a:gdLst>
              <a:gd name="T0" fmla="*/ 138 w 198"/>
              <a:gd name="T1" fmla="*/ 141 h 180"/>
              <a:gd name="T2" fmla="*/ 187 w 198"/>
              <a:gd name="T3" fmla="*/ 150 h 180"/>
              <a:gd name="T4" fmla="*/ 110 w 198"/>
              <a:gd name="T5" fmla="*/ 150 h 180"/>
              <a:gd name="T6" fmla="*/ 138 w 198"/>
              <a:gd name="T7" fmla="*/ 141 h 180"/>
              <a:gd name="T8" fmla="*/ 11 w 198"/>
              <a:gd name="T9" fmla="*/ 150 h 180"/>
              <a:gd name="T10" fmla="*/ 87 w 198"/>
              <a:gd name="T11" fmla="*/ 150 h 180"/>
              <a:gd name="T12" fmla="*/ 60 w 198"/>
              <a:gd name="T13" fmla="*/ 141 h 180"/>
              <a:gd name="T14" fmla="*/ 11 w 198"/>
              <a:gd name="T15" fmla="*/ 150 h 180"/>
              <a:gd name="T16" fmla="*/ 60 w 198"/>
              <a:gd name="T17" fmla="*/ 135 h 180"/>
              <a:gd name="T18" fmla="*/ 89 w 198"/>
              <a:gd name="T19" fmla="*/ 141 h 180"/>
              <a:gd name="T20" fmla="*/ 89 w 198"/>
              <a:gd name="T21" fmla="*/ 8 h 180"/>
              <a:gd name="T22" fmla="*/ 60 w 198"/>
              <a:gd name="T23" fmla="*/ 1 h 180"/>
              <a:gd name="T24" fmla="*/ 0 w 198"/>
              <a:gd name="T25" fmla="*/ 13 h 180"/>
              <a:gd name="T26" fmla="*/ 0 w 198"/>
              <a:gd name="T27" fmla="*/ 147 h 180"/>
              <a:gd name="T28" fmla="*/ 60 w 198"/>
              <a:gd name="T29" fmla="*/ 135 h 180"/>
              <a:gd name="T30" fmla="*/ 105 w 198"/>
              <a:gd name="T31" fmla="*/ 180 h 180"/>
              <a:gd name="T32" fmla="*/ 103 w 198"/>
              <a:gd name="T33" fmla="*/ 165 h 180"/>
              <a:gd name="T34" fmla="*/ 104 w 198"/>
              <a:gd name="T35" fmla="*/ 162 h 180"/>
              <a:gd name="T36" fmla="*/ 102 w 198"/>
              <a:gd name="T37" fmla="*/ 159 h 180"/>
              <a:gd name="T38" fmla="*/ 102 w 198"/>
              <a:gd name="T39" fmla="*/ 8 h 180"/>
              <a:gd name="T40" fmla="*/ 96 w 198"/>
              <a:gd name="T41" fmla="*/ 8 h 180"/>
              <a:gd name="T42" fmla="*/ 96 w 198"/>
              <a:gd name="T43" fmla="*/ 159 h 180"/>
              <a:gd name="T44" fmla="*/ 94 w 198"/>
              <a:gd name="T45" fmla="*/ 162 h 180"/>
              <a:gd name="T46" fmla="*/ 95 w 198"/>
              <a:gd name="T47" fmla="*/ 165 h 180"/>
              <a:gd name="T48" fmla="*/ 93 w 198"/>
              <a:gd name="T49" fmla="*/ 180 h 180"/>
              <a:gd name="T50" fmla="*/ 105 w 198"/>
              <a:gd name="T51" fmla="*/ 180 h 180"/>
              <a:gd name="T52" fmla="*/ 198 w 198"/>
              <a:gd name="T53" fmla="*/ 13 h 180"/>
              <a:gd name="T54" fmla="*/ 138 w 198"/>
              <a:gd name="T55" fmla="*/ 0 h 180"/>
              <a:gd name="T56" fmla="*/ 109 w 198"/>
              <a:gd name="T57" fmla="*/ 7 h 180"/>
              <a:gd name="T58" fmla="*/ 109 w 198"/>
              <a:gd name="T59" fmla="*/ 140 h 180"/>
              <a:gd name="T60" fmla="*/ 138 w 198"/>
              <a:gd name="T61" fmla="*/ 134 h 180"/>
              <a:gd name="T62" fmla="*/ 138 w 198"/>
              <a:gd name="T63" fmla="*/ 134 h 180"/>
              <a:gd name="T64" fmla="*/ 198 w 198"/>
              <a:gd name="T65" fmla="*/ 147 h 180"/>
              <a:gd name="T66" fmla="*/ 198 w 198"/>
              <a:gd name="T67" fmla="*/ 13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98" h="180">
                <a:moveTo>
                  <a:pt x="138" y="141"/>
                </a:moveTo>
                <a:cubicBezTo>
                  <a:pt x="150" y="141"/>
                  <a:pt x="166" y="144"/>
                  <a:pt x="187" y="150"/>
                </a:cubicBezTo>
                <a:cubicBezTo>
                  <a:pt x="110" y="150"/>
                  <a:pt x="110" y="150"/>
                  <a:pt x="110" y="150"/>
                </a:cubicBezTo>
                <a:cubicBezTo>
                  <a:pt x="114" y="147"/>
                  <a:pt x="119" y="141"/>
                  <a:pt x="138" y="141"/>
                </a:cubicBezTo>
                <a:close/>
                <a:moveTo>
                  <a:pt x="11" y="150"/>
                </a:moveTo>
                <a:cubicBezTo>
                  <a:pt x="87" y="150"/>
                  <a:pt x="87" y="150"/>
                  <a:pt x="87" y="150"/>
                </a:cubicBezTo>
                <a:cubicBezTo>
                  <a:pt x="86" y="150"/>
                  <a:pt x="82" y="141"/>
                  <a:pt x="60" y="141"/>
                </a:cubicBezTo>
                <a:cubicBezTo>
                  <a:pt x="48" y="141"/>
                  <a:pt x="32" y="144"/>
                  <a:pt x="11" y="150"/>
                </a:cubicBezTo>
                <a:close/>
                <a:moveTo>
                  <a:pt x="60" y="135"/>
                </a:moveTo>
                <a:cubicBezTo>
                  <a:pt x="73" y="135"/>
                  <a:pt x="83" y="137"/>
                  <a:pt x="89" y="141"/>
                </a:cubicBezTo>
                <a:cubicBezTo>
                  <a:pt x="89" y="8"/>
                  <a:pt x="89" y="8"/>
                  <a:pt x="89" y="8"/>
                </a:cubicBezTo>
                <a:cubicBezTo>
                  <a:pt x="84" y="4"/>
                  <a:pt x="75" y="1"/>
                  <a:pt x="60" y="1"/>
                </a:cubicBezTo>
                <a:cubicBezTo>
                  <a:pt x="46" y="1"/>
                  <a:pt x="26" y="4"/>
                  <a:pt x="0" y="13"/>
                </a:cubicBezTo>
                <a:cubicBezTo>
                  <a:pt x="0" y="147"/>
                  <a:pt x="0" y="147"/>
                  <a:pt x="0" y="147"/>
                </a:cubicBezTo>
                <a:cubicBezTo>
                  <a:pt x="26" y="138"/>
                  <a:pt x="45" y="135"/>
                  <a:pt x="60" y="135"/>
                </a:cubicBezTo>
                <a:close/>
                <a:moveTo>
                  <a:pt x="105" y="180"/>
                </a:moveTo>
                <a:cubicBezTo>
                  <a:pt x="103" y="165"/>
                  <a:pt x="103" y="165"/>
                  <a:pt x="103" y="165"/>
                </a:cubicBezTo>
                <a:cubicBezTo>
                  <a:pt x="104" y="164"/>
                  <a:pt x="104" y="163"/>
                  <a:pt x="104" y="162"/>
                </a:cubicBezTo>
                <a:cubicBezTo>
                  <a:pt x="104" y="161"/>
                  <a:pt x="103" y="159"/>
                  <a:pt x="102" y="159"/>
                </a:cubicBezTo>
                <a:cubicBezTo>
                  <a:pt x="102" y="8"/>
                  <a:pt x="102" y="8"/>
                  <a:pt x="102" y="8"/>
                </a:cubicBezTo>
                <a:cubicBezTo>
                  <a:pt x="96" y="8"/>
                  <a:pt x="96" y="8"/>
                  <a:pt x="96" y="8"/>
                </a:cubicBezTo>
                <a:cubicBezTo>
                  <a:pt x="96" y="159"/>
                  <a:pt x="96" y="159"/>
                  <a:pt x="96" y="159"/>
                </a:cubicBezTo>
                <a:cubicBezTo>
                  <a:pt x="95" y="159"/>
                  <a:pt x="94" y="161"/>
                  <a:pt x="94" y="162"/>
                </a:cubicBezTo>
                <a:cubicBezTo>
                  <a:pt x="94" y="163"/>
                  <a:pt x="94" y="164"/>
                  <a:pt x="95" y="165"/>
                </a:cubicBezTo>
                <a:cubicBezTo>
                  <a:pt x="93" y="180"/>
                  <a:pt x="93" y="180"/>
                  <a:pt x="93" y="180"/>
                </a:cubicBezTo>
                <a:lnTo>
                  <a:pt x="105" y="180"/>
                </a:lnTo>
                <a:close/>
                <a:moveTo>
                  <a:pt x="198" y="13"/>
                </a:moveTo>
                <a:cubicBezTo>
                  <a:pt x="171" y="3"/>
                  <a:pt x="152" y="0"/>
                  <a:pt x="138" y="0"/>
                </a:cubicBezTo>
                <a:cubicBezTo>
                  <a:pt x="123" y="0"/>
                  <a:pt x="114" y="4"/>
                  <a:pt x="109" y="7"/>
                </a:cubicBezTo>
                <a:cubicBezTo>
                  <a:pt x="109" y="140"/>
                  <a:pt x="109" y="140"/>
                  <a:pt x="109" y="140"/>
                </a:cubicBezTo>
                <a:cubicBezTo>
                  <a:pt x="115" y="137"/>
                  <a:pt x="125" y="134"/>
                  <a:pt x="138" y="134"/>
                </a:cubicBezTo>
                <a:cubicBezTo>
                  <a:pt x="138" y="134"/>
                  <a:pt x="138" y="134"/>
                  <a:pt x="138" y="134"/>
                </a:cubicBezTo>
                <a:cubicBezTo>
                  <a:pt x="153" y="134"/>
                  <a:pt x="172" y="137"/>
                  <a:pt x="198" y="147"/>
                </a:cubicBezTo>
                <a:lnTo>
                  <a:pt x="198" y="1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Freeform 31"/>
          <p:cNvSpPr>
            <a:spLocks noChangeAspect="1" noEditPoints="1"/>
          </p:cNvSpPr>
          <p:nvPr/>
        </p:nvSpPr>
        <p:spPr bwMode="auto">
          <a:xfrm>
            <a:off x="4434894" y="3072986"/>
            <a:ext cx="559666" cy="327440"/>
          </a:xfrm>
          <a:custGeom>
            <a:avLst/>
            <a:gdLst>
              <a:gd name="T0" fmla="*/ 5743 w 5783"/>
              <a:gd name="T1" fmla="*/ 3160 h 3385"/>
              <a:gd name="T2" fmla="*/ 5671 w 5783"/>
              <a:gd name="T3" fmla="*/ 3369 h 3385"/>
              <a:gd name="T4" fmla="*/ 3949 w 5783"/>
              <a:gd name="T5" fmla="*/ 3327 h 3385"/>
              <a:gd name="T6" fmla="*/ 3974 w 5783"/>
              <a:gd name="T7" fmla="*/ 3106 h 3385"/>
              <a:gd name="T8" fmla="*/ 5631 w 5783"/>
              <a:gd name="T9" fmla="*/ 2637 h 3385"/>
              <a:gd name="T10" fmla="*/ 5702 w 5783"/>
              <a:gd name="T11" fmla="*/ 2848 h 3385"/>
              <a:gd name="T12" fmla="*/ 3995 w 5783"/>
              <a:gd name="T13" fmla="*/ 2930 h 3385"/>
              <a:gd name="T14" fmla="*/ 3879 w 5783"/>
              <a:gd name="T15" fmla="*/ 2742 h 3385"/>
              <a:gd name="T16" fmla="*/ 4097 w 5783"/>
              <a:gd name="T17" fmla="*/ 2172 h 3385"/>
              <a:gd name="T18" fmla="*/ 5780 w 5783"/>
              <a:gd name="T19" fmla="*/ 2293 h 3385"/>
              <a:gd name="T20" fmla="*/ 5666 w 5783"/>
              <a:gd name="T21" fmla="*/ 2483 h 3385"/>
              <a:gd name="T22" fmla="*/ 3958 w 5783"/>
              <a:gd name="T23" fmla="*/ 2398 h 3385"/>
              <a:gd name="T24" fmla="*/ 4028 w 5783"/>
              <a:gd name="T25" fmla="*/ 2188 h 3385"/>
              <a:gd name="T26" fmla="*/ 4330 w 5783"/>
              <a:gd name="T27" fmla="*/ 1434 h 3385"/>
              <a:gd name="T28" fmla="*/ 4416 w 5783"/>
              <a:gd name="T29" fmla="*/ 1766 h 3385"/>
              <a:gd name="T30" fmla="*/ 4140 w 5783"/>
              <a:gd name="T31" fmla="*/ 1961 h 3385"/>
              <a:gd name="T32" fmla="*/ 3867 w 5783"/>
              <a:gd name="T33" fmla="*/ 1766 h 3385"/>
              <a:gd name="T34" fmla="*/ 3953 w 5783"/>
              <a:gd name="T35" fmla="*/ 1434 h 3385"/>
              <a:gd name="T36" fmla="*/ 1099 w 5783"/>
              <a:gd name="T37" fmla="*/ 1384 h 3385"/>
              <a:gd name="T38" fmla="*/ 1290 w 5783"/>
              <a:gd name="T39" fmla="*/ 1663 h 3385"/>
              <a:gd name="T40" fmla="*/ 1099 w 5783"/>
              <a:gd name="T41" fmla="*/ 1942 h 3385"/>
              <a:gd name="T42" fmla="*/ 772 w 5783"/>
              <a:gd name="T43" fmla="*/ 1854 h 3385"/>
              <a:gd name="T44" fmla="*/ 744 w 5783"/>
              <a:gd name="T45" fmla="*/ 1512 h 3385"/>
              <a:gd name="T46" fmla="*/ 2464 w 5783"/>
              <a:gd name="T47" fmla="*/ 1001 h 3385"/>
              <a:gd name="T48" fmla="*/ 2185 w 5783"/>
              <a:gd name="T49" fmla="*/ 1319 h 3385"/>
              <a:gd name="T50" fmla="*/ 2210 w 5783"/>
              <a:gd name="T51" fmla="*/ 1617 h 3385"/>
              <a:gd name="T52" fmla="*/ 2531 w 5783"/>
              <a:gd name="T53" fmla="*/ 1775 h 3385"/>
              <a:gd name="T54" fmla="*/ 2661 w 5783"/>
              <a:gd name="T55" fmla="*/ 1898 h 3385"/>
              <a:gd name="T56" fmla="*/ 2438 w 5783"/>
              <a:gd name="T57" fmla="*/ 1949 h 3385"/>
              <a:gd name="T58" fmla="*/ 2243 w 5783"/>
              <a:gd name="T59" fmla="*/ 2142 h 3385"/>
              <a:gd name="T60" fmla="*/ 2726 w 5783"/>
              <a:gd name="T61" fmla="*/ 2145 h 3385"/>
              <a:gd name="T62" fmla="*/ 2986 w 5783"/>
              <a:gd name="T63" fmla="*/ 1900 h 3385"/>
              <a:gd name="T64" fmla="*/ 2863 w 5783"/>
              <a:gd name="T65" fmla="*/ 1619 h 3385"/>
              <a:gd name="T66" fmla="*/ 2508 w 5783"/>
              <a:gd name="T67" fmla="*/ 1471 h 3385"/>
              <a:gd name="T68" fmla="*/ 2512 w 5783"/>
              <a:gd name="T69" fmla="*/ 1369 h 3385"/>
              <a:gd name="T70" fmla="*/ 2817 w 5783"/>
              <a:gd name="T71" fmla="*/ 1385 h 3385"/>
              <a:gd name="T72" fmla="*/ 2775 w 5783"/>
              <a:gd name="T73" fmla="*/ 1148 h 3385"/>
              <a:gd name="T74" fmla="*/ 2764 w 5783"/>
              <a:gd name="T75" fmla="*/ 578 h 3385"/>
              <a:gd name="T76" fmla="*/ 3314 w 5783"/>
              <a:gd name="T77" fmla="*/ 959 h 3385"/>
              <a:gd name="T78" fmla="*/ 3533 w 5783"/>
              <a:gd name="T79" fmla="*/ 1663 h 3385"/>
              <a:gd name="T80" fmla="*/ 3314 w 5783"/>
              <a:gd name="T81" fmla="*/ 2367 h 3385"/>
              <a:gd name="T82" fmla="*/ 2764 w 5783"/>
              <a:gd name="T83" fmla="*/ 2748 h 3385"/>
              <a:gd name="T84" fmla="*/ 2110 w 5783"/>
              <a:gd name="T85" fmla="*/ 2635 h 3385"/>
              <a:gd name="T86" fmla="*/ 1680 w 5783"/>
              <a:gd name="T87" fmla="*/ 2093 h 3385"/>
              <a:gd name="T88" fmla="*/ 1648 w 5783"/>
              <a:gd name="T89" fmla="*/ 1334 h 3385"/>
              <a:gd name="T90" fmla="*/ 2029 w 5783"/>
              <a:gd name="T91" fmla="*/ 744 h 3385"/>
              <a:gd name="T92" fmla="*/ 176 w 5783"/>
              <a:gd name="T93" fmla="*/ 0 h 3385"/>
              <a:gd name="T94" fmla="*/ 5134 w 5783"/>
              <a:gd name="T95" fmla="*/ 139 h 3385"/>
              <a:gd name="T96" fmla="*/ 4613 w 5783"/>
              <a:gd name="T97" fmla="*/ 748 h 3385"/>
              <a:gd name="T98" fmla="*/ 4326 w 5783"/>
              <a:gd name="T99" fmla="*/ 321 h 3385"/>
              <a:gd name="T100" fmla="*/ 583 w 5783"/>
              <a:gd name="T101" fmla="*/ 702 h 3385"/>
              <a:gd name="T102" fmla="*/ 456 w 5783"/>
              <a:gd name="T103" fmla="*/ 2590 h 3385"/>
              <a:gd name="T104" fmla="*/ 785 w 5783"/>
              <a:gd name="T105" fmla="*/ 2965 h 3385"/>
              <a:gd name="T106" fmla="*/ 3726 w 5783"/>
              <a:gd name="T107" fmla="*/ 3274 h 3385"/>
              <a:gd name="T108" fmla="*/ 39 w 5783"/>
              <a:gd name="T109" fmla="*/ 3294 h 3385"/>
              <a:gd name="T110" fmla="*/ 39 w 5783"/>
              <a:gd name="T111" fmla="*/ 67 h 33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783" h="3385">
                <a:moveTo>
                  <a:pt x="4070" y="3072"/>
                </a:moveTo>
                <a:lnTo>
                  <a:pt x="5604" y="3072"/>
                </a:lnTo>
                <a:lnTo>
                  <a:pt x="5639" y="3076"/>
                </a:lnTo>
                <a:lnTo>
                  <a:pt x="5671" y="3088"/>
                </a:lnTo>
                <a:lnTo>
                  <a:pt x="5701" y="3106"/>
                </a:lnTo>
                <a:lnTo>
                  <a:pt x="5724" y="3130"/>
                </a:lnTo>
                <a:lnTo>
                  <a:pt x="5743" y="3160"/>
                </a:lnTo>
                <a:lnTo>
                  <a:pt x="5753" y="3194"/>
                </a:lnTo>
                <a:lnTo>
                  <a:pt x="5759" y="3229"/>
                </a:lnTo>
                <a:lnTo>
                  <a:pt x="5753" y="3266"/>
                </a:lnTo>
                <a:lnTo>
                  <a:pt x="5743" y="3297"/>
                </a:lnTo>
                <a:lnTo>
                  <a:pt x="5724" y="3327"/>
                </a:lnTo>
                <a:lnTo>
                  <a:pt x="5701" y="3352"/>
                </a:lnTo>
                <a:lnTo>
                  <a:pt x="5671" y="3369"/>
                </a:lnTo>
                <a:lnTo>
                  <a:pt x="5639" y="3381"/>
                </a:lnTo>
                <a:lnTo>
                  <a:pt x="5604" y="3385"/>
                </a:lnTo>
                <a:lnTo>
                  <a:pt x="4070" y="3385"/>
                </a:lnTo>
                <a:lnTo>
                  <a:pt x="4035" y="3381"/>
                </a:lnTo>
                <a:lnTo>
                  <a:pt x="4002" y="3369"/>
                </a:lnTo>
                <a:lnTo>
                  <a:pt x="3974" y="3352"/>
                </a:lnTo>
                <a:lnTo>
                  <a:pt x="3949" y="3327"/>
                </a:lnTo>
                <a:lnTo>
                  <a:pt x="3932" y="3297"/>
                </a:lnTo>
                <a:lnTo>
                  <a:pt x="3919" y="3266"/>
                </a:lnTo>
                <a:lnTo>
                  <a:pt x="3916" y="3229"/>
                </a:lnTo>
                <a:lnTo>
                  <a:pt x="3919" y="3194"/>
                </a:lnTo>
                <a:lnTo>
                  <a:pt x="3932" y="3160"/>
                </a:lnTo>
                <a:lnTo>
                  <a:pt x="3949" y="3130"/>
                </a:lnTo>
                <a:lnTo>
                  <a:pt x="3974" y="3106"/>
                </a:lnTo>
                <a:lnTo>
                  <a:pt x="4002" y="3088"/>
                </a:lnTo>
                <a:lnTo>
                  <a:pt x="4035" y="3076"/>
                </a:lnTo>
                <a:lnTo>
                  <a:pt x="4070" y="3072"/>
                </a:lnTo>
                <a:close/>
                <a:moveTo>
                  <a:pt x="4030" y="2621"/>
                </a:moveTo>
                <a:lnTo>
                  <a:pt x="5562" y="2621"/>
                </a:lnTo>
                <a:lnTo>
                  <a:pt x="5599" y="2625"/>
                </a:lnTo>
                <a:lnTo>
                  <a:pt x="5631" y="2637"/>
                </a:lnTo>
                <a:lnTo>
                  <a:pt x="5660" y="2656"/>
                </a:lnTo>
                <a:lnTo>
                  <a:pt x="5683" y="2679"/>
                </a:lnTo>
                <a:lnTo>
                  <a:pt x="5702" y="2709"/>
                </a:lnTo>
                <a:lnTo>
                  <a:pt x="5713" y="2742"/>
                </a:lnTo>
                <a:lnTo>
                  <a:pt x="5718" y="2778"/>
                </a:lnTo>
                <a:lnTo>
                  <a:pt x="5713" y="2814"/>
                </a:lnTo>
                <a:lnTo>
                  <a:pt x="5702" y="2848"/>
                </a:lnTo>
                <a:lnTo>
                  <a:pt x="5683" y="2876"/>
                </a:lnTo>
                <a:lnTo>
                  <a:pt x="5660" y="2900"/>
                </a:lnTo>
                <a:lnTo>
                  <a:pt x="5631" y="2920"/>
                </a:lnTo>
                <a:lnTo>
                  <a:pt x="5599" y="2930"/>
                </a:lnTo>
                <a:lnTo>
                  <a:pt x="5562" y="2936"/>
                </a:lnTo>
                <a:lnTo>
                  <a:pt x="4030" y="2936"/>
                </a:lnTo>
                <a:lnTo>
                  <a:pt x="3995" y="2930"/>
                </a:lnTo>
                <a:lnTo>
                  <a:pt x="3961" y="2920"/>
                </a:lnTo>
                <a:lnTo>
                  <a:pt x="3933" y="2900"/>
                </a:lnTo>
                <a:lnTo>
                  <a:pt x="3909" y="2876"/>
                </a:lnTo>
                <a:lnTo>
                  <a:pt x="3891" y="2848"/>
                </a:lnTo>
                <a:lnTo>
                  <a:pt x="3879" y="2814"/>
                </a:lnTo>
                <a:lnTo>
                  <a:pt x="3875" y="2778"/>
                </a:lnTo>
                <a:lnTo>
                  <a:pt x="3879" y="2742"/>
                </a:lnTo>
                <a:lnTo>
                  <a:pt x="3891" y="2709"/>
                </a:lnTo>
                <a:lnTo>
                  <a:pt x="3909" y="2679"/>
                </a:lnTo>
                <a:lnTo>
                  <a:pt x="3933" y="2656"/>
                </a:lnTo>
                <a:lnTo>
                  <a:pt x="3961" y="2637"/>
                </a:lnTo>
                <a:lnTo>
                  <a:pt x="3995" y="2625"/>
                </a:lnTo>
                <a:lnTo>
                  <a:pt x="4030" y="2621"/>
                </a:lnTo>
                <a:close/>
                <a:moveTo>
                  <a:pt x="4097" y="2172"/>
                </a:moveTo>
                <a:lnTo>
                  <a:pt x="5629" y="2172"/>
                </a:lnTo>
                <a:lnTo>
                  <a:pt x="5666" y="2177"/>
                </a:lnTo>
                <a:lnTo>
                  <a:pt x="5697" y="2188"/>
                </a:lnTo>
                <a:lnTo>
                  <a:pt x="5725" y="2207"/>
                </a:lnTo>
                <a:lnTo>
                  <a:pt x="5750" y="2232"/>
                </a:lnTo>
                <a:lnTo>
                  <a:pt x="5767" y="2260"/>
                </a:lnTo>
                <a:lnTo>
                  <a:pt x="5780" y="2293"/>
                </a:lnTo>
                <a:lnTo>
                  <a:pt x="5783" y="2328"/>
                </a:lnTo>
                <a:lnTo>
                  <a:pt x="5780" y="2365"/>
                </a:lnTo>
                <a:lnTo>
                  <a:pt x="5767" y="2398"/>
                </a:lnTo>
                <a:lnTo>
                  <a:pt x="5750" y="2428"/>
                </a:lnTo>
                <a:lnTo>
                  <a:pt x="5725" y="2451"/>
                </a:lnTo>
                <a:lnTo>
                  <a:pt x="5697" y="2470"/>
                </a:lnTo>
                <a:lnTo>
                  <a:pt x="5666" y="2483"/>
                </a:lnTo>
                <a:lnTo>
                  <a:pt x="5629" y="2486"/>
                </a:lnTo>
                <a:lnTo>
                  <a:pt x="4097" y="2486"/>
                </a:lnTo>
                <a:lnTo>
                  <a:pt x="4061" y="2483"/>
                </a:lnTo>
                <a:lnTo>
                  <a:pt x="4028" y="2470"/>
                </a:lnTo>
                <a:lnTo>
                  <a:pt x="4000" y="2451"/>
                </a:lnTo>
                <a:lnTo>
                  <a:pt x="3975" y="2428"/>
                </a:lnTo>
                <a:lnTo>
                  <a:pt x="3958" y="2398"/>
                </a:lnTo>
                <a:lnTo>
                  <a:pt x="3946" y="2365"/>
                </a:lnTo>
                <a:lnTo>
                  <a:pt x="3942" y="2328"/>
                </a:lnTo>
                <a:lnTo>
                  <a:pt x="3946" y="2293"/>
                </a:lnTo>
                <a:lnTo>
                  <a:pt x="3958" y="2260"/>
                </a:lnTo>
                <a:lnTo>
                  <a:pt x="3975" y="2232"/>
                </a:lnTo>
                <a:lnTo>
                  <a:pt x="4000" y="2207"/>
                </a:lnTo>
                <a:lnTo>
                  <a:pt x="4028" y="2188"/>
                </a:lnTo>
                <a:lnTo>
                  <a:pt x="4061" y="2177"/>
                </a:lnTo>
                <a:lnTo>
                  <a:pt x="4097" y="2172"/>
                </a:lnTo>
                <a:close/>
                <a:moveTo>
                  <a:pt x="4140" y="1364"/>
                </a:moveTo>
                <a:lnTo>
                  <a:pt x="4193" y="1369"/>
                </a:lnTo>
                <a:lnTo>
                  <a:pt x="4244" y="1384"/>
                </a:lnTo>
                <a:lnTo>
                  <a:pt x="4290" y="1406"/>
                </a:lnTo>
                <a:lnTo>
                  <a:pt x="4330" y="1434"/>
                </a:lnTo>
                <a:lnTo>
                  <a:pt x="4365" y="1471"/>
                </a:lnTo>
                <a:lnTo>
                  <a:pt x="4395" y="1512"/>
                </a:lnTo>
                <a:lnTo>
                  <a:pt x="4416" y="1559"/>
                </a:lnTo>
                <a:lnTo>
                  <a:pt x="4430" y="1610"/>
                </a:lnTo>
                <a:lnTo>
                  <a:pt x="4435" y="1663"/>
                </a:lnTo>
                <a:lnTo>
                  <a:pt x="4430" y="1717"/>
                </a:lnTo>
                <a:lnTo>
                  <a:pt x="4416" y="1766"/>
                </a:lnTo>
                <a:lnTo>
                  <a:pt x="4395" y="1814"/>
                </a:lnTo>
                <a:lnTo>
                  <a:pt x="4365" y="1854"/>
                </a:lnTo>
                <a:lnTo>
                  <a:pt x="4330" y="1891"/>
                </a:lnTo>
                <a:lnTo>
                  <a:pt x="4290" y="1921"/>
                </a:lnTo>
                <a:lnTo>
                  <a:pt x="4244" y="1942"/>
                </a:lnTo>
                <a:lnTo>
                  <a:pt x="4193" y="1956"/>
                </a:lnTo>
                <a:lnTo>
                  <a:pt x="4140" y="1961"/>
                </a:lnTo>
                <a:lnTo>
                  <a:pt x="4088" y="1956"/>
                </a:lnTo>
                <a:lnTo>
                  <a:pt x="4039" y="1942"/>
                </a:lnTo>
                <a:lnTo>
                  <a:pt x="3993" y="1921"/>
                </a:lnTo>
                <a:lnTo>
                  <a:pt x="3953" y="1891"/>
                </a:lnTo>
                <a:lnTo>
                  <a:pt x="3917" y="1854"/>
                </a:lnTo>
                <a:lnTo>
                  <a:pt x="3888" y="1814"/>
                </a:lnTo>
                <a:lnTo>
                  <a:pt x="3867" y="1766"/>
                </a:lnTo>
                <a:lnTo>
                  <a:pt x="3853" y="1717"/>
                </a:lnTo>
                <a:lnTo>
                  <a:pt x="3847" y="1663"/>
                </a:lnTo>
                <a:lnTo>
                  <a:pt x="3853" y="1610"/>
                </a:lnTo>
                <a:lnTo>
                  <a:pt x="3867" y="1559"/>
                </a:lnTo>
                <a:lnTo>
                  <a:pt x="3888" y="1512"/>
                </a:lnTo>
                <a:lnTo>
                  <a:pt x="3917" y="1471"/>
                </a:lnTo>
                <a:lnTo>
                  <a:pt x="3953" y="1434"/>
                </a:lnTo>
                <a:lnTo>
                  <a:pt x="3993" y="1406"/>
                </a:lnTo>
                <a:lnTo>
                  <a:pt x="4039" y="1384"/>
                </a:lnTo>
                <a:lnTo>
                  <a:pt x="4088" y="1369"/>
                </a:lnTo>
                <a:lnTo>
                  <a:pt x="4140" y="1364"/>
                </a:lnTo>
                <a:close/>
                <a:moveTo>
                  <a:pt x="997" y="1364"/>
                </a:moveTo>
                <a:lnTo>
                  <a:pt x="1050" y="1369"/>
                </a:lnTo>
                <a:lnTo>
                  <a:pt x="1099" y="1384"/>
                </a:lnTo>
                <a:lnTo>
                  <a:pt x="1144" y="1406"/>
                </a:lnTo>
                <a:lnTo>
                  <a:pt x="1185" y="1434"/>
                </a:lnTo>
                <a:lnTo>
                  <a:pt x="1222" y="1471"/>
                </a:lnTo>
                <a:lnTo>
                  <a:pt x="1250" y="1512"/>
                </a:lnTo>
                <a:lnTo>
                  <a:pt x="1272" y="1559"/>
                </a:lnTo>
                <a:lnTo>
                  <a:pt x="1285" y="1610"/>
                </a:lnTo>
                <a:lnTo>
                  <a:pt x="1290" y="1663"/>
                </a:lnTo>
                <a:lnTo>
                  <a:pt x="1285" y="1717"/>
                </a:lnTo>
                <a:lnTo>
                  <a:pt x="1272" y="1766"/>
                </a:lnTo>
                <a:lnTo>
                  <a:pt x="1250" y="1814"/>
                </a:lnTo>
                <a:lnTo>
                  <a:pt x="1222" y="1854"/>
                </a:lnTo>
                <a:lnTo>
                  <a:pt x="1186" y="1891"/>
                </a:lnTo>
                <a:lnTo>
                  <a:pt x="1144" y="1921"/>
                </a:lnTo>
                <a:lnTo>
                  <a:pt x="1099" y="1942"/>
                </a:lnTo>
                <a:lnTo>
                  <a:pt x="1050" y="1956"/>
                </a:lnTo>
                <a:lnTo>
                  <a:pt x="997" y="1961"/>
                </a:lnTo>
                <a:lnTo>
                  <a:pt x="944" y="1956"/>
                </a:lnTo>
                <a:lnTo>
                  <a:pt x="895" y="1942"/>
                </a:lnTo>
                <a:lnTo>
                  <a:pt x="849" y="1921"/>
                </a:lnTo>
                <a:lnTo>
                  <a:pt x="807" y="1891"/>
                </a:lnTo>
                <a:lnTo>
                  <a:pt x="772" y="1854"/>
                </a:lnTo>
                <a:lnTo>
                  <a:pt x="744" y="1814"/>
                </a:lnTo>
                <a:lnTo>
                  <a:pt x="721" y="1766"/>
                </a:lnTo>
                <a:lnTo>
                  <a:pt x="709" y="1717"/>
                </a:lnTo>
                <a:lnTo>
                  <a:pt x="704" y="1663"/>
                </a:lnTo>
                <a:lnTo>
                  <a:pt x="709" y="1610"/>
                </a:lnTo>
                <a:lnTo>
                  <a:pt x="721" y="1559"/>
                </a:lnTo>
                <a:lnTo>
                  <a:pt x="744" y="1512"/>
                </a:lnTo>
                <a:lnTo>
                  <a:pt x="772" y="1471"/>
                </a:lnTo>
                <a:lnTo>
                  <a:pt x="807" y="1434"/>
                </a:lnTo>
                <a:lnTo>
                  <a:pt x="849" y="1406"/>
                </a:lnTo>
                <a:lnTo>
                  <a:pt x="895" y="1384"/>
                </a:lnTo>
                <a:lnTo>
                  <a:pt x="944" y="1369"/>
                </a:lnTo>
                <a:lnTo>
                  <a:pt x="997" y="1364"/>
                </a:lnTo>
                <a:close/>
                <a:moveTo>
                  <a:pt x="2464" y="1001"/>
                </a:moveTo>
                <a:lnTo>
                  <a:pt x="2464" y="1154"/>
                </a:lnTo>
                <a:lnTo>
                  <a:pt x="2399" y="1168"/>
                </a:lnTo>
                <a:lnTo>
                  <a:pt x="2341" y="1189"/>
                </a:lnTo>
                <a:lnTo>
                  <a:pt x="2292" y="1215"/>
                </a:lnTo>
                <a:lnTo>
                  <a:pt x="2248" y="1245"/>
                </a:lnTo>
                <a:lnTo>
                  <a:pt x="2213" y="1280"/>
                </a:lnTo>
                <a:lnTo>
                  <a:pt x="2185" y="1319"/>
                </a:lnTo>
                <a:lnTo>
                  <a:pt x="2164" y="1361"/>
                </a:lnTo>
                <a:lnTo>
                  <a:pt x="2152" y="1406"/>
                </a:lnTo>
                <a:lnTo>
                  <a:pt x="2148" y="1455"/>
                </a:lnTo>
                <a:lnTo>
                  <a:pt x="2152" y="1501"/>
                </a:lnTo>
                <a:lnTo>
                  <a:pt x="2164" y="1545"/>
                </a:lnTo>
                <a:lnTo>
                  <a:pt x="2183" y="1582"/>
                </a:lnTo>
                <a:lnTo>
                  <a:pt x="2210" y="1617"/>
                </a:lnTo>
                <a:lnTo>
                  <a:pt x="2241" y="1647"/>
                </a:lnTo>
                <a:lnTo>
                  <a:pt x="2280" y="1675"/>
                </a:lnTo>
                <a:lnTo>
                  <a:pt x="2322" y="1700"/>
                </a:lnTo>
                <a:lnTo>
                  <a:pt x="2371" y="1721"/>
                </a:lnTo>
                <a:lnTo>
                  <a:pt x="2424" y="1742"/>
                </a:lnTo>
                <a:lnTo>
                  <a:pt x="2480" y="1759"/>
                </a:lnTo>
                <a:lnTo>
                  <a:pt x="2531" y="1775"/>
                </a:lnTo>
                <a:lnTo>
                  <a:pt x="2573" y="1791"/>
                </a:lnTo>
                <a:lnTo>
                  <a:pt x="2608" y="1805"/>
                </a:lnTo>
                <a:lnTo>
                  <a:pt x="2633" y="1821"/>
                </a:lnTo>
                <a:lnTo>
                  <a:pt x="2650" y="1838"/>
                </a:lnTo>
                <a:lnTo>
                  <a:pt x="2661" y="1858"/>
                </a:lnTo>
                <a:lnTo>
                  <a:pt x="2664" y="1877"/>
                </a:lnTo>
                <a:lnTo>
                  <a:pt x="2661" y="1898"/>
                </a:lnTo>
                <a:lnTo>
                  <a:pt x="2650" y="1915"/>
                </a:lnTo>
                <a:lnTo>
                  <a:pt x="2633" y="1930"/>
                </a:lnTo>
                <a:lnTo>
                  <a:pt x="2608" y="1940"/>
                </a:lnTo>
                <a:lnTo>
                  <a:pt x="2580" y="1947"/>
                </a:lnTo>
                <a:lnTo>
                  <a:pt x="2547" y="1951"/>
                </a:lnTo>
                <a:lnTo>
                  <a:pt x="2510" y="1952"/>
                </a:lnTo>
                <a:lnTo>
                  <a:pt x="2438" y="1949"/>
                </a:lnTo>
                <a:lnTo>
                  <a:pt x="2369" y="1938"/>
                </a:lnTo>
                <a:lnTo>
                  <a:pt x="2306" y="1921"/>
                </a:lnTo>
                <a:lnTo>
                  <a:pt x="2248" y="1901"/>
                </a:lnTo>
                <a:lnTo>
                  <a:pt x="2197" y="1880"/>
                </a:lnTo>
                <a:lnTo>
                  <a:pt x="2140" y="2105"/>
                </a:lnTo>
                <a:lnTo>
                  <a:pt x="2187" y="2124"/>
                </a:lnTo>
                <a:lnTo>
                  <a:pt x="2243" y="2142"/>
                </a:lnTo>
                <a:lnTo>
                  <a:pt x="2310" y="2158"/>
                </a:lnTo>
                <a:lnTo>
                  <a:pt x="2380" y="2168"/>
                </a:lnTo>
                <a:lnTo>
                  <a:pt x="2454" y="2175"/>
                </a:lnTo>
                <a:lnTo>
                  <a:pt x="2454" y="2326"/>
                </a:lnTo>
                <a:lnTo>
                  <a:pt x="2657" y="2326"/>
                </a:lnTo>
                <a:lnTo>
                  <a:pt x="2657" y="2161"/>
                </a:lnTo>
                <a:lnTo>
                  <a:pt x="2726" y="2145"/>
                </a:lnTo>
                <a:lnTo>
                  <a:pt x="2785" y="2124"/>
                </a:lnTo>
                <a:lnTo>
                  <a:pt x="2838" y="2098"/>
                </a:lnTo>
                <a:lnTo>
                  <a:pt x="2884" y="2066"/>
                </a:lnTo>
                <a:lnTo>
                  <a:pt x="2921" y="2030"/>
                </a:lnTo>
                <a:lnTo>
                  <a:pt x="2950" y="1989"/>
                </a:lnTo>
                <a:lnTo>
                  <a:pt x="2971" y="1945"/>
                </a:lnTo>
                <a:lnTo>
                  <a:pt x="2986" y="1900"/>
                </a:lnTo>
                <a:lnTo>
                  <a:pt x="2989" y="1851"/>
                </a:lnTo>
                <a:lnTo>
                  <a:pt x="2986" y="1803"/>
                </a:lnTo>
                <a:lnTo>
                  <a:pt x="2977" y="1759"/>
                </a:lnTo>
                <a:lnTo>
                  <a:pt x="2959" y="1719"/>
                </a:lnTo>
                <a:lnTo>
                  <a:pt x="2935" y="1684"/>
                </a:lnTo>
                <a:lnTo>
                  <a:pt x="2903" y="1649"/>
                </a:lnTo>
                <a:lnTo>
                  <a:pt x="2863" y="1619"/>
                </a:lnTo>
                <a:lnTo>
                  <a:pt x="2812" y="1591"/>
                </a:lnTo>
                <a:lnTo>
                  <a:pt x="2752" y="1564"/>
                </a:lnTo>
                <a:lnTo>
                  <a:pt x="2682" y="1542"/>
                </a:lnTo>
                <a:lnTo>
                  <a:pt x="2624" y="1522"/>
                </a:lnTo>
                <a:lnTo>
                  <a:pt x="2577" y="1505"/>
                </a:lnTo>
                <a:lnTo>
                  <a:pt x="2538" y="1487"/>
                </a:lnTo>
                <a:lnTo>
                  <a:pt x="2508" y="1471"/>
                </a:lnTo>
                <a:lnTo>
                  <a:pt x="2489" y="1455"/>
                </a:lnTo>
                <a:lnTo>
                  <a:pt x="2477" y="1440"/>
                </a:lnTo>
                <a:lnTo>
                  <a:pt x="2473" y="1422"/>
                </a:lnTo>
                <a:lnTo>
                  <a:pt x="2475" y="1408"/>
                </a:lnTo>
                <a:lnTo>
                  <a:pt x="2482" y="1392"/>
                </a:lnTo>
                <a:lnTo>
                  <a:pt x="2494" y="1380"/>
                </a:lnTo>
                <a:lnTo>
                  <a:pt x="2512" y="1369"/>
                </a:lnTo>
                <a:lnTo>
                  <a:pt x="2536" y="1361"/>
                </a:lnTo>
                <a:lnTo>
                  <a:pt x="2570" y="1354"/>
                </a:lnTo>
                <a:lnTo>
                  <a:pt x="2610" y="1352"/>
                </a:lnTo>
                <a:lnTo>
                  <a:pt x="2673" y="1355"/>
                </a:lnTo>
                <a:lnTo>
                  <a:pt x="2728" y="1362"/>
                </a:lnTo>
                <a:lnTo>
                  <a:pt x="2777" y="1373"/>
                </a:lnTo>
                <a:lnTo>
                  <a:pt x="2817" y="1385"/>
                </a:lnTo>
                <a:lnTo>
                  <a:pt x="2852" y="1398"/>
                </a:lnTo>
                <a:lnTo>
                  <a:pt x="2878" y="1408"/>
                </a:lnTo>
                <a:lnTo>
                  <a:pt x="2935" y="1192"/>
                </a:lnTo>
                <a:lnTo>
                  <a:pt x="2901" y="1178"/>
                </a:lnTo>
                <a:lnTo>
                  <a:pt x="2864" y="1168"/>
                </a:lnTo>
                <a:lnTo>
                  <a:pt x="2822" y="1157"/>
                </a:lnTo>
                <a:lnTo>
                  <a:pt x="2775" y="1148"/>
                </a:lnTo>
                <a:lnTo>
                  <a:pt x="2722" y="1143"/>
                </a:lnTo>
                <a:lnTo>
                  <a:pt x="2664" y="1139"/>
                </a:lnTo>
                <a:lnTo>
                  <a:pt x="2664" y="1001"/>
                </a:lnTo>
                <a:lnTo>
                  <a:pt x="2464" y="1001"/>
                </a:lnTo>
                <a:close/>
                <a:moveTo>
                  <a:pt x="2570" y="557"/>
                </a:moveTo>
                <a:lnTo>
                  <a:pt x="2668" y="562"/>
                </a:lnTo>
                <a:lnTo>
                  <a:pt x="2764" y="578"/>
                </a:lnTo>
                <a:lnTo>
                  <a:pt x="2856" y="606"/>
                </a:lnTo>
                <a:lnTo>
                  <a:pt x="2945" y="643"/>
                </a:lnTo>
                <a:lnTo>
                  <a:pt x="3029" y="690"/>
                </a:lnTo>
                <a:lnTo>
                  <a:pt x="3108" y="744"/>
                </a:lnTo>
                <a:lnTo>
                  <a:pt x="3182" y="809"/>
                </a:lnTo>
                <a:lnTo>
                  <a:pt x="3251" y="880"/>
                </a:lnTo>
                <a:lnTo>
                  <a:pt x="3314" y="959"/>
                </a:lnTo>
                <a:lnTo>
                  <a:pt x="3368" y="1045"/>
                </a:lnTo>
                <a:lnTo>
                  <a:pt x="3417" y="1136"/>
                </a:lnTo>
                <a:lnTo>
                  <a:pt x="3458" y="1233"/>
                </a:lnTo>
                <a:lnTo>
                  <a:pt x="3491" y="1334"/>
                </a:lnTo>
                <a:lnTo>
                  <a:pt x="3514" y="1440"/>
                </a:lnTo>
                <a:lnTo>
                  <a:pt x="3528" y="1550"/>
                </a:lnTo>
                <a:lnTo>
                  <a:pt x="3533" y="1663"/>
                </a:lnTo>
                <a:lnTo>
                  <a:pt x="3528" y="1777"/>
                </a:lnTo>
                <a:lnTo>
                  <a:pt x="3514" y="1886"/>
                </a:lnTo>
                <a:lnTo>
                  <a:pt x="3491" y="1993"/>
                </a:lnTo>
                <a:lnTo>
                  <a:pt x="3458" y="2093"/>
                </a:lnTo>
                <a:lnTo>
                  <a:pt x="3417" y="2191"/>
                </a:lnTo>
                <a:lnTo>
                  <a:pt x="3370" y="2282"/>
                </a:lnTo>
                <a:lnTo>
                  <a:pt x="3314" y="2367"/>
                </a:lnTo>
                <a:lnTo>
                  <a:pt x="3251" y="2446"/>
                </a:lnTo>
                <a:lnTo>
                  <a:pt x="3182" y="2516"/>
                </a:lnTo>
                <a:lnTo>
                  <a:pt x="3108" y="2581"/>
                </a:lnTo>
                <a:lnTo>
                  <a:pt x="3029" y="2635"/>
                </a:lnTo>
                <a:lnTo>
                  <a:pt x="2945" y="2683"/>
                </a:lnTo>
                <a:lnTo>
                  <a:pt x="2856" y="2720"/>
                </a:lnTo>
                <a:lnTo>
                  <a:pt x="2764" y="2748"/>
                </a:lnTo>
                <a:lnTo>
                  <a:pt x="2668" y="2763"/>
                </a:lnTo>
                <a:lnTo>
                  <a:pt x="2570" y="2769"/>
                </a:lnTo>
                <a:lnTo>
                  <a:pt x="2471" y="2763"/>
                </a:lnTo>
                <a:lnTo>
                  <a:pt x="2375" y="2748"/>
                </a:lnTo>
                <a:lnTo>
                  <a:pt x="2282" y="2720"/>
                </a:lnTo>
                <a:lnTo>
                  <a:pt x="2194" y="2683"/>
                </a:lnTo>
                <a:lnTo>
                  <a:pt x="2110" y="2635"/>
                </a:lnTo>
                <a:lnTo>
                  <a:pt x="2029" y="2581"/>
                </a:lnTo>
                <a:lnTo>
                  <a:pt x="1955" y="2516"/>
                </a:lnTo>
                <a:lnTo>
                  <a:pt x="1887" y="2446"/>
                </a:lnTo>
                <a:lnTo>
                  <a:pt x="1825" y="2367"/>
                </a:lnTo>
                <a:lnTo>
                  <a:pt x="1769" y="2282"/>
                </a:lnTo>
                <a:lnTo>
                  <a:pt x="1720" y="2191"/>
                </a:lnTo>
                <a:lnTo>
                  <a:pt x="1680" y="2093"/>
                </a:lnTo>
                <a:lnTo>
                  <a:pt x="1648" y="1993"/>
                </a:lnTo>
                <a:lnTo>
                  <a:pt x="1624" y="1886"/>
                </a:lnTo>
                <a:lnTo>
                  <a:pt x="1609" y="1777"/>
                </a:lnTo>
                <a:lnTo>
                  <a:pt x="1604" y="1663"/>
                </a:lnTo>
                <a:lnTo>
                  <a:pt x="1609" y="1550"/>
                </a:lnTo>
                <a:lnTo>
                  <a:pt x="1624" y="1440"/>
                </a:lnTo>
                <a:lnTo>
                  <a:pt x="1648" y="1334"/>
                </a:lnTo>
                <a:lnTo>
                  <a:pt x="1680" y="1233"/>
                </a:lnTo>
                <a:lnTo>
                  <a:pt x="1720" y="1136"/>
                </a:lnTo>
                <a:lnTo>
                  <a:pt x="1769" y="1045"/>
                </a:lnTo>
                <a:lnTo>
                  <a:pt x="1825" y="959"/>
                </a:lnTo>
                <a:lnTo>
                  <a:pt x="1887" y="880"/>
                </a:lnTo>
                <a:lnTo>
                  <a:pt x="1955" y="809"/>
                </a:lnTo>
                <a:lnTo>
                  <a:pt x="2029" y="744"/>
                </a:lnTo>
                <a:lnTo>
                  <a:pt x="2110" y="690"/>
                </a:lnTo>
                <a:lnTo>
                  <a:pt x="2194" y="643"/>
                </a:lnTo>
                <a:lnTo>
                  <a:pt x="2282" y="606"/>
                </a:lnTo>
                <a:lnTo>
                  <a:pt x="2375" y="578"/>
                </a:lnTo>
                <a:lnTo>
                  <a:pt x="2471" y="562"/>
                </a:lnTo>
                <a:lnTo>
                  <a:pt x="2570" y="557"/>
                </a:lnTo>
                <a:close/>
                <a:moveTo>
                  <a:pt x="176" y="0"/>
                </a:moveTo>
                <a:lnTo>
                  <a:pt x="4962" y="0"/>
                </a:lnTo>
                <a:lnTo>
                  <a:pt x="5002" y="5"/>
                </a:lnTo>
                <a:lnTo>
                  <a:pt x="5039" y="18"/>
                </a:lnTo>
                <a:lnTo>
                  <a:pt x="5072" y="39"/>
                </a:lnTo>
                <a:lnTo>
                  <a:pt x="5100" y="67"/>
                </a:lnTo>
                <a:lnTo>
                  <a:pt x="5120" y="100"/>
                </a:lnTo>
                <a:lnTo>
                  <a:pt x="5134" y="139"/>
                </a:lnTo>
                <a:lnTo>
                  <a:pt x="5139" y="179"/>
                </a:lnTo>
                <a:lnTo>
                  <a:pt x="5139" y="1975"/>
                </a:lnTo>
                <a:lnTo>
                  <a:pt x="4821" y="1975"/>
                </a:lnTo>
                <a:lnTo>
                  <a:pt x="4821" y="830"/>
                </a:lnTo>
                <a:lnTo>
                  <a:pt x="4748" y="811"/>
                </a:lnTo>
                <a:lnTo>
                  <a:pt x="4677" y="783"/>
                </a:lnTo>
                <a:lnTo>
                  <a:pt x="4613" y="748"/>
                </a:lnTo>
                <a:lnTo>
                  <a:pt x="4551" y="704"/>
                </a:lnTo>
                <a:lnTo>
                  <a:pt x="4497" y="655"/>
                </a:lnTo>
                <a:lnTo>
                  <a:pt x="4448" y="599"/>
                </a:lnTo>
                <a:lnTo>
                  <a:pt x="4405" y="536"/>
                </a:lnTo>
                <a:lnTo>
                  <a:pt x="4372" y="469"/>
                </a:lnTo>
                <a:lnTo>
                  <a:pt x="4344" y="397"/>
                </a:lnTo>
                <a:lnTo>
                  <a:pt x="4326" y="321"/>
                </a:lnTo>
                <a:lnTo>
                  <a:pt x="806" y="321"/>
                </a:lnTo>
                <a:lnTo>
                  <a:pt x="786" y="397"/>
                </a:lnTo>
                <a:lnTo>
                  <a:pt x="760" y="467"/>
                </a:lnTo>
                <a:lnTo>
                  <a:pt x="727" y="534"/>
                </a:lnTo>
                <a:lnTo>
                  <a:pt x="685" y="595"/>
                </a:lnTo>
                <a:lnTo>
                  <a:pt x="637" y="653"/>
                </a:lnTo>
                <a:lnTo>
                  <a:pt x="583" y="702"/>
                </a:lnTo>
                <a:lnTo>
                  <a:pt x="523" y="746"/>
                </a:lnTo>
                <a:lnTo>
                  <a:pt x="458" y="781"/>
                </a:lnTo>
                <a:lnTo>
                  <a:pt x="390" y="809"/>
                </a:lnTo>
                <a:lnTo>
                  <a:pt x="316" y="830"/>
                </a:lnTo>
                <a:lnTo>
                  <a:pt x="316" y="2542"/>
                </a:lnTo>
                <a:lnTo>
                  <a:pt x="388" y="2562"/>
                </a:lnTo>
                <a:lnTo>
                  <a:pt x="456" y="2590"/>
                </a:lnTo>
                <a:lnTo>
                  <a:pt x="520" y="2625"/>
                </a:lnTo>
                <a:lnTo>
                  <a:pt x="579" y="2667"/>
                </a:lnTo>
                <a:lnTo>
                  <a:pt x="634" y="2716"/>
                </a:lnTo>
                <a:lnTo>
                  <a:pt x="681" y="2771"/>
                </a:lnTo>
                <a:lnTo>
                  <a:pt x="723" y="2830"/>
                </a:lnTo>
                <a:lnTo>
                  <a:pt x="758" y="2897"/>
                </a:lnTo>
                <a:lnTo>
                  <a:pt x="785" y="2965"/>
                </a:lnTo>
                <a:lnTo>
                  <a:pt x="804" y="3039"/>
                </a:lnTo>
                <a:lnTo>
                  <a:pt x="3779" y="3039"/>
                </a:lnTo>
                <a:lnTo>
                  <a:pt x="3756" y="3081"/>
                </a:lnTo>
                <a:lnTo>
                  <a:pt x="3738" y="3129"/>
                </a:lnTo>
                <a:lnTo>
                  <a:pt x="3728" y="3178"/>
                </a:lnTo>
                <a:lnTo>
                  <a:pt x="3724" y="3229"/>
                </a:lnTo>
                <a:lnTo>
                  <a:pt x="3726" y="3274"/>
                </a:lnTo>
                <a:lnTo>
                  <a:pt x="3735" y="3318"/>
                </a:lnTo>
                <a:lnTo>
                  <a:pt x="3749" y="3360"/>
                </a:lnTo>
                <a:lnTo>
                  <a:pt x="176" y="3360"/>
                </a:lnTo>
                <a:lnTo>
                  <a:pt x="135" y="3355"/>
                </a:lnTo>
                <a:lnTo>
                  <a:pt x="98" y="3343"/>
                </a:lnTo>
                <a:lnTo>
                  <a:pt x="65" y="3322"/>
                </a:lnTo>
                <a:lnTo>
                  <a:pt x="39" y="3294"/>
                </a:lnTo>
                <a:lnTo>
                  <a:pt x="18" y="3260"/>
                </a:lnTo>
                <a:lnTo>
                  <a:pt x="5" y="3223"/>
                </a:lnTo>
                <a:lnTo>
                  <a:pt x="0" y="3181"/>
                </a:lnTo>
                <a:lnTo>
                  <a:pt x="0" y="179"/>
                </a:lnTo>
                <a:lnTo>
                  <a:pt x="5" y="139"/>
                </a:lnTo>
                <a:lnTo>
                  <a:pt x="18" y="100"/>
                </a:lnTo>
                <a:lnTo>
                  <a:pt x="39" y="67"/>
                </a:lnTo>
                <a:lnTo>
                  <a:pt x="65" y="39"/>
                </a:lnTo>
                <a:lnTo>
                  <a:pt x="98" y="18"/>
                </a:lnTo>
                <a:lnTo>
                  <a:pt x="135" y="5"/>
                </a:lnTo>
                <a:lnTo>
                  <a:pt x="176" y="0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730294" y="3678971"/>
            <a:ext cx="8656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Technology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370020" y="3602026"/>
            <a:ext cx="6925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Payment model</a:t>
            </a:r>
          </a:p>
        </p:txBody>
      </p:sp>
      <p:sp>
        <p:nvSpPr>
          <p:cNvPr id="52" name="Freeform 62"/>
          <p:cNvSpPr>
            <a:spLocks noChangeAspect="1" noEditPoints="1"/>
          </p:cNvSpPr>
          <p:nvPr/>
        </p:nvSpPr>
        <p:spPr bwMode="auto">
          <a:xfrm>
            <a:off x="5275559" y="3027764"/>
            <a:ext cx="402336" cy="371916"/>
          </a:xfrm>
          <a:custGeom>
            <a:avLst/>
            <a:gdLst>
              <a:gd name="T0" fmla="*/ 33 w 195"/>
              <a:gd name="T1" fmla="*/ 62 h 180"/>
              <a:gd name="T2" fmla="*/ 74 w 195"/>
              <a:gd name="T3" fmla="*/ 18 h 180"/>
              <a:gd name="T4" fmla="*/ 102 w 195"/>
              <a:gd name="T5" fmla="*/ 45 h 180"/>
              <a:gd name="T6" fmla="*/ 61 w 195"/>
              <a:gd name="T7" fmla="*/ 88 h 180"/>
              <a:gd name="T8" fmla="*/ 33 w 195"/>
              <a:gd name="T9" fmla="*/ 62 h 180"/>
              <a:gd name="T10" fmla="*/ 107 w 195"/>
              <a:gd name="T11" fmla="*/ 41 h 180"/>
              <a:gd name="T12" fmla="*/ 114 w 195"/>
              <a:gd name="T13" fmla="*/ 41 h 180"/>
              <a:gd name="T14" fmla="*/ 117 w 195"/>
              <a:gd name="T15" fmla="*/ 38 h 180"/>
              <a:gd name="T16" fmla="*/ 117 w 195"/>
              <a:gd name="T17" fmla="*/ 30 h 180"/>
              <a:gd name="T18" fmla="*/ 87 w 195"/>
              <a:gd name="T19" fmla="*/ 2 h 180"/>
              <a:gd name="T20" fmla="*/ 80 w 195"/>
              <a:gd name="T21" fmla="*/ 3 h 180"/>
              <a:gd name="T22" fmla="*/ 77 w 195"/>
              <a:gd name="T23" fmla="*/ 6 h 180"/>
              <a:gd name="T24" fmla="*/ 77 w 195"/>
              <a:gd name="T25" fmla="*/ 13 h 180"/>
              <a:gd name="T26" fmla="*/ 107 w 195"/>
              <a:gd name="T27" fmla="*/ 41 h 180"/>
              <a:gd name="T28" fmla="*/ 47 w 195"/>
              <a:gd name="T29" fmla="*/ 104 h 180"/>
              <a:gd name="T30" fmla="*/ 55 w 195"/>
              <a:gd name="T31" fmla="*/ 104 h 180"/>
              <a:gd name="T32" fmla="*/ 58 w 195"/>
              <a:gd name="T33" fmla="*/ 101 h 180"/>
              <a:gd name="T34" fmla="*/ 57 w 195"/>
              <a:gd name="T35" fmla="*/ 93 h 180"/>
              <a:gd name="T36" fmla="*/ 28 w 195"/>
              <a:gd name="T37" fmla="*/ 65 h 180"/>
              <a:gd name="T38" fmla="*/ 20 w 195"/>
              <a:gd name="T39" fmla="*/ 66 h 180"/>
              <a:gd name="T40" fmla="*/ 17 w 195"/>
              <a:gd name="T41" fmla="*/ 69 h 180"/>
              <a:gd name="T42" fmla="*/ 18 w 195"/>
              <a:gd name="T43" fmla="*/ 76 h 180"/>
              <a:gd name="T44" fmla="*/ 47 w 195"/>
              <a:gd name="T45" fmla="*/ 104 h 180"/>
              <a:gd name="T46" fmla="*/ 80 w 195"/>
              <a:gd name="T47" fmla="*/ 77 h 180"/>
              <a:gd name="T48" fmla="*/ 177 w 195"/>
              <a:gd name="T49" fmla="*/ 169 h 180"/>
              <a:gd name="T50" fmla="*/ 189 w 195"/>
              <a:gd name="T51" fmla="*/ 171 h 180"/>
              <a:gd name="T52" fmla="*/ 193 w 195"/>
              <a:gd name="T53" fmla="*/ 167 h 180"/>
              <a:gd name="T54" fmla="*/ 190 w 195"/>
              <a:gd name="T55" fmla="*/ 156 h 180"/>
              <a:gd name="T56" fmla="*/ 92 w 195"/>
              <a:gd name="T57" fmla="*/ 64 h 180"/>
              <a:gd name="T58" fmla="*/ 80 w 195"/>
              <a:gd name="T59" fmla="*/ 77 h 180"/>
              <a:gd name="T60" fmla="*/ 113 w 195"/>
              <a:gd name="T61" fmla="*/ 168 h 180"/>
              <a:gd name="T62" fmla="*/ 111 w 195"/>
              <a:gd name="T63" fmla="*/ 166 h 180"/>
              <a:gd name="T64" fmla="*/ 3 w 195"/>
              <a:gd name="T65" fmla="*/ 166 h 180"/>
              <a:gd name="T66" fmla="*/ 0 w 195"/>
              <a:gd name="T67" fmla="*/ 168 h 180"/>
              <a:gd name="T68" fmla="*/ 0 w 195"/>
              <a:gd name="T69" fmla="*/ 178 h 180"/>
              <a:gd name="T70" fmla="*/ 3 w 195"/>
              <a:gd name="T71" fmla="*/ 180 h 180"/>
              <a:gd name="T72" fmla="*/ 111 w 195"/>
              <a:gd name="T73" fmla="*/ 180 h 180"/>
              <a:gd name="T74" fmla="*/ 113 w 195"/>
              <a:gd name="T75" fmla="*/ 178 h 180"/>
              <a:gd name="T76" fmla="*/ 113 w 195"/>
              <a:gd name="T77" fmla="*/ 168 h 180"/>
              <a:gd name="T78" fmla="*/ 25 w 195"/>
              <a:gd name="T79" fmla="*/ 148 h 180"/>
              <a:gd name="T80" fmla="*/ 89 w 195"/>
              <a:gd name="T81" fmla="*/ 148 h 180"/>
              <a:gd name="T82" fmla="*/ 96 w 195"/>
              <a:gd name="T83" fmla="*/ 154 h 180"/>
              <a:gd name="T84" fmla="*/ 96 w 195"/>
              <a:gd name="T85" fmla="*/ 160 h 180"/>
              <a:gd name="T86" fmla="*/ 17 w 195"/>
              <a:gd name="T87" fmla="*/ 160 h 180"/>
              <a:gd name="T88" fmla="*/ 17 w 195"/>
              <a:gd name="T89" fmla="*/ 154 h 180"/>
              <a:gd name="T90" fmla="*/ 25 w 195"/>
              <a:gd name="T91" fmla="*/ 148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95" h="180">
                <a:moveTo>
                  <a:pt x="33" y="62"/>
                </a:moveTo>
                <a:cubicBezTo>
                  <a:pt x="74" y="18"/>
                  <a:pt x="74" y="18"/>
                  <a:pt x="74" y="18"/>
                </a:cubicBezTo>
                <a:cubicBezTo>
                  <a:pt x="102" y="45"/>
                  <a:pt x="102" y="45"/>
                  <a:pt x="102" y="45"/>
                </a:cubicBezTo>
                <a:cubicBezTo>
                  <a:pt x="61" y="88"/>
                  <a:pt x="61" y="88"/>
                  <a:pt x="61" y="88"/>
                </a:cubicBezTo>
                <a:lnTo>
                  <a:pt x="33" y="62"/>
                </a:lnTo>
                <a:close/>
                <a:moveTo>
                  <a:pt x="107" y="41"/>
                </a:moveTo>
                <a:cubicBezTo>
                  <a:pt x="109" y="43"/>
                  <a:pt x="112" y="43"/>
                  <a:pt x="114" y="41"/>
                </a:cubicBezTo>
                <a:cubicBezTo>
                  <a:pt x="117" y="38"/>
                  <a:pt x="117" y="38"/>
                  <a:pt x="117" y="38"/>
                </a:cubicBezTo>
                <a:cubicBezTo>
                  <a:pt x="119" y="35"/>
                  <a:pt x="119" y="32"/>
                  <a:pt x="117" y="30"/>
                </a:cubicBezTo>
                <a:cubicBezTo>
                  <a:pt x="87" y="2"/>
                  <a:pt x="87" y="2"/>
                  <a:pt x="87" y="2"/>
                </a:cubicBezTo>
                <a:cubicBezTo>
                  <a:pt x="85" y="0"/>
                  <a:pt x="82" y="0"/>
                  <a:pt x="80" y="3"/>
                </a:cubicBezTo>
                <a:cubicBezTo>
                  <a:pt x="77" y="6"/>
                  <a:pt x="77" y="6"/>
                  <a:pt x="77" y="6"/>
                </a:cubicBezTo>
                <a:cubicBezTo>
                  <a:pt x="75" y="8"/>
                  <a:pt x="75" y="11"/>
                  <a:pt x="77" y="13"/>
                </a:cubicBezTo>
                <a:lnTo>
                  <a:pt x="107" y="41"/>
                </a:lnTo>
                <a:close/>
                <a:moveTo>
                  <a:pt x="47" y="104"/>
                </a:moveTo>
                <a:cubicBezTo>
                  <a:pt x="49" y="106"/>
                  <a:pt x="53" y="106"/>
                  <a:pt x="55" y="104"/>
                </a:cubicBezTo>
                <a:cubicBezTo>
                  <a:pt x="58" y="101"/>
                  <a:pt x="58" y="101"/>
                  <a:pt x="58" y="101"/>
                </a:cubicBezTo>
                <a:cubicBezTo>
                  <a:pt x="60" y="99"/>
                  <a:pt x="60" y="95"/>
                  <a:pt x="57" y="93"/>
                </a:cubicBezTo>
                <a:cubicBezTo>
                  <a:pt x="28" y="65"/>
                  <a:pt x="28" y="65"/>
                  <a:pt x="28" y="65"/>
                </a:cubicBezTo>
                <a:cubicBezTo>
                  <a:pt x="26" y="63"/>
                  <a:pt x="22" y="64"/>
                  <a:pt x="20" y="66"/>
                </a:cubicBezTo>
                <a:cubicBezTo>
                  <a:pt x="17" y="69"/>
                  <a:pt x="17" y="69"/>
                  <a:pt x="17" y="69"/>
                </a:cubicBezTo>
                <a:cubicBezTo>
                  <a:pt x="15" y="71"/>
                  <a:pt x="15" y="74"/>
                  <a:pt x="18" y="76"/>
                </a:cubicBezTo>
                <a:lnTo>
                  <a:pt x="47" y="104"/>
                </a:lnTo>
                <a:close/>
                <a:moveTo>
                  <a:pt x="80" y="77"/>
                </a:moveTo>
                <a:cubicBezTo>
                  <a:pt x="177" y="169"/>
                  <a:pt x="177" y="169"/>
                  <a:pt x="177" y="169"/>
                </a:cubicBezTo>
                <a:cubicBezTo>
                  <a:pt x="181" y="172"/>
                  <a:pt x="186" y="174"/>
                  <a:pt x="189" y="171"/>
                </a:cubicBezTo>
                <a:cubicBezTo>
                  <a:pt x="193" y="167"/>
                  <a:pt x="193" y="167"/>
                  <a:pt x="193" y="167"/>
                </a:cubicBezTo>
                <a:cubicBezTo>
                  <a:pt x="195" y="164"/>
                  <a:pt x="194" y="159"/>
                  <a:pt x="190" y="156"/>
                </a:cubicBezTo>
                <a:cubicBezTo>
                  <a:pt x="92" y="64"/>
                  <a:pt x="92" y="64"/>
                  <a:pt x="92" y="64"/>
                </a:cubicBezTo>
                <a:lnTo>
                  <a:pt x="80" y="77"/>
                </a:lnTo>
                <a:close/>
                <a:moveTo>
                  <a:pt x="113" y="168"/>
                </a:moveTo>
                <a:cubicBezTo>
                  <a:pt x="113" y="167"/>
                  <a:pt x="112" y="166"/>
                  <a:pt x="111" y="166"/>
                </a:cubicBezTo>
                <a:cubicBezTo>
                  <a:pt x="3" y="166"/>
                  <a:pt x="3" y="166"/>
                  <a:pt x="3" y="166"/>
                </a:cubicBezTo>
                <a:cubicBezTo>
                  <a:pt x="1" y="166"/>
                  <a:pt x="0" y="167"/>
                  <a:pt x="0" y="168"/>
                </a:cubicBezTo>
                <a:cubicBezTo>
                  <a:pt x="0" y="178"/>
                  <a:pt x="0" y="178"/>
                  <a:pt x="0" y="178"/>
                </a:cubicBezTo>
                <a:cubicBezTo>
                  <a:pt x="0" y="179"/>
                  <a:pt x="1" y="180"/>
                  <a:pt x="3" y="180"/>
                </a:cubicBezTo>
                <a:cubicBezTo>
                  <a:pt x="111" y="180"/>
                  <a:pt x="111" y="180"/>
                  <a:pt x="111" y="180"/>
                </a:cubicBezTo>
                <a:cubicBezTo>
                  <a:pt x="112" y="180"/>
                  <a:pt x="113" y="179"/>
                  <a:pt x="113" y="178"/>
                </a:cubicBezTo>
                <a:lnTo>
                  <a:pt x="113" y="168"/>
                </a:lnTo>
                <a:close/>
                <a:moveTo>
                  <a:pt x="25" y="148"/>
                </a:moveTo>
                <a:cubicBezTo>
                  <a:pt x="89" y="148"/>
                  <a:pt x="89" y="148"/>
                  <a:pt x="89" y="148"/>
                </a:cubicBezTo>
                <a:cubicBezTo>
                  <a:pt x="92" y="148"/>
                  <a:pt x="95" y="151"/>
                  <a:pt x="96" y="154"/>
                </a:cubicBezTo>
                <a:cubicBezTo>
                  <a:pt x="96" y="160"/>
                  <a:pt x="96" y="160"/>
                  <a:pt x="96" y="160"/>
                </a:cubicBezTo>
                <a:cubicBezTo>
                  <a:pt x="17" y="160"/>
                  <a:pt x="17" y="160"/>
                  <a:pt x="17" y="160"/>
                </a:cubicBezTo>
                <a:cubicBezTo>
                  <a:pt x="17" y="154"/>
                  <a:pt x="17" y="154"/>
                  <a:pt x="17" y="154"/>
                </a:cubicBezTo>
                <a:cubicBezTo>
                  <a:pt x="18" y="151"/>
                  <a:pt x="21" y="148"/>
                  <a:pt x="25" y="14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Freeform 33"/>
          <p:cNvSpPr>
            <a:spLocks noEditPoints="1"/>
          </p:cNvSpPr>
          <p:nvPr/>
        </p:nvSpPr>
        <p:spPr bwMode="auto">
          <a:xfrm>
            <a:off x="5958894" y="3008106"/>
            <a:ext cx="457200" cy="457200"/>
          </a:xfrm>
          <a:custGeom>
            <a:avLst/>
            <a:gdLst>
              <a:gd name="T0" fmla="*/ 428 w 669"/>
              <a:gd name="T1" fmla="*/ 467 h 666"/>
              <a:gd name="T2" fmla="*/ 470 w 669"/>
              <a:gd name="T3" fmla="*/ 558 h 666"/>
              <a:gd name="T4" fmla="*/ 562 w 669"/>
              <a:gd name="T5" fmla="*/ 517 h 666"/>
              <a:gd name="T6" fmla="*/ 521 w 669"/>
              <a:gd name="T7" fmla="*/ 424 h 666"/>
              <a:gd name="T8" fmla="*/ 523 w 669"/>
              <a:gd name="T9" fmla="*/ 321 h 666"/>
              <a:gd name="T10" fmla="*/ 532 w 669"/>
              <a:gd name="T11" fmla="*/ 364 h 666"/>
              <a:gd name="T12" fmla="*/ 598 w 669"/>
              <a:gd name="T13" fmla="*/ 358 h 666"/>
              <a:gd name="T14" fmla="*/ 634 w 669"/>
              <a:gd name="T15" fmla="*/ 386 h 666"/>
              <a:gd name="T16" fmla="*/ 633 w 669"/>
              <a:gd name="T17" fmla="*/ 408 h 666"/>
              <a:gd name="T18" fmla="*/ 659 w 669"/>
              <a:gd name="T19" fmla="*/ 469 h 666"/>
              <a:gd name="T20" fmla="*/ 669 w 669"/>
              <a:gd name="T21" fmla="*/ 484 h 666"/>
              <a:gd name="T22" fmla="*/ 656 w 669"/>
              <a:gd name="T23" fmla="*/ 529 h 666"/>
              <a:gd name="T24" fmla="*/ 624 w 669"/>
              <a:gd name="T25" fmla="*/ 588 h 666"/>
              <a:gd name="T26" fmla="*/ 624 w 669"/>
              <a:gd name="T27" fmla="*/ 610 h 666"/>
              <a:gd name="T28" fmla="*/ 586 w 669"/>
              <a:gd name="T29" fmla="*/ 633 h 666"/>
              <a:gd name="T30" fmla="*/ 521 w 669"/>
              <a:gd name="T31" fmla="*/ 622 h 666"/>
              <a:gd name="T32" fmla="*/ 511 w 669"/>
              <a:gd name="T33" fmla="*/ 664 h 666"/>
              <a:gd name="T34" fmla="*/ 467 w 669"/>
              <a:gd name="T35" fmla="*/ 664 h 666"/>
              <a:gd name="T36" fmla="*/ 459 w 669"/>
              <a:gd name="T37" fmla="*/ 619 h 666"/>
              <a:gd name="T38" fmla="*/ 392 w 669"/>
              <a:gd name="T39" fmla="*/ 625 h 666"/>
              <a:gd name="T40" fmla="*/ 356 w 669"/>
              <a:gd name="T41" fmla="*/ 597 h 666"/>
              <a:gd name="T42" fmla="*/ 355 w 669"/>
              <a:gd name="T43" fmla="*/ 579 h 666"/>
              <a:gd name="T44" fmla="*/ 336 w 669"/>
              <a:gd name="T45" fmla="*/ 516 h 666"/>
              <a:gd name="T46" fmla="*/ 322 w 669"/>
              <a:gd name="T47" fmla="*/ 505 h 666"/>
              <a:gd name="T48" fmla="*/ 330 w 669"/>
              <a:gd name="T49" fmla="*/ 456 h 666"/>
              <a:gd name="T50" fmla="*/ 385 w 669"/>
              <a:gd name="T51" fmla="*/ 417 h 666"/>
              <a:gd name="T52" fmla="*/ 363 w 669"/>
              <a:gd name="T53" fmla="*/ 379 h 666"/>
              <a:gd name="T54" fmla="*/ 400 w 669"/>
              <a:gd name="T55" fmla="*/ 350 h 666"/>
              <a:gd name="T56" fmla="*/ 450 w 669"/>
              <a:gd name="T57" fmla="*/ 368 h 666"/>
              <a:gd name="T58" fmla="*/ 478 w 669"/>
              <a:gd name="T59" fmla="*/ 321 h 666"/>
              <a:gd name="T60" fmla="*/ 178 w 669"/>
              <a:gd name="T61" fmla="*/ 134 h 666"/>
              <a:gd name="T62" fmla="*/ 123 w 669"/>
              <a:gd name="T63" fmla="*/ 242 h 666"/>
              <a:gd name="T64" fmla="*/ 207 w 669"/>
              <a:gd name="T65" fmla="*/ 329 h 666"/>
              <a:gd name="T66" fmla="*/ 312 w 669"/>
              <a:gd name="T67" fmla="*/ 285 h 666"/>
              <a:gd name="T68" fmla="*/ 307 w 669"/>
              <a:gd name="T69" fmla="*/ 160 h 666"/>
              <a:gd name="T70" fmla="*/ 284 w 669"/>
              <a:gd name="T71" fmla="*/ 0 h 666"/>
              <a:gd name="T72" fmla="*/ 338 w 669"/>
              <a:gd name="T73" fmla="*/ 26 h 666"/>
              <a:gd name="T74" fmla="*/ 369 w 669"/>
              <a:gd name="T75" fmla="*/ 122 h 666"/>
              <a:gd name="T76" fmla="*/ 427 w 669"/>
              <a:gd name="T77" fmla="*/ 106 h 666"/>
              <a:gd name="T78" fmla="*/ 447 w 669"/>
              <a:gd name="T79" fmla="*/ 162 h 666"/>
              <a:gd name="T80" fmla="*/ 403 w 669"/>
              <a:gd name="T81" fmla="*/ 220 h 666"/>
              <a:gd name="T82" fmla="*/ 452 w 669"/>
              <a:gd name="T83" fmla="*/ 276 h 666"/>
              <a:gd name="T84" fmla="*/ 434 w 669"/>
              <a:gd name="T85" fmla="*/ 333 h 666"/>
              <a:gd name="T86" fmla="*/ 374 w 669"/>
              <a:gd name="T87" fmla="*/ 322 h 666"/>
              <a:gd name="T88" fmla="*/ 351 w 669"/>
              <a:gd name="T89" fmla="*/ 419 h 666"/>
              <a:gd name="T90" fmla="*/ 298 w 669"/>
              <a:gd name="T91" fmla="*/ 448 h 666"/>
              <a:gd name="T92" fmla="*/ 282 w 669"/>
              <a:gd name="T93" fmla="*/ 440 h 666"/>
              <a:gd name="T94" fmla="*/ 182 w 669"/>
              <a:gd name="T95" fmla="*/ 445 h 666"/>
              <a:gd name="T96" fmla="*/ 167 w 669"/>
              <a:gd name="T97" fmla="*/ 452 h 666"/>
              <a:gd name="T98" fmla="*/ 114 w 669"/>
              <a:gd name="T99" fmla="*/ 426 h 666"/>
              <a:gd name="T100" fmla="*/ 84 w 669"/>
              <a:gd name="T101" fmla="*/ 330 h 666"/>
              <a:gd name="T102" fmla="*/ 27 w 669"/>
              <a:gd name="T103" fmla="*/ 347 h 666"/>
              <a:gd name="T104" fmla="*/ 4 w 669"/>
              <a:gd name="T105" fmla="*/ 294 h 666"/>
              <a:gd name="T106" fmla="*/ 54 w 669"/>
              <a:gd name="T107" fmla="*/ 263 h 666"/>
              <a:gd name="T108" fmla="*/ 3 w 669"/>
              <a:gd name="T109" fmla="*/ 177 h 666"/>
              <a:gd name="T110" fmla="*/ 18 w 669"/>
              <a:gd name="T111" fmla="*/ 120 h 666"/>
              <a:gd name="T112" fmla="*/ 36 w 669"/>
              <a:gd name="T113" fmla="*/ 115 h 666"/>
              <a:gd name="T114" fmla="*/ 102 w 669"/>
              <a:gd name="T115" fmla="*/ 39 h 666"/>
              <a:gd name="T116" fmla="*/ 150 w 669"/>
              <a:gd name="T117" fmla="*/ 6 h 666"/>
              <a:gd name="T118" fmla="*/ 168 w 669"/>
              <a:gd name="T119" fmla="*/ 10 h 666"/>
              <a:gd name="T120" fmla="*/ 269 w 669"/>
              <a:gd name="T121" fmla="*/ 10 h 666"/>
              <a:gd name="T122" fmla="*/ 284 w 669"/>
              <a:gd name="T123" fmla="*/ 0 h 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69" h="666">
                <a:moveTo>
                  <a:pt x="496" y="420"/>
                </a:moveTo>
                <a:lnTo>
                  <a:pt x="474" y="423"/>
                </a:lnTo>
                <a:lnTo>
                  <a:pt x="454" y="433"/>
                </a:lnTo>
                <a:lnTo>
                  <a:pt x="438" y="448"/>
                </a:lnTo>
                <a:lnTo>
                  <a:pt x="428" y="467"/>
                </a:lnTo>
                <a:lnTo>
                  <a:pt x="424" y="489"/>
                </a:lnTo>
                <a:lnTo>
                  <a:pt x="427" y="511"/>
                </a:lnTo>
                <a:lnTo>
                  <a:pt x="435" y="532"/>
                </a:lnTo>
                <a:lnTo>
                  <a:pt x="450" y="547"/>
                </a:lnTo>
                <a:lnTo>
                  <a:pt x="470" y="558"/>
                </a:lnTo>
                <a:lnTo>
                  <a:pt x="492" y="564"/>
                </a:lnTo>
                <a:lnTo>
                  <a:pt x="515" y="561"/>
                </a:lnTo>
                <a:lnTo>
                  <a:pt x="535" y="552"/>
                </a:lnTo>
                <a:lnTo>
                  <a:pt x="551" y="536"/>
                </a:lnTo>
                <a:lnTo>
                  <a:pt x="562" y="517"/>
                </a:lnTo>
                <a:lnTo>
                  <a:pt x="566" y="495"/>
                </a:lnTo>
                <a:lnTo>
                  <a:pt x="564" y="473"/>
                </a:lnTo>
                <a:lnTo>
                  <a:pt x="555" y="452"/>
                </a:lnTo>
                <a:lnTo>
                  <a:pt x="540" y="435"/>
                </a:lnTo>
                <a:lnTo>
                  <a:pt x="521" y="424"/>
                </a:lnTo>
                <a:lnTo>
                  <a:pt x="499" y="420"/>
                </a:lnTo>
                <a:lnTo>
                  <a:pt x="496" y="420"/>
                </a:lnTo>
                <a:close/>
                <a:moveTo>
                  <a:pt x="488" y="318"/>
                </a:moveTo>
                <a:lnTo>
                  <a:pt x="518" y="319"/>
                </a:lnTo>
                <a:lnTo>
                  <a:pt x="523" y="321"/>
                </a:lnTo>
                <a:lnTo>
                  <a:pt x="528" y="322"/>
                </a:lnTo>
                <a:lnTo>
                  <a:pt x="530" y="326"/>
                </a:lnTo>
                <a:lnTo>
                  <a:pt x="532" y="330"/>
                </a:lnTo>
                <a:lnTo>
                  <a:pt x="533" y="335"/>
                </a:lnTo>
                <a:lnTo>
                  <a:pt x="532" y="364"/>
                </a:lnTo>
                <a:lnTo>
                  <a:pt x="551" y="372"/>
                </a:lnTo>
                <a:lnTo>
                  <a:pt x="569" y="382"/>
                </a:lnTo>
                <a:lnTo>
                  <a:pt x="591" y="362"/>
                </a:lnTo>
                <a:lnTo>
                  <a:pt x="594" y="359"/>
                </a:lnTo>
                <a:lnTo>
                  <a:pt x="598" y="358"/>
                </a:lnTo>
                <a:lnTo>
                  <a:pt x="602" y="358"/>
                </a:lnTo>
                <a:lnTo>
                  <a:pt x="606" y="358"/>
                </a:lnTo>
                <a:lnTo>
                  <a:pt x="609" y="361"/>
                </a:lnTo>
                <a:lnTo>
                  <a:pt x="612" y="364"/>
                </a:lnTo>
                <a:lnTo>
                  <a:pt x="634" y="386"/>
                </a:lnTo>
                <a:lnTo>
                  <a:pt x="637" y="390"/>
                </a:lnTo>
                <a:lnTo>
                  <a:pt x="638" y="395"/>
                </a:lnTo>
                <a:lnTo>
                  <a:pt x="637" y="400"/>
                </a:lnTo>
                <a:lnTo>
                  <a:pt x="635" y="404"/>
                </a:lnTo>
                <a:lnTo>
                  <a:pt x="633" y="408"/>
                </a:lnTo>
                <a:lnTo>
                  <a:pt x="612" y="427"/>
                </a:lnTo>
                <a:lnTo>
                  <a:pt x="620" y="447"/>
                </a:lnTo>
                <a:lnTo>
                  <a:pt x="626" y="466"/>
                </a:lnTo>
                <a:lnTo>
                  <a:pt x="655" y="467"/>
                </a:lnTo>
                <a:lnTo>
                  <a:pt x="659" y="469"/>
                </a:lnTo>
                <a:lnTo>
                  <a:pt x="662" y="470"/>
                </a:lnTo>
                <a:lnTo>
                  <a:pt x="666" y="473"/>
                </a:lnTo>
                <a:lnTo>
                  <a:pt x="667" y="476"/>
                </a:lnTo>
                <a:lnTo>
                  <a:pt x="669" y="480"/>
                </a:lnTo>
                <a:lnTo>
                  <a:pt x="669" y="484"/>
                </a:lnTo>
                <a:lnTo>
                  <a:pt x="669" y="516"/>
                </a:lnTo>
                <a:lnTo>
                  <a:pt x="667" y="520"/>
                </a:lnTo>
                <a:lnTo>
                  <a:pt x="664" y="524"/>
                </a:lnTo>
                <a:lnTo>
                  <a:pt x="662" y="527"/>
                </a:lnTo>
                <a:lnTo>
                  <a:pt x="656" y="529"/>
                </a:lnTo>
                <a:lnTo>
                  <a:pt x="652" y="529"/>
                </a:lnTo>
                <a:lnTo>
                  <a:pt x="623" y="528"/>
                </a:lnTo>
                <a:lnTo>
                  <a:pt x="616" y="547"/>
                </a:lnTo>
                <a:lnTo>
                  <a:pt x="605" y="565"/>
                </a:lnTo>
                <a:lnTo>
                  <a:pt x="624" y="588"/>
                </a:lnTo>
                <a:lnTo>
                  <a:pt x="627" y="592"/>
                </a:lnTo>
                <a:lnTo>
                  <a:pt x="628" y="596"/>
                </a:lnTo>
                <a:lnTo>
                  <a:pt x="628" y="601"/>
                </a:lnTo>
                <a:lnTo>
                  <a:pt x="627" y="605"/>
                </a:lnTo>
                <a:lnTo>
                  <a:pt x="624" y="610"/>
                </a:lnTo>
                <a:lnTo>
                  <a:pt x="601" y="630"/>
                </a:lnTo>
                <a:lnTo>
                  <a:pt x="598" y="633"/>
                </a:lnTo>
                <a:lnTo>
                  <a:pt x="594" y="635"/>
                </a:lnTo>
                <a:lnTo>
                  <a:pt x="590" y="635"/>
                </a:lnTo>
                <a:lnTo>
                  <a:pt x="586" y="633"/>
                </a:lnTo>
                <a:lnTo>
                  <a:pt x="583" y="632"/>
                </a:lnTo>
                <a:lnTo>
                  <a:pt x="579" y="629"/>
                </a:lnTo>
                <a:lnTo>
                  <a:pt x="559" y="608"/>
                </a:lnTo>
                <a:lnTo>
                  <a:pt x="541" y="617"/>
                </a:lnTo>
                <a:lnTo>
                  <a:pt x="521" y="622"/>
                </a:lnTo>
                <a:lnTo>
                  <a:pt x="519" y="651"/>
                </a:lnTo>
                <a:lnTo>
                  <a:pt x="519" y="655"/>
                </a:lnTo>
                <a:lnTo>
                  <a:pt x="517" y="659"/>
                </a:lnTo>
                <a:lnTo>
                  <a:pt x="515" y="662"/>
                </a:lnTo>
                <a:lnTo>
                  <a:pt x="511" y="664"/>
                </a:lnTo>
                <a:lnTo>
                  <a:pt x="508" y="665"/>
                </a:lnTo>
                <a:lnTo>
                  <a:pt x="504" y="666"/>
                </a:lnTo>
                <a:lnTo>
                  <a:pt x="504" y="666"/>
                </a:lnTo>
                <a:lnTo>
                  <a:pt x="472" y="665"/>
                </a:lnTo>
                <a:lnTo>
                  <a:pt x="467" y="664"/>
                </a:lnTo>
                <a:lnTo>
                  <a:pt x="463" y="661"/>
                </a:lnTo>
                <a:lnTo>
                  <a:pt x="460" y="658"/>
                </a:lnTo>
                <a:lnTo>
                  <a:pt x="459" y="654"/>
                </a:lnTo>
                <a:lnTo>
                  <a:pt x="457" y="648"/>
                </a:lnTo>
                <a:lnTo>
                  <a:pt x="459" y="619"/>
                </a:lnTo>
                <a:lnTo>
                  <a:pt x="439" y="612"/>
                </a:lnTo>
                <a:lnTo>
                  <a:pt x="421" y="603"/>
                </a:lnTo>
                <a:lnTo>
                  <a:pt x="399" y="622"/>
                </a:lnTo>
                <a:lnTo>
                  <a:pt x="396" y="623"/>
                </a:lnTo>
                <a:lnTo>
                  <a:pt x="392" y="625"/>
                </a:lnTo>
                <a:lnTo>
                  <a:pt x="388" y="626"/>
                </a:lnTo>
                <a:lnTo>
                  <a:pt x="385" y="625"/>
                </a:lnTo>
                <a:lnTo>
                  <a:pt x="381" y="623"/>
                </a:lnTo>
                <a:lnTo>
                  <a:pt x="378" y="621"/>
                </a:lnTo>
                <a:lnTo>
                  <a:pt x="356" y="597"/>
                </a:lnTo>
                <a:lnTo>
                  <a:pt x="355" y="594"/>
                </a:lnTo>
                <a:lnTo>
                  <a:pt x="354" y="590"/>
                </a:lnTo>
                <a:lnTo>
                  <a:pt x="354" y="586"/>
                </a:lnTo>
                <a:lnTo>
                  <a:pt x="354" y="582"/>
                </a:lnTo>
                <a:lnTo>
                  <a:pt x="355" y="579"/>
                </a:lnTo>
                <a:lnTo>
                  <a:pt x="358" y="576"/>
                </a:lnTo>
                <a:lnTo>
                  <a:pt x="380" y="556"/>
                </a:lnTo>
                <a:lnTo>
                  <a:pt x="370" y="538"/>
                </a:lnTo>
                <a:lnTo>
                  <a:pt x="365" y="517"/>
                </a:lnTo>
                <a:lnTo>
                  <a:pt x="336" y="516"/>
                </a:lnTo>
                <a:lnTo>
                  <a:pt x="331" y="516"/>
                </a:lnTo>
                <a:lnTo>
                  <a:pt x="329" y="514"/>
                </a:lnTo>
                <a:lnTo>
                  <a:pt x="326" y="511"/>
                </a:lnTo>
                <a:lnTo>
                  <a:pt x="323" y="507"/>
                </a:lnTo>
                <a:lnTo>
                  <a:pt x="322" y="505"/>
                </a:lnTo>
                <a:lnTo>
                  <a:pt x="322" y="500"/>
                </a:lnTo>
                <a:lnTo>
                  <a:pt x="323" y="469"/>
                </a:lnTo>
                <a:lnTo>
                  <a:pt x="323" y="464"/>
                </a:lnTo>
                <a:lnTo>
                  <a:pt x="326" y="460"/>
                </a:lnTo>
                <a:lnTo>
                  <a:pt x="330" y="456"/>
                </a:lnTo>
                <a:lnTo>
                  <a:pt x="334" y="455"/>
                </a:lnTo>
                <a:lnTo>
                  <a:pt x="338" y="453"/>
                </a:lnTo>
                <a:lnTo>
                  <a:pt x="367" y="455"/>
                </a:lnTo>
                <a:lnTo>
                  <a:pt x="374" y="435"/>
                </a:lnTo>
                <a:lnTo>
                  <a:pt x="385" y="417"/>
                </a:lnTo>
                <a:lnTo>
                  <a:pt x="366" y="397"/>
                </a:lnTo>
                <a:lnTo>
                  <a:pt x="363" y="393"/>
                </a:lnTo>
                <a:lnTo>
                  <a:pt x="362" y="387"/>
                </a:lnTo>
                <a:lnTo>
                  <a:pt x="362" y="383"/>
                </a:lnTo>
                <a:lnTo>
                  <a:pt x="363" y="379"/>
                </a:lnTo>
                <a:lnTo>
                  <a:pt x="366" y="375"/>
                </a:lnTo>
                <a:lnTo>
                  <a:pt x="389" y="354"/>
                </a:lnTo>
                <a:lnTo>
                  <a:pt x="392" y="351"/>
                </a:lnTo>
                <a:lnTo>
                  <a:pt x="396" y="350"/>
                </a:lnTo>
                <a:lnTo>
                  <a:pt x="400" y="350"/>
                </a:lnTo>
                <a:lnTo>
                  <a:pt x="405" y="350"/>
                </a:lnTo>
                <a:lnTo>
                  <a:pt x="409" y="351"/>
                </a:lnTo>
                <a:lnTo>
                  <a:pt x="412" y="354"/>
                </a:lnTo>
                <a:lnTo>
                  <a:pt x="431" y="376"/>
                </a:lnTo>
                <a:lnTo>
                  <a:pt x="450" y="368"/>
                </a:lnTo>
                <a:lnTo>
                  <a:pt x="470" y="361"/>
                </a:lnTo>
                <a:lnTo>
                  <a:pt x="471" y="333"/>
                </a:lnTo>
                <a:lnTo>
                  <a:pt x="472" y="328"/>
                </a:lnTo>
                <a:lnTo>
                  <a:pt x="474" y="323"/>
                </a:lnTo>
                <a:lnTo>
                  <a:pt x="478" y="321"/>
                </a:lnTo>
                <a:lnTo>
                  <a:pt x="482" y="318"/>
                </a:lnTo>
                <a:lnTo>
                  <a:pt x="488" y="318"/>
                </a:lnTo>
                <a:close/>
                <a:moveTo>
                  <a:pt x="226" y="122"/>
                </a:moveTo>
                <a:lnTo>
                  <a:pt x="202" y="124"/>
                </a:lnTo>
                <a:lnTo>
                  <a:pt x="178" y="134"/>
                </a:lnTo>
                <a:lnTo>
                  <a:pt x="157" y="148"/>
                </a:lnTo>
                <a:lnTo>
                  <a:pt x="141" y="166"/>
                </a:lnTo>
                <a:lnTo>
                  <a:pt x="128" y="189"/>
                </a:lnTo>
                <a:lnTo>
                  <a:pt x="123" y="216"/>
                </a:lnTo>
                <a:lnTo>
                  <a:pt x="123" y="242"/>
                </a:lnTo>
                <a:lnTo>
                  <a:pt x="131" y="268"/>
                </a:lnTo>
                <a:lnTo>
                  <a:pt x="146" y="292"/>
                </a:lnTo>
                <a:lnTo>
                  <a:pt x="166" y="311"/>
                </a:lnTo>
                <a:lnTo>
                  <a:pt x="189" y="323"/>
                </a:lnTo>
                <a:lnTo>
                  <a:pt x="207" y="329"/>
                </a:lnTo>
                <a:lnTo>
                  <a:pt x="226" y="330"/>
                </a:lnTo>
                <a:lnTo>
                  <a:pt x="251" y="328"/>
                </a:lnTo>
                <a:lnTo>
                  <a:pt x="275" y="318"/>
                </a:lnTo>
                <a:lnTo>
                  <a:pt x="295" y="304"/>
                </a:lnTo>
                <a:lnTo>
                  <a:pt x="312" y="285"/>
                </a:lnTo>
                <a:lnTo>
                  <a:pt x="323" y="263"/>
                </a:lnTo>
                <a:lnTo>
                  <a:pt x="330" y="236"/>
                </a:lnTo>
                <a:lnTo>
                  <a:pt x="329" y="209"/>
                </a:lnTo>
                <a:lnTo>
                  <a:pt x="322" y="182"/>
                </a:lnTo>
                <a:lnTo>
                  <a:pt x="307" y="160"/>
                </a:lnTo>
                <a:lnTo>
                  <a:pt x="287" y="141"/>
                </a:lnTo>
                <a:lnTo>
                  <a:pt x="264" y="129"/>
                </a:lnTo>
                <a:lnTo>
                  <a:pt x="244" y="123"/>
                </a:lnTo>
                <a:lnTo>
                  <a:pt x="226" y="122"/>
                </a:lnTo>
                <a:close/>
                <a:moveTo>
                  <a:pt x="284" y="0"/>
                </a:moveTo>
                <a:lnTo>
                  <a:pt x="289" y="0"/>
                </a:lnTo>
                <a:lnTo>
                  <a:pt x="329" y="15"/>
                </a:lnTo>
                <a:lnTo>
                  <a:pt x="333" y="18"/>
                </a:lnTo>
                <a:lnTo>
                  <a:pt x="337" y="22"/>
                </a:lnTo>
                <a:lnTo>
                  <a:pt x="338" y="26"/>
                </a:lnTo>
                <a:lnTo>
                  <a:pt x="338" y="30"/>
                </a:lnTo>
                <a:lnTo>
                  <a:pt x="338" y="36"/>
                </a:lnTo>
                <a:lnTo>
                  <a:pt x="322" y="77"/>
                </a:lnTo>
                <a:lnTo>
                  <a:pt x="348" y="97"/>
                </a:lnTo>
                <a:lnTo>
                  <a:pt x="369" y="122"/>
                </a:lnTo>
                <a:lnTo>
                  <a:pt x="409" y="102"/>
                </a:lnTo>
                <a:lnTo>
                  <a:pt x="414" y="102"/>
                </a:lnTo>
                <a:lnTo>
                  <a:pt x="418" y="102"/>
                </a:lnTo>
                <a:lnTo>
                  <a:pt x="423" y="104"/>
                </a:lnTo>
                <a:lnTo>
                  <a:pt x="427" y="106"/>
                </a:lnTo>
                <a:lnTo>
                  <a:pt x="430" y="111"/>
                </a:lnTo>
                <a:lnTo>
                  <a:pt x="447" y="149"/>
                </a:lnTo>
                <a:lnTo>
                  <a:pt x="449" y="153"/>
                </a:lnTo>
                <a:lnTo>
                  <a:pt x="449" y="158"/>
                </a:lnTo>
                <a:lnTo>
                  <a:pt x="447" y="162"/>
                </a:lnTo>
                <a:lnTo>
                  <a:pt x="446" y="166"/>
                </a:lnTo>
                <a:lnTo>
                  <a:pt x="443" y="169"/>
                </a:lnTo>
                <a:lnTo>
                  <a:pt x="439" y="170"/>
                </a:lnTo>
                <a:lnTo>
                  <a:pt x="399" y="188"/>
                </a:lnTo>
                <a:lnTo>
                  <a:pt x="403" y="220"/>
                </a:lnTo>
                <a:lnTo>
                  <a:pt x="400" y="253"/>
                </a:lnTo>
                <a:lnTo>
                  <a:pt x="442" y="268"/>
                </a:lnTo>
                <a:lnTo>
                  <a:pt x="446" y="270"/>
                </a:lnTo>
                <a:lnTo>
                  <a:pt x="449" y="272"/>
                </a:lnTo>
                <a:lnTo>
                  <a:pt x="452" y="276"/>
                </a:lnTo>
                <a:lnTo>
                  <a:pt x="452" y="281"/>
                </a:lnTo>
                <a:lnTo>
                  <a:pt x="453" y="285"/>
                </a:lnTo>
                <a:lnTo>
                  <a:pt x="452" y="288"/>
                </a:lnTo>
                <a:lnTo>
                  <a:pt x="436" y="329"/>
                </a:lnTo>
                <a:lnTo>
                  <a:pt x="434" y="333"/>
                </a:lnTo>
                <a:lnTo>
                  <a:pt x="430" y="336"/>
                </a:lnTo>
                <a:lnTo>
                  <a:pt x="425" y="337"/>
                </a:lnTo>
                <a:lnTo>
                  <a:pt x="421" y="339"/>
                </a:lnTo>
                <a:lnTo>
                  <a:pt x="416" y="337"/>
                </a:lnTo>
                <a:lnTo>
                  <a:pt x="374" y="322"/>
                </a:lnTo>
                <a:lnTo>
                  <a:pt x="355" y="347"/>
                </a:lnTo>
                <a:lnTo>
                  <a:pt x="331" y="368"/>
                </a:lnTo>
                <a:lnTo>
                  <a:pt x="349" y="409"/>
                </a:lnTo>
                <a:lnTo>
                  <a:pt x="351" y="413"/>
                </a:lnTo>
                <a:lnTo>
                  <a:pt x="351" y="419"/>
                </a:lnTo>
                <a:lnTo>
                  <a:pt x="348" y="423"/>
                </a:lnTo>
                <a:lnTo>
                  <a:pt x="345" y="426"/>
                </a:lnTo>
                <a:lnTo>
                  <a:pt x="341" y="429"/>
                </a:lnTo>
                <a:lnTo>
                  <a:pt x="302" y="447"/>
                </a:lnTo>
                <a:lnTo>
                  <a:pt x="298" y="448"/>
                </a:lnTo>
                <a:lnTo>
                  <a:pt x="294" y="448"/>
                </a:lnTo>
                <a:lnTo>
                  <a:pt x="290" y="448"/>
                </a:lnTo>
                <a:lnTo>
                  <a:pt x="287" y="445"/>
                </a:lnTo>
                <a:lnTo>
                  <a:pt x="284" y="442"/>
                </a:lnTo>
                <a:lnTo>
                  <a:pt x="282" y="440"/>
                </a:lnTo>
                <a:lnTo>
                  <a:pt x="264" y="398"/>
                </a:lnTo>
                <a:lnTo>
                  <a:pt x="232" y="402"/>
                </a:lnTo>
                <a:lnTo>
                  <a:pt x="200" y="401"/>
                </a:lnTo>
                <a:lnTo>
                  <a:pt x="184" y="442"/>
                </a:lnTo>
                <a:lnTo>
                  <a:pt x="182" y="445"/>
                </a:lnTo>
                <a:lnTo>
                  <a:pt x="179" y="449"/>
                </a:lnTo>
                <a:lnTo>
                  <a:pt x="175" y="451"/>
                </a:lnTo>
                <a:lnTo>
                  <a:pt x="172" y="452"/>
                </a:lnTo>
                <a:lnTo>
                  <a:pt x="170" y="452"/>
                </a:lnTo>
                <a:lnTo>
                  <a:pt x="167" y="452"/>
                </a:lnTo>
                <a:lnTo>
                  <a:pt x="164" y="451"/>
                </a:lnTo>
                <a:lnTo>
                  <a:pt x="124" y="435"/>
                </a:lnTo>
                <a:lnTo>
                  <a:pt x="120" y="433"/>
                </a:lnTo>
                <a:lnTo>
                  <a:pt x="116" y="430"/>
                </a:lnTo>
                <a:lnTo>
                  <a:pt x="114" y="426"/>
                </a:lnTo>
                <a:lnTo>
                  <a:pt x="114" y="420"/>
                </a:lnTo>
                <a:lnTo>
                  <a:pt x="114" y="416"/>
                </a:lnTo>
                <a:lnTo>
                  <a:pt x="131" y="375"/>
                </a:lnTo>
                <a:lnTo>
                  <a:pt x="105" y="355"/>
                </a:lnTo>
                <a:lnTo>
                  <a:pt x="84" y="330"/>
                </a:lnTo>
                <a:lnTo>
                  <a:pt x="44" y="348"/>
                </a:lnTo>
                <a:lnTo>
                  <a:pt x="40" y="350"/>
                </a:lnTo>
                <a:lnTo>
                  <a:pt x="36" y="350"/>
                </a:lnTo>
                <a:lnTo>
                  <a:pt x="32" y="350"/>
                </a:lnTo>
                <a:lnTo>
                  <a:pt x="27" y="347"/>
                </a:lnTo>
                <a:lnTo>
                  <a:pt x="25" y="344"/>
                </a:lnTo>
                <a:lnTo>
                  <a:pt x="23" y="341"/>
                </a:lnTo>
                <a:lnTo>
                  <a:pt x="5" y="301"/>
                </a:lnTo>
                <a:lnTo>
                  <a:pt x="4" y="299"/>
                </a:lnTo>
                <a:lnTo>
                  <a:pt x="4" y="294"/>
                </a:lnTo>
                <a:lnTo>
                  <a:pt x="5" y="290"/>
                </a:lnTo>
                <a:lnTo>
                  <a:pt x="7" y="286"/>
                </a:lnTo>
                <a:lnTo>
                  <a:pt x="9" y="283"/>
                </a:lnTo>
                <a:lnTo>
                  <a:pt x="14" y="282"/>
                </a:lnTo>
                <a:lnTo>
                  <a:pt x="54" y="263"/>
                </a:lnTo>
                <a:lnTo>
                  <a:pt x="50" y="231"/>
                </a:lnTo>
                <a:lnTo>
                  <a:pt x="52" y="199"/>
                </a:lnTo>
                <a:lnTo>
                  <a:pt x="9" y="184"/>
                </a:lnTo>
                <a:lnTo>
                  <a:pt x="5" y="181"/>
                </a:lnTo>
                <a:lnTo>
                  <a:pt x="3" y="177"/>
                </a:lnTo>
                <a:lnTo>
                  <a:pt x="1" y="173"/>
                </a:lnTo>
                <a:lnTo>
                  <a:pt x="0" y="169"/>
                </a:lnTo>
                <a:lnTo>
                  <a:pt x="1" y="163"/>
                </a:lnTo>
                <a:lnTo>
                  <a:pt x="16" y="123"/>
                </a:lnTo>
                <a:lnTo>
                  <a:pt x="18" y="120"/>
                </a:lnTo>
                <a:lnTo>
                  <a:pt x="20" y="117"/>
                </a:lnTo>
                <a:lnTo>
                  <a:pt x="25" y="115"/>
                </a:lnTo>
                <a:lnTo>
                  <a:pt x="29" y="113"/>
                </a:lnTo>
                <a:lnTo>
                  <a:pt x="33" y="113"/>
                </a:lnTo>
                <a:lnTo>
                  <a:pt x="36" y="115"/>
                </a:lnTo>
                <a:lnTo>
                  <a:pt x="77" y="130"/>
                </a:lnTo>
                <a:lnTo>
                  <a:pt x="98" y="105"/>
                </a:lnTo>
                <a:lnTo>
                  <a:pt x="121" y="83"/>
                </a:lnTo>
                <a:lnTo>
                  <a:pt x="103" y="43"/>
                </a:lnTo>
                <a:lnTo>
                  <a:pt x="102" y="39"/>
                </a:lnTo>
                <a:lnTo>
                  <a:pt x="102" y="33"/>
                </a:lnTo>
                <a:lnTo>
                  <a:pt x="103" y="29"/>
                </a:lnTo>
                <a:lnTo>
                  <a:pt x="108" y="25"/>
                </a:lnTo>
                <a:lnTo>
                  <a:pt x="112" y="22"/>
                </a:lnTo>
                <a:lnTo>
                  <a:pt x="150" y="6"/>
                </a:lnTo>
                <a:lnTo>
                  <a:pt x="155" y="4"/>
                </a:lnTo>
                <a:lnTo>
                  <a:pt x="159" y="4"/>
                </a:lnTo>
                <a:lnTo>
                  <a:pt x="163" y="4"/>
                </a:lnTo>
                <a:lnTo>
                  <a:pt x="166" y="7"/>
                </a:lnTo>
                <a:lnTo>
                  <a:pt x="168" y="10"/>
                </a:lnTo>
                <a:lnTo>
                  <a:pt x="171" y="12"/>
                </a:lnTo>
                <a:lnTo>
                  <a:pt x="189" y="53"/>
                </a:lnTo>
                <a:lnTo>
                  <a:pt x="221" y="50"/>
                </a:lnTo>
                <a:lnTo>
                  <a:pt x="253" y="51"/>
                </a:lnTo>
                <a:lnTo>
                  <a:pt x="269" y="10"/>
                </a:lnTo>
                <a:lnTo>
                  <a:pt x="271" y="6"/>
                </a:lnTo>
                <a:lnTo>
                  <a:pt x="273" y="3"/>
                </a:lnTo>
                <a:lnTo>
                  <a:pt x="276" y="1"/>
                </a:lnTo>
                <a:lnTo>
                  <a:pt x="280" y="0"/>
                </a:lnTo>
                <a:lnTo>
                  <a:pt x="284" y="0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98" tIns="34299" rIns="68598" bIns="34299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4133977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32D78A-10B3-4DCD-84B7-9E85168884D1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D5B9A0F-CCD0-4348-8112-2A1A806F4019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96333" y="200848"/>
            <a:ext cx="8305800" cy="487363"/>
          </a:xfrm>
        </p:spPr>
        <p:txBody>
          <a:bodyPr/>
          <a:lstStyle/>
          <a:p>
            <a:r>
              <a:rPr lang="en-US" sz="2000" dirty="0"/>
              <a:t>Variance of snow and ice events creates budget uncertainty for municipal governments, which is inefficient for planning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6333" y="916498"/>
            <a:ext cx="4047067" cy="61247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1300" b="1" u="sng" dirty="0">
                <a:solidFill>
                  <a:schemeClr val="accent3"/>
                </a:solidFill>
              </a:rPr>
              <a:t>Variant weather</a:t>
            </a:r>
          </a:p>
          <a:p>
            <a:r>
              <a:rPr lang="en-US" sz="1300" dirty="0"/>
              <a:t>Snow &amp; ice events are unpredictable within each fiscal year and highly variant one year to the next</a:t>
            </a:r>
          </a:p>
          <a:p>
            <a:endParaRPr lang="en-US" sz="1300" dirty="0"/>
          </a:p>
          <a:p>
            <a:endParaRPr lang="en-US" sz="1300" b="1" u="sng" dirty="0">
              <a:solidFill>
                <a:schemeClr val="accent3"/>
              </a:solidFill>
            </a:endParaRPr>
          </a:p>
          <a:p>
            <a:endParaRPr lang="en-US" sz="1300" b="1" u="sng" dirty="0">
              <a:solidFill>
                <a:schemeClr val="accent3"/>
              </a:solidFill>
            </a:endParaRPr>
          </a:p>
          <a:p>
            <a:r>
              <a:rPr lang="en-US" sz="1300" b="1" u="sng" dirty="0">
                <a:solidFill>
                  <a:schemeClr val="accent3"/>
                </a:solidFill>
              </a:rPr>
              <a:t>Budget-inelasticity</a:t>
            </a:r>
          </a:p>
          <a:p>
            <a:r>
              <a:rPr lang="en-US" sz="1300" dirty="0"/>
              <a:t>Snow &amp; ice events require full and rapid mobilization of public works, contractors and urban forestry at little notice for unknown durations, and – </a:t>
            </a:r>
          </a:p>
          <a:p>
            <a:endParaRPr lang="en-US" sz="1300" dirty="0"/>
          </a:p>
          <a:p>
            <a:r>
              <a:rPr lang="en-US" sz="1300" dirty="0"/>
              <a:t>– mobilization is considered </a:t>
            </a:r>
            <a:r>
              <a:rPr lang="en-US" sz="1300" i="1" dirty="0"/>
              <a:t>emergency work</a:t>
            </a:r>
            <a:r>
              <a:rPr lang="en-US" sz="1300" dirty="0"/>
              <a:t>: It cannot be postponed or calibrated based on budget</a:t>
            </a:r>
          </a:p>
          <a:p>
            <a:endParaRPr lang="en-US" sz="1300" dirty="0"/>
          </a:p>
          <a:p>
            <a:endParaRPr lang="en-US" sz="1300" dirty="0"/>
          </a:p>
          <a:p>
            <a:endParaRPr lang="en-US" sz="1300" dirty="0"/>
          </a:p>
          <a:p>
            <a:r>
              <a:rPr lang="en-US" sz="1300" b="1" u="sng" dirty="0">
                <a:solidFill>
                  <a:schemeClr val="accent3"/>
                </a:solidFill>
              </a:rPr>
              <a:t>Inefficient financial planning</a:t>
            </a:r>
          </a:p>
          <a:p>
            <a:r>
              <a:rPr lang="en-US" sz="1300" dirty="0"/>
              <a:t>Municipal snow &amp; ice budgets </a:t>
            </a:r>
            <a:r>
              <a:rPr lang="en-US" sz="1300" b="1" dirty="0">
                <a:solidFill>
                  <a:schemeClr val="accent3"/>
                </a:solidFill>
              </a:rPr>
              <a:t>range from 50% </a:t>
            </a:r>
            <a:r>
              <a:rPr lang="en-US" sz="1300" dirty="0"/>
              <a:t>–</a:t>
            </a:r>
            <a:r>
              <a:rPr lang="en-US" sz="1300" b="1" dirty="0">
                <a:solidFill>
                  <a:schemeClr val="accent3"/>
                </a:solidFill>
              </a:rPr>
              <a:t> 150% </a:t>
            </a:r>
            <a:r>
              <a:rPr lang="en-US" sz="1300" dirty="0"/>
              <a:t>of the 5-year average on any given year:</a:t>
            </a:r>
          </a:p>
          <a:p>
            <a:endParaRPr lang="en-US" sz="1300" b="1" dirty="0">
              <a:solidFill>
                <a:schemeClr val="accent3"/>
              </a:solidFill>
            </a:endParaRPr>
          </a:p>
          <a:p>
            <a:r>
              <a:rPr lang="en-US" sz="1300" dirty="0"/>
              <a:t>millions of dollars must be held in reserve to respond to snow &amp; ice events. This distorts budget decision-making and diverts capital away from priorities that require long-term, secure </a:t>
            </a:r>
            <a:r>
              <a:rPr lang="en-US" sz="1300" dirty="0" smtClean="0"/>
              <a:t>funding</a:t>
            </a:r>
            <a:endParaRPr lang="en-US" sz="1300" dirty="0" smtClean="0">
              <a:cs typeface="Arial"/>
            </a:endParaRPr>
          </a:p>
          <a:p>
            <a:endParaRPr lang="en-US" sz="1300" dirty="0" smtClean="0">
              <a:cs typeface="Arial"/>
            </a:endParaRPr>
          </a:p>
          <a:p>
            <a:endParaRPr lang="en-US" sz="1300" dirty="0" smtClean="0">
              <a:cs typeface="Arial"/>
            </a:endParaRPr>
          </a:p>
          <a:p>
            <a:endParaRPr lang="en-US" sz="1400" dirty="0" smtClean="0"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Arial"/>
            </a:endParaRPr>
          </a:p>
          <a:p>
            <a:endParaRPr lang="en-US" sz="2000" dirty="0">
              <a:cs typeface="Arial"/>
            </a:endParaRPr>
          </a:p>
        </p:txBody>
      </p:sp>
      <p:sp>
        <p:nvSpPr>
          <p:cNvPr id="3" name="Plus Sign 2">
            <a:extLst>
              <a:ext uri="{FF2B5EF4-FFF2-40B4-BE49-F238E27FC236}">
                <a16:creationId xmlns:a16="http://schemas.microsoft.com/office/drawing/2014/main" xmlns="" id="{802B6CE9-80CF-41D7-AE19-4ED55B6A6521}"/>
              </a:ext>
            </a:extLst>
          </p:cNvPr>
          <p:cNvSpPr/>
          <p:nvPr/>
        </p:nvSpPr>
        <p:spPr>
          <a:xfrm>
            <a:off x="740833" y="1716911"/>
            <a:ext cx="304800" cy="304800"/>
          </a:xfrm>
          <a:prstGeom prst="mathPlus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quals 10">
            <a:extLst>
              <a:ext uri="{FF2B5EF4-FFF2-40B4-BE49-F238E27FC236}">
                <a16:creationId xmlns:a16="http://schemas.microsoft.com/office/drawing/2014/main" xmlns="" id="{68ED9664-DAD0-4A35-8607-768F690C0869}"/>
              </a:ext>
            </a:extLst>
          </p:cNvPr>
          <p:cNvSpPr/>
          <p:nvPr/>
        </p:nvSpPr>
        <p:spPr>
          <a:xfrm>
            <a:off x="778933" y="3588320"/>
            <a:ext cx="228600" cy="381000"/>
          </a:xfrm>
          <a:prstGeom prst="mathEqual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A81E9F93-0C53-4202-8D86-1A61047403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877869"/>
            <a:ext cx="4435261" cy="529674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2C9BFACA-965A-40C2-9DA7-58E8104840F2}"/>
              </a:ext>
            </a:extLst>
          </p:cNvPr>
          <p:cNvSpPr txBox="1"/>
          <p:nvPr/>
        </p:nvSpPr>
        <p:spPr>
          <a:xfrm>
            <a:off x="7112429" y="990600"/>
            <a:ext cx="1808508" cy="40011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sz="1000" dirty="0"/>
              <a:t>(accumulated winter season </a:t>
            </a:r>
            <a:endParaRPr lang="en-US" sz="1000" dirty="0">
              <a:cs typeface="Arial"/>
            </a:endParaRPr>
          </a:p>
          <a:p>
            <a:r>
              <a:rPr lang="en-US" sz="1000" dirty="0"/>
              <a:t>severity index)</a:t>
            </a:r>
            <a:endParaRPr lang="en-US" sz="1000" dirty="0">
              <a:cs typeface="Arial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8229600" y="46037"/>
            <a:ext cx="914400" cy="914400"/>
            <a:chOff x="2634224" y="1540"/>
            <a:chExt cx="1072887" cy="1072887"/>
          </a:xfrm>
          <a:solidFill>
            <a:srgbClr val="5381AC"/>
          </a:solidFill>
        </p:grpSpPr>
        <p:sp>
          <p:nvSpPr>
            <p:cNvPr id="13" name="Oval 12"/>
            <p:cNvSpPr/>
            <p:nvPr/>
          </p:nvSpPr>
          <p:spPr>
            <a:xfrm>
              <a:off x="2634224" y="1540"/>
              <a:ext cx="1072887" cy="107288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Oval 4"/>
            <p:cNvSpPr/>
            <p:nvPr/>
          </p:nvSpPr>
          <p:spPr>
            <a:xfrm>
              <a:off x="2791345" y="158661"/>
              <a:ext cx="758645" cy="75864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00" b="1" kern="1200" dirty="0" smtClean="0">
                  <a:solidFill>
                    <a:schemeClr val="bg1"/>
                  </a:solidFill>
                </a:rPr>
                <a:t>Desirability</a:t>
              </a:r>
              <a:endParaRPr lang="en-US" sz="900" b="1" kern="12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8934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rQYRSkpECbPhZOjcLBG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SkpPG40W27KBvn.9H.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S6WYPgpUy9IFZMbqXnU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yfUanqM0C36RWacT5ol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7CI89C5UKFSCP_YdeGV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HymxEIuESN1HIULSau9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QF5RVgGkO0LN4Hh1HLW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HsQJ.a30qjs5r54G62q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AaeSrHQkuPbuu552z9I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iA6QPG5Uq_xXfx0W_6w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cIntkTD0Kiq8zO6PQO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HrYIw7cEaxzEZs3fx.Q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CQLfJyuEGEyUVM.5NAF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kZhmDkJ0C6Fd3DzCvCc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VgF.MJD0KuJc98z9z_c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4juzCbdUyjvevV5PViG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BI3mo8AkSfBBs6UTeEy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b5IDOPDEOdKfrzZ1a8s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4bmyVh1ESCIPndwnwLw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E2KxqOcUe6L0ZUZ6iqy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Mn45coIkKTwn7uL1H6p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z85HLUiEWFoJ6fNS_H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eUN96qG0Od2eB4lP98m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K4Ra530E2lz1NzQULxa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4e2wZN0EuagHjZ_d.Tm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CiyWhKME.YfmIdtRxTt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0NnfUiY80CHVjEXdvAo2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K7Hk9BDUK7xOEQBLzc6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hQem.IaUqbazwvhar7x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KxdgLfZ0SFN2duBWoUz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Y_zK0qWkGqWZkn5z8Pc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VkqNoKTkSGQERjctYgH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mU8MsHjkaXenQ4kSbC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.BbIShuEOOqNLCh7l0K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MCniBZfkuxlOQYvEloE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md8e.M1k2z4D9Wt3e4U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mU8MsHjkaXenQ4kSbCm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BmWLoVYEavp.bKBXgeH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_ObNo8xEGuvGqX9a7lL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wv233WmEi73zkgiKJnC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Y.JgpE.0qYjcfefnRUX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bPlg5tnECRoEgPZkFBx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8qNuoFhES9U88yznBy0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pvTOVbj0yJfkDKI2LF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4SqXP9DkWudA8uhil7F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jqsAYIBkKe1By3rlouq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MaZZnbQUCKDM73kAy27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wv233WmEi73zkgiKJnC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wv233WmEi73zkgiKJnC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VgF.MJD0KuJc98z9z_c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VgF.MJD0KuJc98z9z_c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VgF.MJD0KuJc98z9z_c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17fElYckKXZKD7K0v45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TPwY0dpkCkqUkHMJ4NP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xinYP8dE6Xf2SFwK8Vk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bucI1pzEiLmSwKD0IBh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2Xt8Vp8U.yD.hxEIcxi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J.YSBDTkOJNswQAHfAh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qe.PYjPUGGaDA1iBz6J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aHyFoSEy5RkjUYfaOU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7eHUoVekWV1cYY.dErY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jfRpQbQUazgCeKwtlyP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hjPWS9jU2Fe07d6OPqV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bp1f164Uq.Z3DkvQKJ3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6K7SXn1kO3G9JZWuTAy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_YbqjBwaEij89.7yzV5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NpBTnoxU.SnsjRtIKFQ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fzpfFhBkS9hELUsCv2Z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UZ3WgIy0WICa1AmktrT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dnrdBnvU2AQBiqR_VFp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ZOhLO4KE.NlWgYXzkp1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KzWP.Tl0CNToKOuaxQ6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cxyb93SEOP79zJu9xhr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kmGTFMeEalkREMUyzOM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_c60HRtEqzyzigCCJpi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EEPIrafUaU966XhbLEO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bLVEmAJEunULi1MoUr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vUhSU7sUKrHorVJlKOt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n5bKep506dy3Cxm88O0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vp3Bn3L0iFRKW_QxEu8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30IL4IT02WIwxaqjr4E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O9s01w40uynOUiQeiZa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gxES4CY0Kp5I.aH2MMq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E68fEdI0yf0ZKHEpEEi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k6a184ZUiCW9frwFjm1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N7Ah31kEySdjdXYk30O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OjFpOt.EqDFwk41HqxY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OFlqSkykWsUFa6tlBz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R7nlcyD06Qd0Zt50koJ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6tiOIgakeiZn0CxiGUj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H02.SM7k.O_2TWTO5nG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4iy0OHyEeJAAHbi7OAC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fpe7I8bU2cDAzJsq02F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tLw4hUhke3hEmmFyS1q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_Vk_EDY0KJIcehvh63T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A.o605HESi9KiLMbv8w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gHBsv5nEKw7znZnK5OO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oaVNeFlkGP9aDxqifzS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B9qG7MW0KKSCK21JV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_KjY60hUCjT1vr12vOv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zhdevGZUGq4YAWsHTu_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BmbaSGU0udovAc6WBfF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T2ireE702X8iZim.6kf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4juzCbdUyjvevV5PViG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2j.cROQke4uEaFlEA6i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SRePbm1Eq7S1KmwZuhg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UWVJ7Y_E.QXN1w71U5s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ZMulXWz0GIS5mzdIIW7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THaqm4kWmrZ9W90xJ.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KQVZ6UukSNUJjWPjPE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oayZv_TkCNUoaMEI1po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iSQACLtEu4QnvsT9s_3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Sx.HEgGE6FUg16fBHdK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w.jAuskEGq3nPG3o4VM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jSQdY5JkqoUnDquMpQK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OpmXlgOU.5nA_tvQqQM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72d1x8x0GlwYCCAanDm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gCsXfQ3EmpbeCzeMKO7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yCJkt90UOQzIKG15kUk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J8HFZ2TUqu.ozQAFGEX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hCxLj_A0WohBQeYDYq6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p6GgjHka3zWykgLuqr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Ei5InMC0._OCi9XqVlb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6T_yiz5kCdjOporIS7_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G1xQF10OtiQg5KZOhS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MyQzngpUOmwNNZveBpY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kuJY1xGk2JFUi38msnw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IuE9t2M0mmnevjirLyW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fzlAKykUKxquTDCijgw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hzH57h.kesM_rsuQnos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vmiXK2XEGelywfGz7W3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fpuTUKlUyQ5fv5msh0_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lciHMGvUa08AuRQ2daY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YUdHOXbUCmenXo4NU_M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izmDU9qEK3v_X7HXbzy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cdgsf8z0etTKVKVBtej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8BcdpSO0aVAegVm3c7r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DrzEcb0Ui72TkHZIKkg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KXAdKnB0WRrKQQP6Lef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ryKhGfb0CuYvgdtTADl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LzcVbd506WY_qWWniqZ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zF6KWRhUKlAas.lhtxM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UaXmFGpEmlyeDkN3Xd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itotmhbk6IMwrn_SpGM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kfWKL1IEm.hJQs2BMnE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BZxYwux06zBEIU28kTo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sQ3rEIbkSOrdmX5BU6w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7EBFmnykq9lRLLi9Pb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g3tI_KMUue7HVqT9N06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5hsenmZk6tvK59Jawwv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RsEEpwv0qYphGaOHxfl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bHvnZuBESjdYXGDPUmq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4lu.i9HkCj.g91mt9be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wDfYnrMUOQMW3TkXtSp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DLyAcaCk.5_e8krQJ9j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z4EGFdg0aXUii39sj9d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l7LvPsUEe6yChSSbi9p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aohR3d6EeFPLASuGj_Q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kgyEzfFEWd_as5Yv5Wl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t7JnYMN0C5CkPOOSJvi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hsPcePBUSImxTMHUXCU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jBOIL9zU.IKEkhZSGQL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vUm7roL0a.plabvbDSE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VJloSlf0a2k3PnFYyws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dFbiaO6UOhr0LZ65Qf3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J1LLAZTEKxoKr7XV.6j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6Ne5X7Ok.eOzv2_yU8H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WPewZ680y982ih7pEVd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MfGxeR6USmajoTh6Sy9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vWGtaOQkmIqiWflAeO_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spzGKc602LS6MJqZVPR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DDricFJkirRirNNx.8H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Qi4E2IiE2sh_qgWHfoy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DYt95paE6PaWygkMFY4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0rLhKEub06T1IDiEQXNb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BB6vBQQUq3.Eis9v8f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JtfFKHdEOw9OvaTXH2L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S4tNMcKUyvTOvdDkKBV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4b6CToC0minBMl6VXCG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ZARa7IF0CsKtkD2tKmA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XMKHJf9Ues8IWymrnZa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AxUYJjbkGGBIeSRSTzg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DrZiRHL02ltHYx53Mi0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92uUoTRME62hq1OMDeDA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r2y5tQwEiWzWoadm.dx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CQQQ51ck.BrNuTIwu7Q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m1ke0lUUWHzvEZF7bv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oebYHDiUGoKBNm3YF8A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P4IG_Nf0a4kjgFnKIhr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KTxZZ3ak6OmU39adH_d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Ig9z21AkCmPG581vJUe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2FkhsFSES1_Y8nMQGMe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wrLBaBvUGh27NPERP_W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IMZ1yQyUG3wDCxFl3Da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2bCS9TGkyaNLCU.saTi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1j6lptZU2Arlj4C3ubb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ZzF7S_rEaO7_1ECUzut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gqsnx31E2hHpkEU3YoD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SWZZpGI0GazmL6ymGBF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69sjICNUOJLupWT1aZc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2o8SIqPkiaGHOIyx8p.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yS.hcjnU.H_GcXn0zyT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31.A.gkGPlk4G1k657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Q8Regt60.Dofh51K1Z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fegV0y4kKNoPuv96Y2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4U2r.3cUWOIqgYyFI1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S42mnQqEueiYEb9tuWM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R4Yd24RkaQXJlW1XRd_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eUN96qG0Od2eB4lP98m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7PiHH9T0mLSQlDN7qoY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oONDIrNUOBAj9eWyOm5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cIntkTD0Kiq8zO6PQO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FOsjJrhkOz7FDIUENiX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RKkT7egkSNufqLMilB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SKWPIA9Uuqyu950RiAL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tlsQpIZ0GI4UhPneebI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2bCS9TGkyaNLCU.saTi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.8VpsX_E.GYdXjZVg2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WHnbILnUSF0dI8cPmQ2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1.HnG6IkKMpTM9_qdnz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Aps5KPekCvc6L2V4h1K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DbCCXUoE.9_28MDhuTq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zXzc5y70C8H.bkgwZHg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Juldq2KUayD24WpQwS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bLyV5ATN6IkQNCq7StO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2IeBKGRU.EZ737uakNW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hVpBAHL06tfY3AfEs91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eUN96qG0Od2eB4lP98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Dz7jAXh0KFucpCdXDTf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HNEhV1KEWETQmwAak1A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g3tI_KMUue7HVqT9N06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H02.SM7k.O_2TWTO5nG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Z79M.w3EOOy840A721r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g3tI_KMUue7HVqT9N06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eUN96qG0Od2eB4lP98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C0aNWUE0O.39biosJKQ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GfPtp5cUmobUF9dewXs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upGJEfX0ezBlxKNdO.E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yfVgl5AUe1Rut6q6eCM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tYbfRf.U2AWk7jt2OPI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CRsegaUEyXl9i5i_40A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QF5RVgGkO0LN4Hh1HLW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g.Wu4Nnk21c9kC8ng6.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Te4_5KE06gsHptAJ1Y_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W1X9TXcUuo29RxQJEh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PYRr65QTmuCN_GzeXqb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mNUKUXTkuAxXZoiDOjM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Ryi76bzUy6HX9RbNuzV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2F8FIJbUCM7CWgHIvTl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2xM5tUaUivBLtzyhtgm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7pd1ROp0CIZ6NcPEIpw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DPrlEVSUykvzw0xoOyk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rO9_GoYEOltkhpysuPp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jI9bBiEuyYtU7LoJ0P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VgF.MJD0KuJc98z9z_c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8yebLYOESNI3FEgg0J5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fHmxfztk.6Zs8sa7EG5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dEliMVP0mdDnrJ2GByI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.VUlw4vkSvOkgE8tikj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1fIBcVJkmVXHOgfhQGx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phcDKyrk6XZGOfr9cmv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yRG9nPdEeb4RpjBKBft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cUYSIfBUicBkYhj2Msp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FSSUKh.EGHnt7G8sMIL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91QwcpU0WfSCawfE8BZ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VgF.MJD0KuJc98z9z_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PYRr65QTmuCN_GzeXqb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zPvgeBfEiheS066r1B8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4Ka3ZPc0iEoZHuurrtt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qn7Khq4UGMLWriZTHWu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6ec1XkpEuYn_lYTaM_Z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kqryxCTEm2hjH04M8Uc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KQVZ6UukSNUJjWPjPEF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itRVLZ9kWfNZKJWtkGQ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R4Yd24RkaQXJlW1XRd_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njlRa6UEavTdP7vqovo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BypVQ2Emud_pwEaRU0g"/>
</p:tagLst>
</file>

<file path=ppt/theme/theme1.xml><?xml version="1.0" encoding="utf-8"?>
<a:theme xmlns:a="http://schemas.openxmlformats.org/drawingml/2006/main" name="2017 Global Cover">
  <a:themeElements>
    <a:clrScheme name="2017 LM PPT">
      <a:dk1>
        <a:srgbClr val="4E4F52"/>
      </a:dk1>
      <a:lt1>
        <a:srgbClr val="FFFFFF"/>
      </a:lt1>
      <a:dk2>
        <a:srgbClr val="FFFFFF"/>
      </a:dk2>
      <a:lt2>
        <a:srgbClr val="8F9196"/>
      </a:lt2>
      <a:accent1>
        <a:srgbClr val="6C953C"/>
      </a:accent1>
      <a:accent2>
        <a:srgbClr val="569099"/>
      </a:accent2>
      <a:accent3>
        <a:srgbClr val="5381AC"/>
      </a:accent3>
      <a:accent4>
        <a:srgbClr val="5381AC"/>
      </a:accent4>
      <a:accent5>
        <a:srgbClr val="E69E09"/>
      </a:accent5>
      <a:accent6>
        <a:srgbClr val="ECAC00"/>
      </a:accent6>
      <a:hlink>
        <a:srgbClr val="3D3E41"/>
      </a:hlink>
      <a:folHlink>
        <a:srgbClr val="7C7E8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017 Global Back">
  <a:themeElements>
    <a:clrScheme name="2017 LM PPT">
      <a:dk1>
        <a:srgbClr val="4E4F52"/>
      </a:dk1>
      <a:lt1>
        <a:srgbClr val="FFFFFF"/>
      </a:lt1>
      <a:dk2>
        <a:srgbClr val="FFFFFF"/>
      </a:dk2>
      <a:lt2>
        <a:srgbClr val="8F9196"/>
      </a:lt2>
      <a:accent1>
        <a:srgbClr val="6C953C"/>
      </a:accent1>
      <a:accent2>
        <a:srgbClr val="569099"/>
      </a:accent2>
      <a:accent3>
        <a:srgbClr val="5381AC"/>
      </a:accent3>
      <a:accent4>
        <a:srgbClr val="5381AC"/>
      </a:accent4>
      <a:accent5>
        <a:srgbClr val="E69E09"/>
      </a:accent5>
      <a:accent6>
        <a:srgbClr val="ECAC00"/>
      </a:accent6>
      <a:hlink>
        <a:srgbClr val="3D3E41"/>
      </a:hlink>
      <a:folHlink>
        <a:srgbClr val="7C7E8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017 Global Inside">
  <a:themeElements>
    <a:clrScheme name="2017 LM PPT">
      <a:dk1>
        <a:srgbClr val="4E4F52"/>
      </a:dk1>
      <a:lt1>
        <a:srgbClr val="FFFFFF"/>
      </a:lt1>
      <a:dk2>
        <a:srgbClr val="FFFFFF"/>
      </a:dk2>
      <a:lt2>
        <a:srgbClr val="8F9196"/>
      </a:lt2>
      <a:accent1>
        <a:srgbClr val="6C953C"/>
      </a:accent1>
      <a:accent2>
        <a:srgbClr val="569099"/>
      </a:accent2>
      <a:accent3>
        <a:srgbClr val="5381AC"/>
      </a:accent3>
      <a:accent4>
        <a:srgbClr val="5381AC"/>
      </a:accent4>
      <a:accent5>
        <a:srgbClr val="E69E09"/>
      </a:accent5>
      <a:accent6>
        <a:srgbClr val="ECAC00"/>
      </a:accent6>
      <a:hlink>
        <a:srgbClr val="3D3E41"/>
      </a:hlink>
      <a:folHlink>
        <a:srgbClr val="7C7E8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2017 Global Inside">
  <a:themeElements>
    <a:clrScheme name="2017 LM PPT">
      <a:dk1>
        <a:srgbClr val="4E4F52"/>
      </a:dk1>
      <a:lt1>
        <a:srgbClr val="FFFFFF"/>
      </a:lt1>
      <a:dk2>
        <a:srgbClr val="FFFFFF"/>
      </a:dk2>
      <a:lt2>
        <a:srgbClr val="8F9196"/>
      </a:lt2>
      <a:accent1>
        <a:srgbClr val="6C953C"/>
      </a:accent1>
      <a:accent2>
        <a:srgbClr val="569099"/>
      </a:accent2>
      <a:accent3>
        <a:srgbClr val="5381AC"/>
      </a:accent3>
      <a:accent4>
        <a:srgbClr val="5381AC"/>
      </a:accent4>
      <a:accent5>
        <a:srgbClr val="E69E09"/>
      </a:accent5>
      <a:accent6>
        <a:srgbClr val="ECAC00"/>
      </a:accent6>
      <a:hlink>
        <a:srgbClr val="3D3E41"/>
      </a:hlink>
      <a:folHlink>
        <a:srgbClr val="7C7E8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lmIntraResourceDocument" ma:contentTypeID="0x01010021BC974CC154D44197474AF36FB520F1005486BCA36CFAC1449C0DE859B84E40E6" ma:contentTypeVersion="34" ma:contentTypeDescription="Resource Document" ma:contentTypeScope="" ma:versionID="bf2a3bfda6d214073a81d94f98937a49">
  <xsd:schema xmlns:xsd="http://www.w3.org/2001/XMLSchema" xmlns:xs="http://www.w3.org/2001/XMLSchema" xmlns:p="http://schemas.microsoft.com/office/2006/metadata/properties" xmlns:ns1="http://schemas.microsoft.com/sharepoint/v3" xmlns:ns2="f5fb82a3-d369-4708-a50d-577118d9fee1" xmlns:ns3="f026d0d4-7ea3-4346-b0b7-6ce6ef1c6032" xmlns:ns4="921b451d-1e46-4c18-8ccd-e08dee73baf0" targetNamespace="http://schemas.microsoft.com/office/2006/metadata/properties" ma:root="true" ma:fieldsID="f033f5cee5b3bd06af9de358293e4a4e" ns1:_="" ns2:_="" ns3:_="" ns4:_="">
    <xsd:import namespace="http://schemas.microsoft.com/sharepoint/v3"/>
    <xsd:import namespace="f5fb82a3-d369-4708-a50d-577118d9fee1"/>
    <xsd:import namespace="f026d0d4-7ea3-4346-b0b7-6ce6ef1c6032"/>
    <xsd:import namespace="921b451d-1e46-4c18-8ccd-e08dee73baf0"/>
    <xsd:element name="properties">
      <xsd:complexType>
        <xsd:sequence>
          <xsd:element name="documentManagement">
            <xsd:complexType>
              <xsd:all>
                <xsd:element ref="ns2:ExpirationDate" minOccurs="0"/>
                <xsd:element ref="ns3:myLibertyContentOwner"/>
                <xsd:element ref="ns4:lmIntraSBUandCorpDept" minOccurs="0"/>
                <xsd:element ref="ns3:myLibertyKeywords" minOccurs="0"/>
                <xsd:element ref="ns3:lmIntraDescription" minOccurs="0"/>
                <xsd:element ref="ns3:lmIntraAbstract" minOccurs="0"/>
                <xsd:element ref="ns1:URL" minOccurs="0"/>
                <xsd:element ref="ns3:lmIntraOperatingUnitCompany" minOccurs="0"/>
                <xsd:element ref="ns3:lmIntraFunctionalArea" minOccurs="0"/>
                <xsd:element ref="ns3:lmIntraDocumentType" minOccurs="0"/>
                <xsd:element ref="ns4:lmIntraSt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URL" ma:index="7" nillable="true" ma:displayName="URL" ma:hidden="true" ma:internalName="UR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fb82a3-d369-4708-a50d-577118d9fee1" elementFormDefault="qualified">
    <xsd:import namespace="http://schemas.microsoft.com/office/2006/documentManagement/types"/>
    <xsd:import namespace="http://schemas.microsoft.com/office/infopath/2007/PartnerControls"/>
    <xsd:element name="ExpirationDate" ma:index="1" nillable="true" ma:displayName="ExpirationDate" ma:description="Content expiration." ma:format="DateTime" ma:internalName="Expiration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26d0d4-7ea3-4346-b0b7-6ce6ef1c6032" elementFormDefault="qualified">
    <xsd:import namespace="http://schemas.microsoft.com/office/2006/documentManagement/types"/>
    <xsd:import namespace="http://schemas.microsoft.com/office/infopath/2007/PartnerControls"/>
    <xsd:element name="myLibertyContentOwner" ma:index="2" ma:displayName="Content Owner" ma:list="UserInfo" ma:internalName="myLibertyContentOwner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yLibertyKeywords" ma:index="4" nillable="true" ma:displayName="Keywords" ma:description="Content keywords." ma:internalName="myLibertyKeywords" ma:readOnly="false">
      <xsd:simpleType>
        <xsd:restriction base="dms:Note"/>
      </xsd:simpleType>
    </xsd:element>
    <xsd:element name="lmIntraDescription" ma:index="5" nillable="true" ma:displayName="Description" ma:description="Specify content details." ma:internalName="lmIntraDescription" ma:readOnly="false">
      <xsd:simpleType>
        <xsd:restriction base="dms:Note"/>
      </xsd:simpleType>
    </xsd:element>
    <xsd:element name="lmIntraAbstract" ma:index="6" nillable="true" ma:displayName="Abstract" ma:description="Abstract" ma:internalName="lmIntraAbstract" ma:readOnly="false">
      <xsd:simpleType>
        <xsd:restriction base="dms:Note"/>
      </xsd:simpleType>
    </xsd:element>
    <xsd:element name="lmIntraOperatingUnitCompany" ma:index="12" nillable="true" ma:displayName="Operating Unit, Company, or Corporate Department" ma:hidden="true" ma:internalName="lmIntraOperatingUnitCompany" ma:readOnly="false">
      <xsd:simpleType>
        <xsd:restriction base="dms:Choice">
          <xsd:enumeration value="Agency Corporation Home Office"/>
          <xsd:enumeration value="Commercial Markets Property &amp; Casualty"/>
          <xsd:enumeration value="Complex &amp; Emerging Risks Claims"/>
          <xsd:enumeration value="Corporate Department"/>
          <xsd:enumeration value="Group Benefits"/>
          <xsd:enumeration value="Liberty International"/>
          <xsd:enumeration value="Liberty International Underwriters"/>
          <xsd:enumeration value="Liberty Mutual Reinsurance"/>
          <xsd:enumeration value="Liberty Mutual Surety"/>
          <xsd:enumeration value="Personal Markets"/>
          <xsd:enumeration value="Personal Markets Life"/>
          <xsd:enumeration value="Regional Companies Group"/>
          <xsd:enumeration value="America First Insurance"/>
          <xsd:enumeration value="Colorado Casualty"/>
          <xsd:enumeration value="Golden Eagle Insurance"/>
          <xsd:enumeration value="Indiana Insurance"/>
          <xsd:enumeration value="Liberty Agency Underwriters"/>
          <xsd:enumeration value="Liberty Northwest"/>
          <xsd:enumeration value="Montgomery Insurance"/>
          <xsd:enumeration value="Ohio Casualty"/>
          <xsd:enumeration value="Peerless Insurance"/>
          <xsd:enumeration value="Safeco Insurance"/>
          <xsd:enumeration value="Summit"/>
          <xsd:enumeration value="Other"/>
        </xsd:restriction>
      </xsd:simpleType>
    </xsd:element>
    <xsd:element name="lmIntraFunctionalArea" ma:index="13" nillable="true" ma:displayName="Topic Area" ma:format="Dropdown" ma:hidden="true" ma:internalName="lmIntraFunctionalArea" ma:readOnly="false">
      <xsd:simpleType>
        <xsd:restriction base="dms:Choice">
          <xsd:enumeration value="Accounting"/>
          <xsd:enumeration value="Actuarial"/>
          <xsd:enumeration value="Agents/Brokers"/>
          <xsd:enumeration value="Audit"/>
          <xsd:enumeration value="Business Continuity"/>
          <xsd:enumeration value="Business Process Improvement"/>
          <xsd:enumeration value="Claims"/>
          <xsd:enumeration value="Commercial Lines Service Center"/>
          <xsd:enumeration value="Commercial Lines Underwriting"/>
          <xsd:enumeration value="Communications/Marketing"/>
          <xsd:enumeration value="Compliance"/>
          <xsd:enumeration value="Customer Service"/>
          <xsd:enumeration value="Employee Benefits"/>
          <xsd:enumeration value="Finance &amp; Treasury"/>
          <xsd:enumeration value="Human Resources"/>
          <xsd:enumeration value="Information Technology"/>
          <xsd:enumeration value="Investments"/>
          <xsd:enumeration value="Legal"/>
          <xsd:enumeration value="Loss Prevention"/>
          <xsd:enumeration value="National Program Management"/>
          <xsd:enumeration value="Office Operations Managers"/>
          <xsd:enumeration value="Premium Audit"/>
          <xsd:enumeration value="Processing"/>
          <xsd:enumeration value="Procurement"/>
          <xsd:enumeration value="Product Management"/>
          <xsd:enumeration value="Public Affairs"/>
          <xsd:enumeration value="Quality Management"/>
          <xsd:enumeration value="Real Estate"/>
          <xsd:enumeration value="Reinsurance"/>
          <xsd:enumeration value="Safety"/>
          <xsd:enumeration value="Sales/Distribution"/>
          <xsd:enumeration value="Security Operations"/>
          <xsd:enumeration value="Strategy &amp; Operations"/>
          <xsd:enumeration value="Systems and Applications"/>
          <xsd:enumeration value="Tax"/>
          <xsd:enumeration value="Tenant Services"/>
          <xsd:enumeration value="Training"/>
          <xsd:enumeration value="Travel"/>
          <xsd:enumeration value="Underwriting Operations"/>
          <xsd:enumeration value="Workflows"/>
          <xsd:enumeration value="Other"/>
        </xsd:restriction>
      </xsd:simpleType>
    </xsd:element>
    <xsd:element name="lmIntraDocumentType" ma:index="15" nillable="true" ma:displayName="Document Type" ma:description="Type of document being created." ma:format="Dropdown" ma:hidden="true" ma:internalName="lmIntraDocumentType" ma:readOnly="false">
      <xsd:simpleType>
        <xsd:restriction base="dms:Choice">
          <xsd:enumeration value="Bulletins"/>
          <xsd:enumeration value="Calendars"/>
          <xsd:enumeration value="Courses &amp; Training"/>
          <xsd:enumeration value="Directories"/>
          <xsd:enumeration value="Forms"/>
          <xsd:enumeration value="Guides"/>
          <xsd:enumeration value="Lists"/>
          <xsd:enumeration value="Manuals"/>
          <xsd:enumeration value="Marketing Brochures"/>
          <xsd:enumeration value="Organizational Announcements"/>
          <xsd:enumeration value="Organizational Charts"/>
          <xsd:enumeration value="Policies/Protocols"/>
          <xsd:enumeration value="Presentations"/>
          <xsd:enumeration value="Rating Plans (links to Outside)"/>
          <xsd:enumeration value="Reports"/>
          <xsd:enumeration value="Reference Materials"/>
          <xsd:enumeration value="Schedules"/>
          <xsd:enumeration value="Spreadsheets"/>
          <xsd:enumeration value="Success/Value stories"/>
          <xsd:enumeration value="Templates"/>
          <xsd:enumeration value="Tools &amp; Tip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1b451d-1e46-4c18-8ccd-e08dee73baf0" elementFormDefault="qualified">
    <xsd:import namespace="http://schemas.microsoft.com/office/2006/documentManagement/types"/>
    <xsd:import namespace="http://schemas.microsoft.com/office/infopath/2007/PartnerControls"/>
    <xsd:element name="lmIntraSBUandCorpDept" ma:index="3" nillable="true" ma:displayName="SBU or Department" ma:format="Dropdown" ma:internalName="lmIntraSBUandCorpDept">
      <xsd:simpleType>
        <xsd:restriction base="dms:Choice">
          <xsd:enumeration value="Commercial Insurance"/>
          <xsd:enumeration value="Corporate"/>
          <xsd:enumeration value="Global Specialty"/>
          <xsd:enumeration value="Liberty International"/>
          <xsd:enumeration value="Personal Insurance"/>
          <xsd:enumeration value="GCM"/>
          <xsd:enumeration value="GCM East"/>
          <xsd:enumeration value="GCM West"/>
          <xsd:enumeration value="USCM"/>
        </xsd:restriction>
      </xsd:simpleType>
    </xsd:element>
    <xsd:element name="lmIntraState" ma:index="18" nillable="true" ma:displayName="State" ma:description="State description." ma:hidden="true" ma:internalName="lmIntraState" ma:readOnly="fals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AK"/>
                    <xsd:enumeration value="AL"/>
                    <xsd:enumeration value="AR"/>
                    <xsd:enumeration value="AZ"/>
                    <xsd:enumeration value="CA"/>
                    <xsd:enumeration value="CO"/>
                    <xsd:enumeration value="CT"/>
                    <xsd:enumeration value="DE"/>
                    <xsd:enumeration value="DC"/>
                    <xsd:enumeration value="FL"/>
                    <xsd:enumeration value="GA"/>
                    <xsd:enumeration value="HI"/>
                    <xsd:enumeration value="IA"/>
                    <xsd:enumeration value="ID"/>
                    <xsd:enumeration value="IL"/>
                    <xsd:enumeration value="IN"/>
                    <xsd:enumeration value="KS"/>
                    <xsd:enumeration value="KY"/>
                    <xsd:enumeration value="LA"/>
                    <xsd:enumeration value="MA"/>
                    <xsd:enumeration value="MD"/>
                    <xsd:enumeration value="ME"/>
                    <xsd:enumeration value="MI"/>
                    <xsd:enumeration value="MN"/>
                    <xsd:enumeration value="MO"/>
                    <xsd:enumeration value="MS"/>
                    <xsd:enumeration value="MT"/>
                    <xsd:enumeration value="NC"/>
                    <xsd:enumeration value="ND"/>
                    <xsd:enumeration value="NE"/>
                    <xsd:enumeration value="NH"/>
                    <xsd:enumeration value="NJ"/>
                    <xsd:enumeration value="NM"/>
                    <xsd:enumeration value="NV"/>
                    <xsd:enumeration value="NY"/>
                    <xsd:enumeration value="OH"/>
                    <xsd:enumeration value="OK"/>
                    <xsd:enumeration value="OR"/>
                    <xsd:enumeration value="PA"/>
                    <xsd:enumeration value="RI"/>
                    <xsd:enumeration value="SC"/>
                    <xsd:enumeration value="SD"/>
                    <xsd:enumeration value="TN"/>
                    <xsd:enumeration value="TX"/>
                    <xsd:enumeration value="UT"/>
                    <xsd:enumeration value="VA"/>
                    <xsd:enumeration value="VT"/>
                    <xsd:enumeration value="WA"/>
                    <xsd:enumeration value="WI"/>
                    <xsd:enumeration value="WV"/>
                    <xsd:enumeration value="WY"/>
                    <xsd:enumeration value="All States"/>
                    <xsd:enumeration value="AFI States (TX, OK, KS, LA, AR, MO)"/>
                    <xsd:enumeration value="CCI States (WY, UT, CO, NM, NV, AZ)"/>
                    <xsd:enumeration value="GEI States (CA)"/>
                    <xsd:enumeration value="IIC States (ND, SD, NE, MN, IA, MI,WI, IL, IN)"/>
                    <xsd:enumeration value="LNW States (AK, WA, OR, ID, MT)"/>
                    <xsd:enumeration value="MIC States (TN, NC, SC, GA, FL, AL, MS)"/>
                    <xsd:enumeration value="OCI States (OH, KY, DC, PA, VA, WV, DE, MD)"/>
                    <xsd:enumeration value="PIC States (ME, VT, NH, MA, RI, CT, NY, NJ)"/>
                  </xsd:restriction>
                </xsd:simple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7" ma:displayName="Content Type"/>
        <xsd:element ref="dc:title" maxOccurs="1" ma:index="0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CustomItemCheckingInReceiver</Name>
    <Synchronization>Synchronous</Synchronization>
    <Type>4</Type>
    <SequenceNumber>10012</SequenceNumber>
    <Assembly>MyLiberty.Core,Version=1.0.0.0,Culture=neutral,PublicKeyToken=692230c25827fdda</Assembly>
    <Class>MyLiberty.Core.StageEventReceivers</Class>
    <Data/>
    <Filter/>
  </Receiver>
  <Receiver>
    <Name>CustomItemCheckingOutReceiver</Name>
    <Synchronization>Synchronous</Synchronization>
    <Type>5</Type>
    <SequenceNumber>10013</SequenceNumber>
    <Assembly>MyLiberty.Core,Version=1.0.0.0,Culture=neutral,PublicKeyToken=692230c25827fdda</Assembly>
    <Class>MyLiberty.Core.StageEventReceivers</Class>
    <Data/>
    <Filter/>
  </Receiver>
  <Receiver>
    <Name>CustomItemAddingReceiver</Name>
    <Synchronization>Synchronous</Synchronization>
    <Type>1</Type>
    <SequenceNumber>10013</SequenceNumber>
    <Assembly>MyLiberty.Core,Version=1.0.0.0,Culture=neutral,PublicKeyToken=692230c25827fdda</Assembly>
    <Class>MyLiberty.Core.StageEventReceivers</Class>
    <Data/>
    <Filter/>
  </Receiver>
  <Receiver>
    <Name>CustomItemUpdatingReceiver</Name>
    <Synchronization>Synchronous</Synchronization>
    <Type>2</Type>
    <SequenceNumber>10013</SequenceNumber>
    <Assembly>MyLiberty.Core,Version=1.0.0.0,Culture=neutral,PublicKeyToken=692230c25827fdda</Assembly>
    <Class>MyLiberty.Core.StageEventReceivers</Class>
    <Data/>
    <Filter/>
  </Receiver>
  <Receiver>
    <Name>CustomItemDeletingReceiver</Name>
    <Synchronization>Synchronous</Synchronization>
    <Type>3</Type>
    <SequenceNumber>10013</SequenceNumber>
    <Assembly>MyLiberty.Core,Version=1.0.0.0,Culture=neutral,PublicKeyToken=692230c25827fdda</Assembly>
    <Class>MyLiberty.Core.StageEventReceivers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mIntraOperatingUnitCompany xmlns="f026d0d4-7ea3-4346-b0b7-6ce6ef1c6032" xsi:nil="true"/>
    <lmIntraFunctionalArea xmlns="f026d0d4-7ea3-4346-b0b7-6ce6ef1c6032" xsi:nil="true"/>
    <lmIntraState xmlns="921b451d-1e46-4c18-8ccd-e08dee73baf0"/>
    <lmIntraAbstract xmlns="f026d0d4-7ea3-4346-b0b7-6ce6ef1c6032" xsi:nil="true"/>
    <lmIntraDescription xmlns="f026d0d4-7ea3-4346-b0b7-6ce6ef1c6032" xsi:nil="true"/>
    <myLibertyKeywords xmlns="f026d0d4-7ea3-4346-b0b7-6ce6ef1c6032" xsi:nil="true"/>
    <URL xmlns="http://schemas.microsoft.com/sharepoint/v3">
      <Url xsi:nil="true"/>
      <Description xsi:nil="true"/>
    </URL>
    <lmIntraDocumentType xmlns="f026d0d4-7ea3-4346-b0b7-6ce6ef1c6032" xsi:nil="true"/>
    <ExpirationDate xmlns="f5fb82a3-d369-4708-a50d-577118d9fee1" xsi:nil="true"/>
    <lmIntraSBUandCorpDept xmlns="921b451d-1e46-4c18-8ccd-e08dee73baf0">Personal Insurance</lmIntraSBUandCorpDept>
    <myLibertyContentOwner xmlns="f026d0d4-7ea3-4346-b0b7-6ce6ef1c6032">
      <UserInfo>
        <DisplayName>Hernandez, Alexander</DisplayName>
        <AccountId>154952</AccountId>
        <AccountType/>
      </UserInfo>
    </myLibertyContentOwner>
  </documentManagement>
</p:properties>
</file>

<file path=customXml/itemProps1.xml><?xml version="1.0" encoding="utf-8"?>
<ds:datastoreItem xmlns:ds="http://schemas.openxmlformats.org/officeDocument/2006/customXml" ds:itemID="{D3D36C68-4746-4AC0-8A2F-B1F7C49ADA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5fb82a3-d369-4708-a50d-577118d9fee1"/>
    <ds:schemaRef ds:uri="f026d0d4-7ea3-4346-b0b7-6ce6ef1c6032"/>
    <ds:schemaRef ds:uri="921b451d-1e46-4c18-8ccd-e08dee73baf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79D8E8A-15CA-45F8-962F-C52BEA36E901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A8372814-E243-4255-81C5-409AEFF8361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39345D4-192D-4028-A66C-1E93D7570EA2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921b451d-1e46-4c18-8ccd-e08dee73baf0"/>
    <ds:schemaRef ds:uri="f026d0d4-7ea3-4346-b0b7-6ce6ef1c6032"/>
    <ds:schemaRef ds:uri="f5fb82a3-d369-4708-a50d-577118d9fee1"/>
    <ds:schemaRef ds:uri="http://schemas.microsoft.com/sharepoint/v3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M NEW - Template Sample - 9</Template>
  <TotalTime>6421</TotalTime>
  <Words>2473</Words>
  <Application>Microsoft Office PowerPoint</Application>
  <PresentationFormat>On-screen Show (4:3)</PresentationFormat>
  <Paragraphs>519</Paragraphs>
  <Slides>27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7</vt:i4>
      </vt:variant>
    </vt:vector>
  </HeadingPairs>
  <TitlesOfParts>
    <vt:vector size="36" baseType="lpstr">
      <vt:lpstr>Arial</vt:lpstr>
      <vt:lpstr>Calibri</vt:lpstr>
      <vt:lpstr>Wingdings</vt:lpstr>
      <vt:lpstr>2017 Global Cover</vt:lpstr>
      <vt:lpstr>2017 Global Back</vt:lpstr>
      <vt:lpstr>2017 Global Inside</vt:lpstr>
      <vt:lpstr>1_2017 Global Inside</vt:lpstr>
      <vt:lpstr>think-cell Slide</vt:lpstr>
      <vt:lpstr>Acrobat Document</vt:lpstr>
      <vt:lpstr>Product Innovation</vt:lpstr>
      <vt:lpstr>PowerPoint Presentation</vt:lpstr>
      <vt:lpstr>GRM Innovation</vt:lpstr>
      <vt:lpstr>Innovation looks to fulfill Liberty’s core goal of seeking alternative sources of revenue, and drive growth</vt:lpstr>
      <vt:lpstr>PowerPoint Presentation</vt:lpstr>
      <vt:lpstr>Parametric Snow Insurance leverages data to provide an instant payment when a pre-defined event occurs</vt:lpstr>
      <vt:lpstr>In doing so, Parametric Snow Insurance naturally solves some pain points of traditional insurance</vt:lpstr>
      <vt:lpstr>We evaluate &amp; prioritize Event-Based Insurance product opportunities through a design thinking framework</vt:lpstr>
      <vt:lpstr>Variance of snow and ice events creates budget uncertainty for municipal governments, which is inefficient for planning</vt:lpstr>
      <vt:lpstr>Snow insurance for municipalities is a vitamin not a pain killer</vt:lpstr>
      <vt:lpstr>Only one of our two hypotheses has so far proven true</vt:lpstr>
      <vt:lpstr>In alignment with our initial hypothesis, there exists a plethora of  tools to measure snow related metrics</vt:lpstr>
      <vt:lpstr>Contrary to our second hypothesis, single variable of snow-inches  is similarly predictive as multivariate modeling</vt:lpstr>
      <vt:lpstr>Solaria needs the backing of multiple core Liberty functions to  bring this product to market - or just the Public Entities Unit  </vt:lpstr>
      <vt:lpstr>Midsize municipalities could generate $10k – $100k annually in  premiums</vt:lpstr>
      <vt:lpstr>Liberty has regulatory advantage over foreign competitors and  there’s indications that we can undercut domestic competition </vt:lpstr>
      <vt:lpstr>Next steps involves gauging the interest of municipal brokers and leveraging our potential to undercut</vt:lpstr>
      <vt:lpstr>PowerPoint Presentation</vt:lpstr>
      <vt:lpstr>By utilizing cloud services, large quantities of telematics data can be analyzed through python </vt:lpstr>
      <vt:lpstr>PowerPoint Presentation</vt:lpstr>
      <vt:lpstr>PowerPoint Presentation</vt:lpstr>
      <vt:lpstr>PowerPoint Presentation</vt:lpstr>
      <vt:lpstr>Takeaways and acknowledgements</vt:lpstr>
      <vt:lpstr>PowerPoint Presentation</vt:lpstr>
      <vt:lpstr>Appendix</vt:lpstr>
      <vt:lpstr>By entering contracts, Liberty mitigates adverse selection  </vt:lpstr>
      <vt:lpstr>Solaria’s Product team operate under the “Jobs-to-be-Done” Theory in assessing a problem</vt:lpstr>
    </vt:vector>
  </TitlesOfParts>
  <Company>Liberty Mutual Insuranc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berty Mutual</dc:creator>
  <cp:lastModifiedBy>Xu, Alexander</cp:lastModifiedBy>
  <cp:revision>103</cp:revision>
  <cp:lastPrinted>2014-07-14T18:01:18Z</cp:lastPrinted>
  <dcterms:created xsi:type="dcterms:W3CDTF">2014-07-15T17:43:32Z</dcterms:created>
  <dcterms:modified xsi:type="dcterms:W3CDTF">2018-08-06T17:5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1BC974CC154D44197474AF36FB520F1005486BCA36CFAC1449C0DE859B84E40E6</vt:lpwstr>
  </property>
  <property fmtid="{D5CDD505-2E9C-101B-9397-08002B2CF9AE}" pid="3" name="Last Updated By">
    <vt:lpwstr>73697</vt:lpwstr>
  </property>
</Properties>
</file>